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theme/themeOverride7.xml" ContentType="application/vnd.openxmlformats-officedocument.themeOverride+xml"/>
  <Override PartName="/ppt/charts/chart12.xml" ContentType="application/vnd.openxmlformats-officedocument.drawingml.chart+xml"/>
  <Override PartName="/ppt/theme/themeOverride8.xml" ContentType="application/vnd.openxmlformats-officedocument.themeOverr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7.xml" ContentType="application/vnd.openxmlformats-officedocument.drawingml.chart+xml"/>
  <Override PartName="/ppt/theme/themeOverride10.xml" ContentType="application/vnd.openxmlformats-officedocument.themeOverride+xml"/>
  <Override PartName="/ppt/charts/chart18.xml" ContentType="application/vnd.openxmlformats-officedocument.drawingml.chart+xml"/>
  <Override PartName="/ppt/theme/themeOverride11.xml" ContentType="application/vnd.openxmlformats-officedocument.themeOverride+xml"/>
  <Override PartName="/ppt/charts/chart19.xml" ContentType="application/vnd.openxmlformats-officedocument.drawingml.chart+xml"/>
  <Override PartName="/ppt/theme/themeOverride12.xml" ContentType="application/vnd.openxmlformats-officedocument.themeOverride+xml"/>
  <Override PartName="/ppt/charts/chart20.xml" ContentType="application/vnd.openxmlformats-officedocument.drawingml.chart+xml"/>
  <Override PartName="/ppt/theme/themeOverride13.xml" ContentType="application/vnd.openxmlformats-officedocument.themeOverr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heme/themeOverride9.xml" ContentType="application/vnd.openxmlformats-officedocument.themeOverride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59" r:id="rId12"/>
    <p:sldId id="260" r:id="rId13"/>
    <p:sldId id="261" r:id="rId14"/>
    <p:sldId id="262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1" d="100"/>
          <a:sy n="61" d="100"/>
        </p:scale>
        <p:origin x="96" y="10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4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6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7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8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9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0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1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3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4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15979792219567"/>
          <c:y val="6.0490818030050082E-2"/>
          <c:w val="0.68397897338041658"/>
          <c:h val="0.765841530756388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CBA-42E2-A22A-8CC7628C4DB5}"/>
              </c:ext>
            </c:extLst>
          </c:dPt>
          <c:dLbls>
            <c:numFmt formatCode="General" sourceLinked="0"/>
            <c:spPr>
              <a:noFill/>
              <a:ln w="25383">
                <a:noFill/>
              </a:ln>
            </c:spPr>
            <c:txPr>
              <a:bodyPr rot="-5400000" vert="horz"/>
              <a:lstStyle/>
              <a:p>
                <a:pPr algn="ctr"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22</c:v>
                </c:pt>
                <c:pt idx="1">
                  <c:v>230</c:v>
                </c:pt>
                <c:pt idx="2">
                  <c:v>280</c:v>
                </c:pt>
                <c:pt idx="3">
                  <c:v>40</c:v>
                </c:pt>
                <c:pt idx="4">
                  <c:v>204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BA-42E2-A22A-8CC7628C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880832"/>
        <c:axId val="193870848"/>
      </c:barChart>
      <c:lineChart>
        <c:grouping val="stack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Description B</c:v>
                </c:pt>
              </c:strCache>
            </c:strRef>
          </c:tx>
          <c:spPr>
            <a:ln>
              <a:solidFill>
                <a:schemeClr val="accent1"/>
              </a:solidFill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2-3CBA-42E2-A22A-8CC7628C4DB5}"/>
              </c:ext>
            </c:extLst>
          </c:dPt>
          <c:dLbls>
            <c:delete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206</c:v>
                </c:pt>
                <c:pt idx="1">
                  <c:v>243</c:v>
                </c:pt>
                <c:pt idx="2">
                  <c:v>210</c:v>
                </c:pt>
                <c:pt idx="3">
                  <c:v>181</c:v>
                </c:pt>
                <c:pt idx="4">
                  <c:v>227</c:v>
                </c:pt>
                <c:pt idx="5">
                  <c:v>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A-42E2-A22A-8CC7628C4DB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3867776"/>
        <c:axId val="193869312"/>
      </c:lineChart>
      <c:catAx>
        <c:axId val="19386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rgbClr val="A6A6A6"/>
            </a:solidFill>
            <a:prstDash val="solid"/>
          </a:ln>
        </c:spPr>
        <c:txPr>
          <a:bodyPr rot="0" vert="horz"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69312"/>
        <c:crosses val="autoZero"/>
        <c:auto val="1"/>
        <c:lblAlgn val="ctr"/>
        <c:lblOffset val="20"/>
        <c:noMultiLvlLbl val="0"/>
      </c:catAx>
      <c:valAx>
        <c:axId val="193869312"/>
        <c:scaling>
          <c:orientation val="minMax"/>
        </c:scaling>
        <c:delete val="0"/>
        <c:axPos val="l"/>
        <c:majorGridlines>
          <c:spPr>
            <a:ln w="12691">
              <a:noFill/>
              <a:prstDash val="solid"/>
            </a:ln>
          </c:spPr>
        </c:majorGridlines>
        <c:numFmt formatCode="General" sourceLinked="0"/>
        <c:majorTickMark val="none"/>
        <c:minorTickMark val="none"/>
        <c:tickLblPos val="nextTo"/>
        <c:spPr>
          <a:ln w="6350">
            <a:solidFill>
              <a:srgbClr val="868686"/>
            </a:solidFill>
          </a:ln>
        </c:spPr>
        <c:txPr>
          <a:bodyPr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67776"/>
        <c:crosses val="autoZero"/>
        <c:crossBetween val="between"/>
      </c:valAx>
      <c:valAx>
        <c:axId val="193870848"/>
        <c:scaling>
          <c:orientation val="minMax"/>
        </c:scaling>
        <c:delete val="0"/>
        <c:axPos val="r"/>
        <c:numFmt formatCode="General" sourceLinked="0"/>
        <c:majorTickMark val="none"/>
        <c:minorTickMark val="none"/>
        <c:tickLblPos val="nextTo"/>
        <c:spPr>
          <a:ln w="6350">
            <a:solidFill>
              <a:srgbClr val="A6A6A6"/>
            </a:solidFill>
          </a:ln>
        </c:spPr>
        <c:txPr>
          <a:bodyPr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80832"/>
        <c:crosses val="max"/>
        <c:crossBetween val="between"/>
      </c:valAx>
      <c:catAx>
        <c:axId val="1938808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3870848"/>
        <c:crosses val="autoZero"/>
        <c:auto val="1"/>
        <c:lblAlgn val="ctr"/>
        <c:lblOffset val="100"/>
        <c:noMultiLvlLbl val="0"/>
      </c:catAx>
      <c:spPr>
        <a:noFill/>
        <a:ln w="25383">
          <a:noFill/>
        </a:ln>
      </c:spPr>
    </c:plotArea>
    <c:legend>
      <c:legendPos val="b"/>
      <c:layout>
        <c:manualLayout>
          <c:xMode val="edge"/>
          <c:yMode val="edge"/>
          <c:x val="0"/>
          <c:y val="0.89882007118692631"/>
          <c:w val="1"/>
          <c:h val="8.0187499311272004E-2"/>
        </c:manualLayout>
      </c:layout>
      <c:overlay val="0"/>
      <c:txPr>
        <a:bodyPr/>
        <a:lstStyle/>
        <a:p>
          <a:pPr>
            <a:defRPr sz="1400" b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99" b="1" i="0" u="none" strike="noStrike" baseline="0">
          <a:solidFill>
            <a:schemeClr val="tx1"/>
          </a:solidFill>
          <a:latin typeface="+mj-lt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541-4C51-849D-C0DAA32D39AC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541-4C51-849D-C0DAA32D39AC}"/>
              </c:ext>
            </c:extLst>
          </c:dPt>
          <c:dPt>
            <c:idx val="2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541-4C51-849D-C0DAA32D39AC}"/>
              </c:ext>
            </c:extLst>
          </c:dPt>
          <c:dPt>
            <c:idx val="3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4541-4C51-849D-C0DAA32D39AC}"/>
              </c:ext>
            </c:extLst>
          </c:dPt>
          <c:dPt>
            <c:idx val="4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4541-4C51-849D-C0DAA32D39AC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4541-4C51-849D-C0DAA32D39AC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541-4C51-849D-C0DAA32D3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765928623026151"/>
          <c:y val="2.9542097488921715E-3"/>
          <c:w val="0.38468133752500716"/>
          <c:h val="0.9940915805022156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effectLst/>
          </c:spPr>
          <c:explosion val="6"/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D129-407E-803F-7AC91723F4D8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D129-407E-803F-7AC91723F4D8}"/>
              </c:ext>
            </c:extLst>
          </c:dPt>
          <c:dPt>
            <c:idx val="2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29-407E-803F-7AC91723F4D8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7-D129-407E-803F-7AC91723F4D8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D129-407E-803F-7AC91723F4D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B-D129-407E-803F-7AC91723F4D8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129-407E-803F-7AC91723F4D8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F-D129-407E-803F-7AC91723F4D8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11-D129-407E-803F-7AC91723F4D8}"/>
              </c:ext>
            </c:extLst>
          </c:dPt>
          <c:cat>
            <c:numRef>
              <c:f>Tabelle1!$A$2:$A$10</c:f>
              <c:numCache>
                <c:formatCode>General</c:formatCode>
                <c:ptCount val="9"/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129-407E-803F-7AC91723F4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70"/>
      </c:doughnutChart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765928623026151"/>
          <c:y val="2.9542097488921715E-3"/>
          <c:w val="0.38468133752500716"/>
          <c:h val="0.9940915805022156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/>
          </c:spPr>
          <c:explosion val="5"/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245D-4F5E-A364-B911B6D30C0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245D-4F5E-A364-B911B6D30C0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245D-4F5E-A364-B911B6D30C08}"/>
              </c:ext>
            </c:extLst>
          </c:dPt>
          <c:cat>
            <c:numRef>
              <c:f>Tabelle1!$A$2:$A$4</c:f>
              <c:numCache>
                <c:formatCode>General</c:formatCode>
                <c:ptCount val="3"/>
              </c:numCache>
            </c:num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5D-4F5E-A364-B911B6D30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138043977329114E-2"/>
          <c:y val="3.9295842182238113E-3"/>
          <c:w val="0.81672134865296431"/>
          <c:h val="0.9960704157817761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2700">
              <a:noFill/>
            </a:ln>
            <a:effectLst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9-4CA5-9E02-221A2FB255E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79-4CA5-9E02-221A2FB255EE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79-4CA5-9E02-221A2FB255EE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79-4CA5-9E02-221A2FB255EE}"/>
              </c:ext>
            </c:extLst>
          </c:dPt>
          <c:dPt>
            <c:idx val="4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179-4CA5-9E02-221A2FB255EE}"/>
              </c:ext>
            </c:extLst>
          </c:dPt>
          <c:dPt>
            <c:idx val="5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179-4CA5-9E02-221A2FB255EE}"/>
              </c:ext>
            </c:extLst>
          </c:dPt>
          <c:dPt>
            <c:idx val="6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179-4CA5-9E02-221A2FB255EE}"/>
              </c:ext>
            </c:extLst>
          </c:dPt>
          <c:dPt>
            <c:idx val="7"/>
            <c:bubble3D val="0"/>
            <c:spPr>
              <a:solidFill>
                <a:schemeClr val="tx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179-4CA5-9E02-221A2FB255EE}"/>
              </c:ext>
            </c:extLst>
          </c:dPt>
          <c:dPt>
            <c:idx val="8"/>
            <c:bubble3D val="0"/>
            <c:spPr>
              <a:solidFill>
                <a:schemeClr val="accent6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179-4CA5-9E02-221A2FB255EE}"/>
              </c:ext>
            </c:extLst>
          </c:dPt>
          <c:dPt>
            <c:idx val="9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179-4CA5-9E02-221A2FB255EE}"/>
              </c:ext>
            </c:extLst>
          </c:dPt>
          <c:dPt>
            <c:idx val="1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3179-4CA5-9E02-221A2FB255EE}"/>
              </c:ext>
            </c:extLst>
          </c:dPt>
          <c:dPt>
            <c:idx val="1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179-4CA5-9E02-221A2FB255EE}"/>
              </c:ext>
            </c:extLst>
          </c:dPt>
          <c:dPt>
            <c:idx val="12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179-4CA5-9E02-221A2FB255EE}"/>
              </c:ext>
            </c:extLst>
          </c:dPt>
          <c:dPt>
            <c:idx val="1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3179-4CA5-9E02-221A2FB255EE}"/>
              </c:ext>
            </c:extLst>
          </c:dPt>
          <c:dPt>
            <c:idx val="14"/>
            <c:bubble3D val="0"/>
            <c:spPr>
              <a:solidFill>
                <a:schemeClr val="accent3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3179-4CA5-9E02-221A2FB255EE}"/>
              </c:ext>
            </c:extLst>
          </c:dPt>
          <c:dPt>
            <c:idx val="15"/>
            <c:bubble3D val="0"/>
            <c:spPr>
              <a:solidFill>
                <a:schemeClr val="accent3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3179-4CA5-9E02-221A2FB255EE}"/>
              </c:ext>
            </c:extLst>
          </c:dPt>
          <c:dPt>
            <c:idx val="16"/>
            <c:bubble3D val="0"/>
            <c:spPr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3179-4CA5-9E02-221A2FB255EE}"/>
              </c:ext>
            </c:extLst>
          </c:dPt>
          <c:dPt>
            <c:idx val="17"/>
            <c:bubble3D val="0"/>
            <c:spPr>
              <a:solidFill>
                <a:schemeClr val="accent4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3179-4CA5-9E02-221A2FB255EE}"/>
              </c:ext>
            </c:extLst>
          </c:dPt>
          <c:dPt>
            <c:idx val="18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3179-4CA5-9E02-221A2FB255EE}"/>
              </c:ext>
            </c:extLst>
          </c:dPt>
          <c:dPt>
            <c:idx val="19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3179-4CA5-9E02-221A2FB255EE}"/>
              </c:ext>
            </c:extLst>
          </c:dPt>
          <c:cat>
            <c:numRef>
              <c:f>Tabelle1!$A$2:$A$21</c:f>
              <c:numCache>
                <c:formatCode>General</c:formatCode>
                <c:ptCount val="20"/>
              </c:numCache>
            </c:numRef>
          </c:cat>
          <c:val>
            <c:numRef>
              <c:f>Tabelle1!$B$2:$B$21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3179-4CA5-9E02-221A2FB25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61995249406176"/>
          <c:y val="0.16248153618906944"/>
          <c:w val="0.56175771971496435"/>
          <c:h val="0.6986706056129985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63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67D-4FB2-8857-E0DA2B40D025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67D-4FB2-8857-E0DA2B40D025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67D-4FB2-8857-E0DA2B40D025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67D-4FB2-8857-E0DA2B40D025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67D-4FB2-8857-E0DA2B40D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61995249406176"/>
          <c:y val="0.16248153618906944"/>
          <c:w val="0.56175771971496435"/>
          <c:h val="0.6986706056129985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63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E7-43C6-B467-B01BF97BDE7C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E7-43C6-B467-B01BF97BDE7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E7-43C6-B467-B01BF97BDE7C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E7-43C6-B467-B01BF97BDE7C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E7-43C6-B467-B01BF97BDE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296298627111324"/>
          <c:y val="4.1477570104327842E-3"/>
          <c:w val="0.57407402745777347"/>
          <c:h val="0.99585224298956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48ED-40C4-97FE-4F7849F1AE4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48ED-40C4-97FE-4F7849F1AE4B}"/>
              </c:ext>
            </c:extLst>
          </c:dPt>
          <c:dPt>
            <c:idx val="2"/>
            <c:bubble3D val="0"/>
            <c:spPr>
              <a:solidFill>
                <a:schemeClr val="accent3"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48ED-40C4-97FE-4F7849F1AE4B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3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8ED-40C4-97FE-4F7849F1AE4B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8ED-40C4-97FE-4F7849F1A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2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537291869668048"/>
          <c:y val="0"/>
          <c:w val="0.38925407259216921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D3EF-4C8C-85A1-F39C7A43E886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D3EF-4C8C-85A1-F39C7A43E886}"/>
              </c:ext>
            </c:extLst>
          </c:dPt>
          <c:dPt>
            <c:idx val="2"/>
            <c:bubble3D val="0"/>
            <c:spPr>
              <a:solidFill>
                <a:schemeClr val="accent3"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D3EF-4C8C-85A1-F39C7A43E886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D3EF-4C8C-85A1-F39C7A43E886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EF-4C8C-85A1-F39C7A43E8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3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628399443552468"/>
          <c:y val="1.7462165308498253E-2"/>
          <c:w val="0.36399339081091781"/>
          <c:h val="0.9708963911525029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71A8-4719-A934-EAB21B8C663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71A8-4719-A934-EAB21B8C663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71A8-4719-A934-EAB21B8C663B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71A8-4719-A934-EAB21B8C663B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1A8-4719-A934-EAB21B8C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4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880240903894876E-3"/>
          <c:y val="0"/>
          <c:w val="0.99591210971511257"/>
          <c:h val="0.9959117891499056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DIT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90A0-4347-B242-C35C714491E8}"/>
              </c:ext>
            </c:extLst>
          </c:dPt>
          <c:dPt>
            <c:idx val="1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90A0-4347-B242-C35C714491E8}"/>
              </c:ext>
            </c:extLst>
          </c:dPt>
          <c:dPt>
            <c:idx val="2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90A0-4347-B242-C35C714491E8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90A0-4347-B242-C35C714491E8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90A0-4347-B242-C35C714491E8}"/>
              </c:ext>
            </c:extLst>
          </c:dPt>
          <c:dPt>
            <c:idx val="5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90A0-4347-B242-C35C714491E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90A0-4347-B242-C35C714491E8}"/>
              </c:ext>
            </c:extLst>
          </c:dPt>
          <c:dPt>
            <c:idx val="7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90A0-4347-B242-C35C714491E8}"/>
              </c:ext>
            </c:extLst>
          </c:dPt>
          <c:dPt>
            <c:idx val="8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90A0-4347-B242-C35C714491E8}"/>
              </c:ext>
            </c:extLst>
          </c:dPt>
          <c:dPt>
            <c:idx val="9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90A0-4347-B242-C35C714491E8}"/>
              </c:ext>
            </c:extLst>
          </c:dPt>
          <c:dPt>
            <c:idx val="10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90A0-4347-B242-C35C714491E8}"/>
              </c:ext>
            </c:extLst>
          </c:dPt>
          <c:dPt>
            <c:idx val="11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90A0-4347-B242-C35C714491E8}"/>
              </c:ext>
            </c:extLst>
          </c:dPt>
          <c:cat>
            <c:strRef>
              <c:f>Tabelle1!$A$2:$A$13</c:f>
              <c:strCache>
                <c:ptCount val="12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  <c:pt idx="7">
                  <c:v>Description 8</c:v>
                </c:pt>
                <c:pt idx="8">
                  <c:v>Description 9</c:v>
                </c:pt>
                <c:pt idx="9">
                  <c:v>Description 10</c:v>
                </c:pt>
                <c:pt idx="10">
                  <c:v>Description 11</c:v>
                </c:pt>
                <c:pt idx="11">
                  <c:v>Description 12</c:v>
                </c:pt>
              </c:strCache>
            </c:str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0A0-4347-B242-C35C71449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5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D686-4726-AE43-1F7511ED1B7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D686-4726-AE43-1F7511ED1B78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D686-4726-AE43-1F7511ED1B78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D686-4726-AE43-1F7511ED1B78}"/>
              </c:ext>
            </c:extLst>
          </c:dPt>
          <c:dPt>
            <c:idx val="4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D686-4726-AE43-1F7511ED1B78}"/>
              </c:ext>
            </c:extLst>
          </c:dPt>
          <c:dPt>
            <c:idx val="5"/>
            <c:bubble3D val="0"/>
            <c:spPr>
              <a:solidFill>
                <a:schemeClr val="accent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D686-4726-AE43-1F7511ED1B78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686-4726-AE43-1F7511ED1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786212440037417"/>
          <c:y val="0.19337232513341596"/>
          <c:w val="0.59115626621980844"/>
          <c:h val="0.60211882605583389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DIT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5C9-4876-854C-070B5133770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5C9-4876-854C-070B51337708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5C9-4876-854C-070B51337708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5C9-4876-854C-070B51337708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8-85C9-4876-854C-070B51337708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9-85C9-4876-854C-070B51337708}"/>
              </c:ext>
            </c:extLst>
          </c:dPt>
          <c:cat>
            <c:strRef>
              <c:f>Tabelle1!$A$2:$A$5</c:f>
              <c:strCache>
                <c:ptCount val="4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5C9-4876-854C-070B513377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36841680829097"/>
          <c:y val="0"/>
          <c:w val="0.51886769810626998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/>
          </c:spPr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7FD9-4A26-AD45-7ADF14B7A65D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7FD9-4A26-AD45-7ADF14B7A65D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7FD9-4A26-AD45-7ADF14B7A65D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7-7FD9-4A26-AD45-7ADF14B7A65D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7FD9-4A26-AD45-7ADF14B7A65D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9-4A26-AD45-7ADF14B7A6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>
              <a:outerShdw blurRad="165100" sx="102000" sy="102000" algn="ctr" rotWithShape="0">
                <a:schemeClr val="tx1">
                  <a:alpha val="50000"/>
                </a:schemeClr>
              </a:outerShdw>
            </a:effectLst>
          </c:spPr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C30-4819-826A-515F08F45201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C30-4819-826A-515F08F45201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C30-4819-826A-515F08F45201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C30-4819-826A-515F08F45201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0C30-4819-826A-515F08F45201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30-4819-826A-515F08F452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>
                  <a:lumMod val="75000"/>
                </a:schemeClr>
              </a:solidFill>
            </a:ln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8D3-4E7B-9AA3-10AEB67F8D3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18D3-4E7B-9AA3-10AEB67F8D34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3-4E7B-9AA3-10AEB67F8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86D-4DBC-9BE9-0A2735598B2F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86D-4DBC-9BE9-0A2735598B2F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6D-4DBC-9BE9-0A2735598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/>
            </a:solidFill>
            <a:effectLst/>
          </c:spPr>
          <c:explosion val="2"/>
          <c:cat>
            <c:numRef>
              <c:f>Tabelle1!$A$2:$A$6</c:f>
              <c:numCache>
                <c:formatCode>General</c:formatCode>
                <c:ptCount val="5"/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8-43CC-B97A-FA4579669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6793972667817"/>
          <c:y val="4.2778290934295839E-2"/>
          <c:w val="0.61913492333595155"/>
          <c:h val="0.9287028484428402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effectLst/>
          </c:spPr>
          <c:explosion val="2"/>
          <c:cat>
            <c:numRef>
              <c:f>Tabelle1!$A$2:$A$7</c:f>
              <c:numCache>
                <c:formatCode>General</c:formatCode>
                <c:ptCount val="6"/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63-450E-BEFD-C3510F4A27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44755377879307"/>
          <c:y val="0"/>
          <c:w val="0.6776881464559934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effectLst/>
          </c:spPr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E5-4413-90B8-E237950A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D6D-41D1-84C4-E164C0376F99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D6D-41D1-84C4-E164C0376F99}"/>
              </c:ext>
            </c:extLst>
          </c:dPt>
          <c:dPt>
            <c:idx val="2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D6D-41D1-84C4-E164C0376F99}"/>
              </c:ext>
            </c:extLst>
          </c:dPt>
          <c:dPt>
            <c:idx val="3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D6D-41D1-84C4-E164C0376F99}"/>
              </c:ext>
            </c:extLst>
          </c:dPt>
          <c:dPt>
            <c:idx val="4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6D6D-41D1-84C4-E164C0376F99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6D6D-41D1-84C4-E164C0376F99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D6D-41D1-84C4-E164C0376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rgbClr val="DDDDDD"/>
            </a:solidFill>
            <a:ln>
              <a:solidFill>
                <a:srgbClr val="F8F8F8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68B1-4405-920B-0771DAB9DD6B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68B1-4405-920B-0771DAB9DD6B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68B1-4405-920B-0771DAB9DD6B}"/>
              </c:ext>
            </c:extLst>
          </c:dPt>
          <c:dPt>
            <c:idx val="3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68B1-4405-920B-0771DAB9DD6B}"/>
              </c:ext>
            </c:extLst>
          </c:dPt>
          <c:dPt>
            <c:idx val="4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68B1-4405-920B-0771DAB9DD6B}"/>
              </c:ext>
            </c:extLst>
          </c:dPt>
          <c:dPt>
            <c:idx val="5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68B1-4405-920B-0771DAB9DD6B}"/>
              </c:ext>
            </c:extLst>
          </c:dPt>
          <c:dPt>
            <c:idx val="6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68B1-4405-920B-0771DAB9DD6B}"/>
              </c:ext>
            </c:extLst>
          </c:dPt>
          <c:dPt>
            <c:idx val="7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68B1-4405-920B-0771DAB9DD6B}"/>
              </c:ext>
            </c:extLst>
          </c:dPt>
          <c:dPt>
            <c:idx val="8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68B1-4405-920B-0771DAB9DD6B}"/>
              </c:ext>
            </c:extLst>
          </c:dPt>
          <c:dPt>
            <c:idx val="9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68B1-4405-920B-0771DAB9DD6B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68B1-4405-920B-0771DAB9DD6B}"/>
              </c:ext>
            </c:extLst>
          </c:dPt>
          <c:dPt>
            <c:idx val="11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68B1-4405-920B-0771DAB9DD6B}"/>
              </c:ext>
            </c:extLst>
          </c:dPt>
          <c:cat>
            <c:numRef>
              <c:f>Tabelle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8B1-4405-920B-0771DAB9D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428A3-F7B0-463A-9257-57DD6D2C5F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EC4DAE-DCB3-47FE-82AC-C0663A8845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ADDF9-9DFC-4585-B54C-24C504CB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DB5BD-AC59-47A8-91DD-4658ADAB8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F1A8A-43D3-45AD-A890-5352E6A47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026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2217B-E668-488C-89F3-CF37D306C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5D3C5-AB04-4898-A6CD-3FF4A87AD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EF7BF-BB3C-4EAC-8DF6-9F91CE3E1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75C06-1C90-42BD-B74C-BA68D975C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5C75E3-6A9E-4852-8450-D528A6E35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745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72BF6C-1401-42E6-B4ED-2C0E85C224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028BB7-6EB1-49C7-BFCC-7893EB6250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F6119D-8650-4068-94C2-AC8F90D7C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DCDED-9368-4C07-BE6C-C8DA4FA34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2A7DE7-6B6A-42CB-9643-80E9638B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74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6B0A8-97F3-409C-B5B4-471369D95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B6198-91AF-4BAB-84C6-6E121B6D7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CD239-EE1E-4F18-A0BB-24BF98073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4303A-8372-46C5-9171-E8B92C193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A08A1C-4E74-485C-A1A1-1168E3CE9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39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111D0-6D88-49D2-8308-C76898332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195853-5080-449F-863D-B84EEE8555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ED101F-08F6-4938-8526-73E236A4B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1FB059-E480-457E-9893-ECC499AA3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B8F8F-DF94-427E-978C-11B3E2580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03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86EE8-C72A-49EB-BE6C-528655B1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EB4A0-622C-4C24-95A7-0755C501E8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6A65C9-4DF8-4738-A7A2-776B43BBC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93CB3-95BC-46F1-B085-792723DF4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2A90C9-8C9A-4F42-BBE1-22BA81268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81358F-7B9D-439F-BECB-A302AA1CE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B3559-290B-4D0C-852F-68C0D709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0FC8A7-736E-46D5-B987-7BC346AE3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40E70A-97B6-4AEE-A086-C0FF30D95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381738-B812-4050-AD05-15C01FD8D8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637F0D-1FE4-4851-8F68-EB75CEBE23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4DBCCF-09DB-473B-A00A-F60381E0E6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80992B-365F-49E5-B0E6-280E11EC97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9EC55E-97DF-436A-AF8E-687864216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67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08229-FC71-4ACE-9861-6C7B1DD18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D55B0E-5E49-4369-AB01-410762EEB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BE15F-C8FE-4738-97D3-8E255BC77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5F7ED8-C4F2-407A-81E0-08EF86C50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425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932490-E5BC-4693-A4D2-268969B84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263610-3027-4410-ADED-89CC89EB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CC7FFA-7DE6-4DA9-84E1-57F4D13ED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566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6D14F-CC99-4B65-9B96-D13CDF7EA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A8A52-7FB8-4396-BF06-3843CAA83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B16C4-3FEF-4B4B-85F8-3C694B1FF9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3D58F6-D5F9-434E-AFE3-AF3BF4215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631A45-396A-467E-9868-78353B653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E6F327-2062-4C0D-AC1F-755363C3E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328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C7354-A7CE-4090-85D1-4DA07A4BF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FEDF92-E906-4CF6-AF42-308C98E18D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ABB6C1-A643-45F9-A17B-347AB7BF9C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393409-A6C5-48C3-AB61-DEDEFC9BE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25A3FA-A548-4DAB-80B0-585BB0F8E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490965-A9AC-49AD-8F66-93799D68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321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3FCFDD-37D4-4D0E-B3F3-036B64921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87312-06EA-4B5E-84B8-98CFBA2595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97A9C7-DC3E-4D0D-9780-AF9D0A271D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BF273-9929-460F-9D75-1B7FF2D0C91F}" type="datetimeFigureOut">
              <a:rPr lang="en-US" smtClean="0"/>
              <a:t>4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018FEB-D9F7-4E41-ABDE-AC54C95B0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3DB1A-5773-458C-AF9A-143459122A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1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chart" Target="../charts/chart9.xml"/><Relationship Id="rId7" Type="http://schemas.openxmlformats.org/officeDocument/2006/relationships/chart" Target="../charts/chart13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327CD12-A6CF-489C-ADCF-17D7E56C7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4E48C8E-1009-4750-9630-436223C9E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0ACFF1E-E5E6-43E9-A5B7-33E0BEBD6E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329674" y="1298404"/>
              <a:ext cx="9702800" cy="5573512"/>
            </a:xfrm>
            <a:custGeom>
              <a:avLst/>
              <a:gdLst>
                <a:gd name="T0" fmla="*/ 1752 w 2038"/>
                <a:gd name="T1" fmla="*/ 1169 h 1169"/>
                <a:gd name="T2" fmla="*/ 1487 w 2038"/>
                <a:gd name="T3" fmla="*/ 334 h 1169"/>
                <a:gd name="T4" fmla="*/ 860 w 2038"/>
                <a:gd name="T5" fmla="*/ 22 h 1169"/>
                <a:gd name="T6" fmla="*/ 199 w 2038"/>
                <a:gd name="T7" fmla="*/ 318 h 1169"/>
                <a:gd name="T8" fmla="*/ 399 w 2038"/>
                <a:gd name="T9" fmla="*/ 1165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217FABC-C638-4392-847B-1D5D24ACF2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70451" y="2018236"/>
              <a:ext cx="7373938" cy="4848892"/>
            </a:xfrm>
            <a:custGeom>
              <a:avLst/>
              <a:gdLst>
                <a:gd name="T0" fmla="*/ 1025 w 1549"/>
                <a:gd name="T1" fmla="*/ 1016 h 1017"/>
                <a:gd name="T2" fmla="*/ 1443 w 1549"/>
                <a:gd name="T3" fmla="*/ 592 h 1017"/>
                <a:gd name="T4" fmla="*/ 782 w 1549"/>
                <a:gd name="T5" fmla="*/ 53 h 1017"/>
                <a:gd name="T6" fmla="*/ 150 w 1549"/>
                <a:gd name="T7" fmla="*/ 329 h 1017"/>
                <a:gd name="T8" fmla="*/ 477 w 1549"/>
                <a:gd name="T9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5F4D7986-89F7-4A82-BCE1-D3748FA194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1351" y="1788400"/>
              <a:ext cx="8035925" cy="5083516"/>
            </a:xfrm>
            <a:custGeom>
              <a:avLst/>
              <a:gdLst>
                <a:gd name="T0" fmla="*/ 1302 w 1688"/>
                <a:gd name="T1" fmla="*/ 1066 h 1066"/>
                <a:gd name="T2" fmla="*/ 1613 w 1688"/>
                <a:gd name="T3" fmla="*/ 850 h 1066"/>
                <a:gd name="T4" fmla="*/ 1517 w 1688"/>
                <a:gd name="T5" fmla="*/ 471 h 1066"/>
                <a:gd name="T6" fmla="*/ 798 w 1688"/>
                <a:gd name="T7" fmla="*/ 28 h 1066"/>
                <a:gd name="T8" fmla="*/ 181 w 1688"/>
                <a:gd name="T9" fmla="*/ 333 h 1066"/>
                <a:gd name="T10" fmla="*/ 420 w 1688"/>
                <a:gd name="T11" fmla="*/ 1066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086EDA91-62A8-4A58-8FD1-50579B98CC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49842"/>
              <a:ext cx="10334625" cy="6322075"/>
            </a:xfrm>
            <a:custGeom>
              <a:avLst/>
              <a:gdLst>
                <a:gd name="T0" fmla="*/ 1873 w 2171"/>
                <a:gd name="T1" fmla="*/ 1326 h 1326"/>
                <a:gd name="T2" fmla="*/ 1609 w 2171"/>
                <a:gd name="T3" fmla="*/ 473 h 1326"/>
                <a:gd name="T4" fmla="*/ 880 w 2171"/>
                <a:gd name="T5" fmla="*/ 63 h 1326"/>
                <a:gd name="T6" fmla="*/ 0 w 2171"/>
                <a:gd name="T7" fmla="*/ 423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2FE2666-E34E-4114-988D-0D6E0E7EFE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6186246"/>
              <a:ext cx="504825" cy="681527"/>
            </a:xfrm>
            <a:custGeom>
              <a:avLst/>
              <a:gdLst>
                <a:gd name="T0" fmla="*/ 0 w 106"/>
                <a:gd name="T1" fmla="*/ 0 h 143"/>
                <a:gd name="T2" fmla="*/ 106 w 106"/>
                <a:gd name="T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0447EE7-0C29-4B15-AABB-C0C4A8F6A7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-51881"/>
              <a:ext cx="11091863" cy="6923796"/>
            </a:xfrm>
            <a:custGeom>
              <a:avLst/>
              <a:gdLst>
                <a:gd name="T0" fmla="*/ 2046 w 2330"/>
                <a:gd name="T1" fmla="*/ 1452 h 1452"/>
                <a:gd name="T2" fmla="*/ 1813 w 2330"/>
                <a:gd name="T3" fmla="*/ 601 h 1452"/>
                <a:gd name="T4" fmla="*/ 956 w 2330"/>
                <a:gd name="T5" fmla="*/ 97 h 1452"/>
                <a:gd name="T6" fmla="*/ 0 w 2330"/>
                <a:gd name="T7" fmla="*/ 36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5347D5C-1205-4D74-AA55-A6AC8C7815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426601" y="5579"/>
              <a:ext cx="5788025" cy="6847184"/>
            </a:xfrm>
            <a:custGeom>
              <a:avLst/>
              <a:gdLst>
                <a:gd name="T0" fmla="*/ 1094 w 1216"/>
                <a:gd name="T1" fmla="*/ 1436 h 1436"/>
                <a:gd name="T2" fmla="*/ 709 w 1216"/>
                <a:gd name="T3" fmla="*/ 551 h 1436"/>
                <a:gd name="T4" fmla="*/ 0 w 1216"/>
                <a:gd name="T5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13696D3F-405F-490D-AF68-9BBDC7DDDA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1057275" cy="614491"/>
            </a:xfrm>
            <a:custGeom>
              <a:avLst/>
              <a:gdLst>
                <a:gd name="T0" fmla="*/ 222 w 222"/>
                <a:gd name="T1" fmla="*/ 0 h 129"/>
                <a:gd name="T2" fmla="*/ 0 w 222"/>
                <a:gd name="T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8194048F-FCD0-4944-9723-14BFD07155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821889" y="5579"/>
              <a:ext cx="5588000" cy="6866337"/>
            </a:xfrm>
            <a:custGeom>
              <a:avLst/>
              <a:gdLst>
                <a:gd name="T0" fmla="*/ 1067 w 1174"/>
                <a:gd name="T1" fmla="*/ 1440 h 1440"/>
                <a:gd name="T2" fmla="*/ 698 w 1174"/>
                <a:gd name="T3" fmla="*/ 577 h 1440"/>
                <a:gd name="T4" fmla="*/ 0 w 1174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F634E52A-02AD-4955-AA3F-8E8935F41F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790"/>
              <a:ext cx="595313" cy="352734"/>
            </a:xfrm>
            <a:custGeom>
              <a:avLst/>
              <a:gdLst>
                <a:gd name="T0" fmla="*/ 125 w 125"/>
                <a:gd name="T1" fmla="*/ 0 h 74"/>
                <a:gd name="T2" fmla="*/ 0 w 125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99E661E3-26F4-4992-B424-91AAE0A006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012389" y="5579"/>
              <a:ext cx="5497513" cy="6866337"/>
            </a:xfrm>
            <a:custGeom>
              <a:avLst/>
              <a:gdLst>
                <a:gd name="T0" fmla="*/ 1056 w 1155"/>
                <a:gd name="T1" fmla="*/ 1440 h 1440"/>
                <a:gd name="T2" fmla="*/ 686 w 1155"/>
                <a:gd name="T3" fmla="*/ 580 h 1440"/>
                <a:gd name="T4" fmla="*/ 0 w 1155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65FC5C1D-91B5-4EBF-9A3E-BB5DC1E2A7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357188" cy="213875"/>
            </a:xfrm>
            <a:custGeom>
              <a:avLst/>
              <a:gdLst>
                <a:gd name="T0" fmla="*/ 75 w 75"/>
                <a:gd name="T1" fmla="*/ 0 h 45"/>
                <a:gd name="T2" fmla="*/ 0 w 7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6D39CDA7-D7D3-4FED-B2BA-40464AA42D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210826" y="790"/>
              <a:ext cx="5522913" cy="6871126"/>
            </a:xfrm>
            <a:custGeom>
              <a:avLst/>
              <a:gdLst>
                <a:gd name="T0" fmla="*/ 1053 w 1160"/>
                <a:gd name="T1" fmla="*/ 1441 h 1441"/>
                <a:gd name="T2" fmla="*/ 705 w 1160"/>
                <a:gd name="T3" fmla="*/ 599 h 1441"/>
                <a:gd name="T4" fmla="*/ 0 w 1160"/>
                <a:gd name="T5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F7F716E2-501F-47E8-9626-D9EC5492C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63239" y="5579"/>
              <a:ext cx="5413375" cy="6866337"/>
            </a:xfrm>
            <a:custGeom>
              <a:avLst/>
              <a:gdLst>
                <a:gd name="T0" fmla="*/ 1040 w 1137"/>
                <a:gd name="T1" fmla="*/ 1440 h 1440"/>
                <a:gd name="T2" fmla="*/ 698 w 1137"/>
                <a:gd name="T3" fmla="*/ 611 h 1440"/>
                <a:gd name="T4" fmla="*/ 0 w 1137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3074FC5C-533A-4B99-8B9E-ED1C65AE6F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877576" y="5579"/>
              <a:ext cx="5037138" cy="6861550"/>
            </a:xfrm>
            <a:custGeom>
              <a:avLst/>
              <a:gdLst>
                <a:gd name="T0" fmla="*/ 1011 w 1058"/>
                <a:gd name="T1" fmla="*/ 1439 h 1439"/>
                <a:gd name="T2" fmla="*/ 648 w 1058"/>
                <a:gd name="T3" fmla="*/ 617 h 1439"/>
                <a:gd name="T4" fmla="*/ 0 w 1058"/>
                <a:gd name="T5" fmla="*/ 0 h 1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0EDCFC2-0B77-4D95-8F8E-DB60A85F2F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768289" y="5579"/>
              <a:ext cx="3417888" cy="2742066"/>
            </a:xfrm>
            <a:custGeom>
              <a:avLst/>
              <a:gdLst>
                <a:gd name="T0" fmla="*/ 718 w 718"/>
                <a:gd name="T1" fmla="*/ 575 h 575"/>
                <a:gd name="T2" fmla="*/ 0 w 718"/>
                <a:gd name="T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974CB405-A36B-4456-9DE3-EBE212552F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235014" y="10367"/>
              <a:ext cx="2951163" cy="2555325"/>
            </a:xfrm>
            <a:custGeom>
              <a:avLst/>
              <a:gdLst>
                <a:gd name="T0" fmla="*/ 620 w 620"/>
                <a:gd name="T1" fmla="*/ 536 h 536"/>
                <a:gd name="T2" fmla="*/ 0 w 620"/>
                <a:gd name="T3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BD84B494-4095-4E61-B65F-34F5C6BC840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20826" y="5579"/>
              <a:ext cx="2165350" cy="1358265"/>
            </a:xfrm>
            <a:custGeom>
              <a:avLst/>
              <a:gdLst>
                <a:gd name="T0" fmla="*/ 0 w 455"/>
                <a:gd name="T1" fmla="*/ 0 h 285"/>
                <a:gd name="T2" fmla="*/ 455 w 455"/>
                <a:gd name="T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33484AA0-BE6E-4F8B-85CF-9C4C750FF7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90826" y="5579"/>
              <a:ext cx="895350" cy="534687"/>
            </a:xfrm>
            <a:custGeom>
              <a:avLst/>
              <a:gdLst>
                <a:gd name="T0" fmla="*/ 0 w 188"/>
                <a:gd name="T1" fmla="*/ 0 h 112"/>
                <a:gd name="T2" fmla="*/ 188 w 188"/>
                <a:gd name="T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7D38E5F-6E59-41DA-B3CA-6AD28BF642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669293" y="3893141"/>
            <a:ext cx="8845667" cy="1771275"/>
            <a:chOff x="1669293" y="3893141"/>
            <a:chExt cx="8845667" cy="1771275"/>
          </a:xfrm>
        </p:grpSpPr>
        <p:sp>
          <p:nvSpPr>
            <p:cNvPr id="34" name="Isosceles Triangle 39">
              <a:extLst>
                <a:ext uri="{FF2B5EF4-FFF2-40B4-BE49-F238E27FC236}">
                  <a16:creationId xmlns:a16="http://schemas.microsoft.com/office/drawing/2014/main" id="{9AF9BC5C-44FD-4080-8C54-CC4E5F83F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A884903-3516-494A-B966-3E7651567A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69293" y="3893141"/>
              <a:ext cx="8845667" cy="14202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DCC81C-A294-49B8-9D47-C3FFC12F1B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9236" y="3980237"/>
            <a:ext cx="8672295" cy="727748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E"/>
                </a:solidFill>
              </a:rPr>
              <a:t>Graphic Templat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26497-FC91-46A5-A49A-0014536042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59237" y="4707986"/>
            <a:ext cx="8673427" cy="52263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PowerPoi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019510-1F68-48FE-8C72-905BF5582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68032" y="1179555"/>
            <a:ext cx="8850737" cy="262144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58F6E2D-1C49-4FBA-A434-21AA86241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387" y="1748458"/>
            <a:ext cx="8513483" cy="1498373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83159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elle 76">
            <a:extLst>
              <a:ext uri="{FF2B5EF4-FFF2-40B4-BE49-F238E27FC236}">
                <a16:creationId xmlns:a16="http://schemas.microsoft.com/office/drawing/2014/main" id="{FCF70BAB-8D0B-49F4-8279-B4CDD1CF25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039207"/>
              </p:ext>
            </p:extLst>
          </p:nvPr>
        </p:nvGraphicFramePr>
        <p:xfrm>
          <a:off x="541074" y="2408250"/>
          <a:ext cx="11109852" cy="333568"/>
        </p:xfrm>
        <a:graphic>
          <a:graphicData uri="http://schemas.openxmlformats.org/drawingml/2006/table">
            <a:tbl>
              <a:tblPr firstRow="1" bandRow="1"/>
              <a:tblGrid>
                <a:gridCol w="925821">
                  <a:extLst>
                    <a:ext uri="{9D8B030D-6E8A-4147-A177-3AD203B41FA5}">
                      <a16:colId xmlns:a16="http://schemas.microsoft.com/office/drawing/2014/main" val="2916534111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6480882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82644314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19486568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424819959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530856296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65130068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47328691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09074854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41006875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97944142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32505735"/>
                    </a:ext>
                  </a:extLst>
                </a:gridCol>
              </a:tblGrid>
              <a:tr h="333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000" marR="7315" marT="54000" marB="54000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616534"/>
                  </a:ext>
                </a:extLst>
              </a:tr>
            </a:tbl>
          </a:graphicData>
        </a:graphic>
      </p:graphicFrame>
      <p:sp>
        <p:nvSpPr>
          <p:cNvPr id="51" name="Titel 3">
            <a:extLst>
              <a:ext uri="{FF2B5EF4-FFF2-40B4-BE49-F238E27FC236}">
                <a16:creationId xmlns:a16="http://schemas.microsoft.com/office/drawing/2014/main" id="{8F2549CA-3F05-4365-9F3F-C4915D6869B8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2" name="Textplatzhalter 4">
            <a:extLst>
              <a:ext uri="{FF2B5EF4-FFF2-40B4-BE49-F238E27FC236}">
                <a16:creationId xmlns:a16="http://schemas.microsoft.com/office/drawing/2014/main" id="{1B8363E9-889C-4514-89FF-02465F53A4AA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3" name="Text Box 57">
            <a:extLst>
              <a:ext uri="{FF2B5EF4-FFF2-40B4-BE49-F238E27FC236}">
                <a16:creationId xmlns:a16="http://schemas.microsoft.com/office/drawing/2014/main" id="{E5901400-CE79-4BEA-98E8-A9DE60A5387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60063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1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4" name="Gleichschenkliges Dreieck 32">
            <a:extLst>
              <a:ext uri="{FF2B5EF4-FFF2-40B4-BE49-F238E27FC236}">
                <a16:creationId xmlns:a16="http://schemas.microsoft.com/office/drawing/2014/main" id="{812FB9F7-0F77-4895-96C4-F30DB2273447}"/>
              </a:ext>
            </a:extLst>
          </p:cNvPr>
          <p:cNvSpPr/>
          <p:nvPr/>
        </p:nvSpPr>
        <p:spPr bwMode="gray">
          <a:xfrm rot="10800000">
            <a:off x="2672510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5" name="Text Box 57">
            <a:extLst>
              <a:ext uri="{FF2B5EF4-FFF2-40B4-BE49-F238E27FC236}">
                <a16:creationId xmlns:a16="http://schemas.microsoft.com/office/drawing/2014/main" id="{0A14B9A7-F4E0-4B50-8156-251C20E1463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61009" y="1510818"/>
            <a:ext cx="1553303" cy="56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DESCRIPTION 2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6" name="Gleichschenkliges Dreieck 34">
            <a:extLst>
              <a:ext uri="{FF2B5EF4-FFF2-40B4-BE49-F238E27FC236}">
                <a16:creationId xmlns:a16="http://schemas.microsoft.com/office/drawing/2014/main" id="{A3029A5B-F79D-40F7-8713-B75F9CB5ABA7}"/>
              </a:ext>
            </a:extLst>
          </p:cNvPr>
          <p:cNvSpPr/>
          <p:nvPr/>
        </p:nvSpPr>
        <p:spPr bwMode="gray">
          <a:xfrm rot="10800000">
            <a:off x="4073456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7" name="Text Box 57">
            <a:extLst>
              <a:ext uri="{FF2B5EF4-FFF2-40B4-BE49-F238E27FC236}">
                <a16:creationId xmlns:a16="http://schemas.microsoft.com/office/drawing/2014/main" id="{ACEC8035-12EC-4E06-A16C-5ADC7A6FA20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346855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3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8" name="Gleichschenkliges Dreieck 36">
            <a:extLst>
              <a:ext uri="{FF2B5EF4-FFF2-40B4-BE49-F238E27FC236}">
                <a16:creationId xmlns:a16="http://schemas.microsoft.com/office/drawing/2014/main" id="{65D90F24-7AB7-4798-BF80-8C0AD41B6341}"/>
              </a:ext>
            </a:extLst>
          </p:cNvPr>
          <p:cNvSpPr/>
          <p:nvPr/>
        </p:nvSpPr>
        <p:spPr bwMode="gray">
          <a:xfrm rot="10800000">
            <a:off x="6959302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Text Box 57">
            <a:extLst>
              <a:ext uri="{FF2B5EF4-FFF2-40B4-BE49-F238E27FC236}">
                <a16:creationId xmlns:a16="http://schemas.microsoft.com/office/drawing/2014/main" id="{5497798D-7375-499F-8D16-9AAA7C8CD88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70753" y="1510818"/>
            <a:ext cx="1553303" cy="56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DESCRIPTION 4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0" name="Gleichschenkliges Dreieck 38">
            <a:extLst>
              <a:ext uri="{FF2B5EF4-FFF2-40B4-BE49-F238E27FC236}">
                <a16:creationId xmlns:a16="http://schemas.microsoft.com/office/drawing/2014/main" id="{0FC685F7-DDF5-48C1-8AF4-6FF7ADBFBC75}"/>
              </a:ext>
            </a:extLst>
          </p:cNvPr>
          <p:cNvSpPr/>
          <p:nvPr/>
        </p:nvSpPr>
        <p:spPr bwMode="gray">
          <a:xfrm rot="10800000">
            <a:off x="8583200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1" name="Text Box 57">
            <a:extLst>
              <a:ext uri="{FF2B5EF4-FFF2-40B4-BE49-F238E27FC236}">
                <a16:creationId xmlns:a16="http://schemas.microsoft.com/office/drawing/2014/main" id="{C2B204E3-361E-4DA0-9FB0-6CDC9887A0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655489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5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2" name="Gleichschenkliges Dreieck 40">
            <a:extLst>
              <a:ext uri="{FF2B5EF4-FFF2-40B4-BE49-F238E27FC236}">
                <a16:creationId xmlns:a16="http://schemas.microsoft.com/office/drawing/2014/main" id="{1C993636-9A77-4458-B25C-3485DDFA1C9E}"/>
              </a:ext>
            </a:extLst>
          </p:cNvPr>
          <p:cNvSpPr/>
          <p:nvPr/>
        </p:nvSpPr>
        <p:spPr bwMode="gray">
          <a:xfrm rot="10800000">
            <a:off x="10267936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3" name="Rechteck 41">
            <a:extLst>
              <a:ext uri="{FF2B5EF4-FFF2-40B4-BE49-F238E27FC236}">
                <a16:creationId xmlns:a16="http://schemas.microsoft.com/office/drawing/2014/main" id="{E9B48A1E-2001-4846-96B2-0654F2131938}"/>
              </a:ext>
            </a:extLst>
          </p:cNvPr>
          <p:cNvSpPr/>
          <p:nvPr/>
        </p:nvSpPr>
        <p:spPr bwMode="gray">
          <a:xfrm>
            <a:off x="540000" y="2712844"/>
            <a:ext cx="4661303" cy="88493"/>
          </a:xfrm>
          <a:prstGeom prst="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4" name="Pfeil nach rechts 42">
            <a:extLst>
              <a:ext uri="{FF2B5EF4-FFF2-40B4-BE49-F238E27FC236}">
                <a16:creationId xmlns:a16="http://schemas.microsoft.com/office/drawing/2014/main" id="{79B50436-CF67-4A87-9E47-177B1B1525BD}"/>
              </a:ext>
            </a:extLst>
          </p:cNvPr>
          <p:cNvSpPr/>
          <p:nvPr/>
        </p:nvSpPr>
        <p:spPr bwMode="gray">
          <a:xfrm>
            <a:off x="687388" y="3725171"/>
            <a:ext cx="10833757" cy="1173085"/>
          </a:xfrm>
          <a:prstGeom prst="rightArrow">
            <a:avLst/>
          </a:prstGeom>
          <a:gradFill flip="none" rotWithShape="1">
            <a:gsLst>
              <a:gs pos="43000">
                <a:srgbClr val="FFFFFF">
                  <a:tint val="80000"/>
                  <a:satMod val="300000"/>
                  <a:alpha val="0"/>
                </a:srgbClr>
              </a:gs>
              <a:gs pos="100000">
                <a:srgbClr val="FFFFFF">
                  <a:shade val="30000"/>
                  <a:satMod val="200000"/>
                  <a:alpha val="30000"/>
                </a:srgbClr>
              </a:gs>
            </a:gsLst>
            <a:lin ang="0" scaled="0"/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5" name="Gleichschenkliges Dreieck 43">
            <a:extLst>
              <a:ext uri="{FF2B5EF4-FFF2-40B4-BE49-F238E27FC236}">
                <a16:creationId xmlns:a16="http://schemas.microsoft.com/office/drawing/2014/main" id="{E41C8B1F-775D-49C6-8328-FA90043B8A80}"/>
              </a:ext>
            </a:extLst>
          </p:cNvPr>
          <p:cNvSpPr/>
          <p:nvPr/>
        </p:nvSpPr>
        <p:spPr bwMode="gray">
          <a:xfrm rot="10800000" flipH="1" flipV="1">
            <a:off x="958010" y="2661662"/>
            <a:ext cx="304800" cy="210153"/>
          </a:xfrm>
          <a:prstGeom prst="triangle">
            <a:avLst/>
          </a:prstGeom>
          <a:solidFill>
            <a:srgbClr val="2C3E50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6" name="Text Box 57">
            <a:extLst>
              <a:ext uri="{FF2B5EF4-FFF2-40B4-BE49-F238E27FC236}">
                <a16:creationId xmlns:a16="http://schemas.microsoft.com/office/drawing/2014/main" id="{227E2691-0D90-4D80-8AD1-C1B4236B98B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8745" y="3005031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PROJECT KICKOFF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7" name="Gleichschenkliges Dreieck 70">
            <a:extLst>
              <a:ext uri="{FF2B5EF4-FFF2-40B4-BE49-F238E27FC236}">
                <a16:creationId xmlns:a16="http://schemas.microsoft.com/office/drawing/2014/main" id="{5311DE8D-5224-484A-87F7-41E710B5FA1C}"/>
              </a:ext>
            </a:extLst>
          </p:cNvPr>
          <p:cNvSpPr/>
          <p:nvPr/>
        </p:nvSpPr>
        <p:spPr bwMode="gray">
          <a:xfrm rot="10800000" flipH="1" flipV="1">
            <a:off x="10919742" y="2661662"/>
            <a:ext cx="304800" cy="210153"/>
          </a:xfrm>
          <a:prstGeom prst="triangle">
            <a:avLst/>
          </a:prstGeom>
          <a:solidFill>
            <a:srgbClr val="2C3E50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8" name="Text Box 57">
            <a:extLst>
              <a:ext uri="{FF2B5EF4-FFF2-40B4-BE49-F238E27FC236}">
                <a16:creationId xmlns:a16="http://schemas.microsoft.com/office/drawing/2014/main" id="{EB6F6754-DAE8-4F13-8097-C585136A69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84435" y="3005031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PROJECT  END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9" name="Gleichschenkliges Dreieck 72">
            <a:extLst>
              <a:ext uri="{FF2B5EF4-FFF2-40B4-BE49-F238E27FC236}">
                <a16:creationId xmlns:a16="http://schemas.microsoft.com/office/drawing/2014/main" id="{A10DA549-C81E-4605-BAEE-9062D54DED9C}"/>
              </a:ext>
            </a:extLst>
          </p:cNvPr>
          <p:cNvSpPr/>
          <p:nvPr/>
        </p:nvSpPr>
        <p:spPr bwMode="gray">
          <a:xfrm rot="10800000" flipH="1" flipV="1">
            <a:off x="5062899" y="2661662"/>
            <a:ext cx="304800" cy="210153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70" name="Text Box 57">
            <a:extLst>
              <a:ext uri="{FF2B5EF4-FFF2-40B4-BE49-F238E27FC236}">
                <a16:creationId xmlns:a16="http://schemas.microsoft.com/office/drawing/2014/main" id="{A5D50C6B-BE32-477C-A3CD-91FAEADE6B1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27592" y="3006706"/>
            <a:ext cx="155330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TODAY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endParaRPr lang="en-US" sz="800" dirty="0">
              <a:solidFill>
                <a:srgbClr val="A6A6A6"/>
              </a:solidFill>
              <a:latin typeface="Bebas Neue" panose="020B0506020202020201" pitchFamily="34" charset="0"/>
              <a:cs typeface="Calibri" pitchFamily="34" charset="0"/>
            </a:endParaRPr>
          </a:p>
        </p:txBody>
      </p:sp>
      <p:grpSp>
        <p:nvGrpSpPr>
          <p:cNvPr id="71" name="Gruppieren 1">
            <a:extLst>
              <a:ext uri="{FF2B5EF4-FFF2-40B4-BE49-F238E27FC236}">
                <a16:creationId xmlns:a16="http://schemas.microsoft.com/office/drawing/2014/main" id="{C77354F6-F486-4FCD-A77D-866EF05662E8}"/>
              </a:ext>
            </a:extLst>
          </p:cNvPr>
          <p:cNvGrpSpPr/>
          <p:nvPr/>
        </p:nvGrpSpPr>
        <p:grpSpPr>
          <a:xfrm>
            <a:off x="696181" y="3437272"/>
            <a:ext cx="11040366" cy="3087226"/>
            <a:chOff x="696181" y="3437272"/>
            <a:chExt cx="11040366" cy="3087226"/>
          </a:xfrm>
        </p:grpSpPr>
        <p:cxnSp>
          <p:nvCxnSpPr>
            <p:cNvPr id="72" name="Gerade Verbindung 4">
              <a:extLst>
                <a:ext uri="{FF2B5EF4-FFF2-40B4-BE49-F238E27FC236}">
                  <a16:creationId xmlns:a16="http://schemas.microsoft.com/office/drawing/2014/main" id="{BC4980B7-2373-441C-83AA-1B049CDE417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269065" y="3437272"/>
              <a:ext cx="0" cy="48362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3" name="Gerade Verbindung 4">
              <a:extLst>
                <a:ext uri="{FF2B5EF4-FFF2-40B4-BE49-F238E27FC236}">
                  <a16:creationId xmlns:a16="http://schemas.microsoft.com/office/drawing/2014/main" id="{A63BC141-2799-450C-AB80-13031D2A35E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94230" y="3437272"/>
              <a:ext cx="0" cy="82961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4" name="Gerade Verbindung 4">
              <a:extLst>
                <a:ext uri="{FF2B5EF4-FFF2-40B4-BE49-F238E27FC236}">
                  <a16:creationId xmlns:a16="http://schemas.microsoft.com/office/drawing/2014/main" id="{B5EFFA7A-9306-4760-B507-6FC89D30B8E1}"/>
                </a:ext>
              </a:extLst>
            </p:cNvPr>
            <p:cNvCxnSpPr/>
            <p:nvPr/>
          </p:nvCxnSpPr>
          <p:spPr bwMode="gray">
            <a:xfrm>
              <a:off x="5273110" y="3437272"/>
              <a:ext cx="0" cy="117560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5" name="Gerade Verbindung 4">
              <a:extLst>
                <a:ext uri="{FF2B5EF4-FFF2-40B4-BE49-F238E27FC236}">
                  <a16:creationId xmlns:a16="http://schemas.microsoft.com/office/drawing/2014/main" id="{B7590571-9473-42D6-8F2F-28064B7F17C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75332" y="3437272"/>
              <a:ext cx="0" cy="1526471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6" name="Gerade Verbindung 4">
              <a:extLst>
                <a:ext uri="{FF2B5EF4-FFF2-40B4-BE49-F238E27FC236}">
                  <a16:creationId xmlns:a16="http://schemas.microsoft.com/office/drawing/2014/main" id="{F1D2D42E-84B5-42B1-AD04-45561A28BA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556907" y="3437272"/>
              <a:ext cx="0" cy="186758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7" name="Gerade Verbindung 4">
              <a:extLst>
                <a:ext uri="{FF2B5EF4-FFF2-40B4-BE49-F238E27FC236}">
                  <a16:creationId xmlns:a16="http://schemas.microsoft.com/office/drawing/2014/main" id="{7F7786DC-9665-4BF5-B4A5-1A988F6C338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622644" y="3437272"/>
              <a:ext cx="0" cy="2239609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78" name="Gruppieren 50">
              <a:extLst>
                <a:ext uri="{FF2B5EF4-FFF2-40B4-BE49-F238E27FC236}">
                  <a16:creationId xmlns:a16="http://schemas.microsoft.com/office/drawing/2014/main" id="{1DEA1B28-D282-41AC-AEF8-27DBA2872E69}"/>
                </a:ext>
              </a:extLst>
            </p:cNvPr>
            <p:cNvGrpSpPr/>
            <p:nvPr/>
          </p:nvGrpSpPr>
          <p:grpSpPr bwMode="gray">
            <a:xfrm>
              <a:off x="3265633" y="4127167"/>
              <a:ext cx="2458159" cy="279438"/>
              <a:chOff x="4522116" y="1470496"/>
              <a:chExt cx="2458159" cy="292708"/>
            </a:xfrm>
          </p:grpSpPr>
          <p:sp>
            <p:nvSpPr>
              <p:cNvPr id="96" name="Rechteck 51">
                <a:extLst>
                  <a:ext uri="{FF2B5EF4-FFF2-40B4-BE49-F238E27FC236}">
                    <a16:creationId xmlns:a16="http://schemas.microsoft.com/office/drawing/2014/main" id="{3D1B7B98-D09D-41A5-93E9-99A91B56CE75}"/>
                  </a:ext>
                </a:extLst>
              </p:cNvPr>
              <p:cNvSpPr/>
              <p:nvPr/>
            </p:nvSpPr>
            <p:spPr bwMode="gray">
              <a:xfrm>
                <a:off x="4522116" y="1470496"/>
                <a:ext cx="1442527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2</a:t>
                </a:r>
              </a:p>
            </p:txBody>
          </p:sp>
          <p:sp>
            <p:nvSpPr>
              <p:cNvPr id="97" name="Abgerundetes Rechteck 52">
                <a:extLst>
                  <a:ext uri="{FF2B5EF4-FFF2-40B4-BE49-F238E27FC236}">
                    <a16:creationId xmlns:a16="http://schemas.microsoft.com/office/drawing/2014/main" id="{5A5C2443-7922-42AF-96D1-5DACACB17287}"/>
                  </a:ext>
                </a:extLst>
              </p:cNvPr>
              <p:cNvSpPr/>
              <p:nvPr/>
            </p:nvSpPr>
            <p:spPr bwMode="gray">
              <a:xfrm>
                <a:off x="6060399" y="1470496"/>
                <a:ext cx="91987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79" name="Gruppieren 53">
              <a:extLst>
                <a:ext uri="{FF2B5EF4-FFF2-40B4-BE49-F238E27FC236}">
                  <a16:creationId xmlns:a16="http://schemas.microsoft.com/office/drawing/2014/main" id="{E32AB3B9-2608-4CCB-BE73-859A4E52A681}"/>
                </a:ext>
              </a:extLst>
            </p:cNvPr>
            <p:cNvGrpSpPr/>
            <p:nvPr/>
          </p:nvGrpSpPr>
          <p:grpSpPr bwMode="gray">
            <a:xfrm>
              <a:off x="2297430" y="4473158"/>
              <a:ext cx="4049425" cy="280983"/>
              <a:chOff x="3787602" y="1832917"/>
              <a:chExt cx="4049425" cy="294327"/>
            </a:xfrm>
          </p:grpSpPr>
          <p:sp>
            <p:nvSpPr>
              <p:cNvPr id="93" name="Rechteck 54">
                <a:extLst>
                  <a:ext uri="{FF2B5EF4-FFF2-40B4-BE49-F238E27FC236}">
                    <a16:creationId xmlns:a16="http://schemas.microsoft.com/office/drawing/2014/main" id="{925ECBA7-7400-48F9-85FA-449C16985949}"/>
                  </a:ext>
                </a:extLst>
              </p:cNvPr>
              <p:cNvSpPr/>
              <p:nvPr/>
            </p:nvSpPr>
            <p:spPr bwMode="gray">
              <a:xfrm>
                <a:off x="5881642" y="1832917"/>
                <a:ext cx="896882" cy="292708"/>
              </a:xfrm>
              <a:prstGeom prst="rect">
                <a:avLst/>
              </a:prstGeom>
              <a:solidFill>
                <a:srgbClr val="45B1CB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4" name="Abgerundetes Rechteck 55">
                <a:extLst>
                  <a:ext uri="{FF2B5EF4-FFF2-40B4-BE49-F238E27FC236}">
                    <a16:creationId xmlns:a16="http://schemas.microsoft.com/office/drawing/2014/main" id="{46BB7CE1-323D-4A8D-BFAB-D65E64A1CCA2}"/>
                  </a:ext>
                </a:extLst>
              </p:cNvPr>
              <p:cNvSpPr/>
              <p:nvPr/>
            </p:nvSpPr>
            <p:spPr bwMode="gray">
              <a:xfrm>
                <a:off x="6907317" y="1834536"/>
                <a:ext cx="92971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95" name="Abgerundetes Rechteck 56">
                <a:extLst>
                  <a:ext uri="{FF2B5EF4-FFF2-40B4-BE49-F238E27FC236}">
                    <a16:creationId xmlns:a16="http://schemas.microsoft.com/office/drawing/2014/main" id="{8721718C-A9F5-4706-B6E9-EE9A8F4181C5}"/>
                  </a:ext>
                </a:extLst>
              </p:cNvPr>
              <p:cNvSpPr/>
              <p:nvPr/>
            </p:nvSpPr>
            <p:spPr bwMode="gray">
              <a:xfrm>
                <a:off x="3787602" y="1832917"/>
                <a:ext cx="20806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AMPLE TASK  DESCRIPTION 3</a:t>
                </a:r>
              </a:p>
            </p:txBody>
          </p:sp>
        </p:grpSp>
        <p:grpSp>
          <p:nvGrpSpPr>
            <p:cNvPr id="80" name="Gruppieren 57">
              <a:extLst>
                <a:ext uri="{FF2B5EF4-FFF2-40B4-BE49-F238E27FC236}">
                  <a16:creationId xmlns:a16="http://schemas.microsoft.com/office/drawing/2014/main" id="{D0A1F906-BCE9-401D-9DAD-18B535522A60}"/>
                </a:ext>
              </a:extLst>
            </p:cNvPr>
            <p:cNvGrpSpPr/>
            <p:nvPr/>
          </p:nvGrpSpPr>
          <p:grpSpPr bwMode="gray">
            <a:xfrm>
              <a:off x="5288352" y="4819148"/>
              <a:ext cx="3688594" cy="279438"/>
              <a:chOff x="3715923" y="2195338"/>
              <a:chExt cx="3688594" cy="292708"/>
            </a:xfrm>
          </p:grpSpPr>
          <p:sp>
            <p:nvSpPr>
              <p:cNvPr id="91" name="Rechteck 58">
                <a:extLst>
                  <a:ext uri="{FF2B5EF4-FFF2-40B4-BE49-F238E27FC236}">
                    <a16:creationId xmlns:a16="http://schemas.microsoft.com/office/drawing/2014/main" id="{A0373278-AE98-4E61-BC31-0A3A30AF0D68}"/>
                  </a:ext>
                </a:extLst>
              </p:cNvPr>
              <p:cNvSpPr/>
              <p:nvPr/>
            </p:nvSpPr>
            <p:spPr bwMode="gray">
              <a:xfrm>
                <a:off x="3715923" y="2195338"/>
                <a:ext cx="2592597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 DESCRIPTION 4</a:t>
                </a:r>
              </a:p>
            </p:txBody>
          </p:sp>
          <p:sp>
            <p:nvSpPr>
              <p:cNvPr id="92" name="Abgerundetes Rechteck 59">
                <a:extLst>
                  <a:ext uri="{FF2B5EF4-FFF2-40B4-BE49-F238E27FC236}">
                    <a16:creationId xmlns:a16="http://schemas.microsoft.com/office/drawing/2014/main" id="{09258DF6-F1B1-49D4-AA7E-08D0A57C81F6}"/>
                  </a:ext>
                </a:extLst>
              </p:cNvPr>
              <p:cNvSpPr/>
              <p:nvPr/>
            </p:nvSpPr>
            <p:spPr bwMode="gray">
              <a:xfrm>
                <a:off x="6442161" y="2195338"/>
                <a:ext cx="9623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1" name="Gruppieren 60">
              <a:extLst>
                <a:ext uri="{FF2B5EF4-FFF2-40B4-BE49-F238E27FC236}">
                  <a16:creationId xmlns:a16="http://schemas.microsoft.com/office/drawing/2014/main" id="{5D890742-C905-476F-9793-D0BB33D88E5F}"/>
                </a:ext>
              </a:extLst>
            </p:cNvPr>
            <p:cNvGrpSpPr/>
            <p:nvPr/>
          </p:nvGrpSpPr>
          <p:grpSpPr bwMode="gray">
            <a:xfrm>
              <a:off x="7889262" y="5162166"/>
              <a:ext cx="2683473" cy="282410"/>
              <a:chOff x="7938690" y="2554646"/>
              <a:chExt cx="2683473" cy="295821"/>
            </a:xfrm>
          </p:grpSpPr>
          <p:sp>
            <p:nvSpPr>
              <p:cNvPr id="89" name="Rechteck 61">
                <a:extLst>
                  <a:ext uri="{FF2B5EF4-FFF2-40B4-BE49-F238E27FC236}">
                    <a16:creationId xmlns:a16="http://schemas.microsoft.com/office/drawing/2014/main" id="{C6546B55-B825-4C98-B13D-5A76CA611270}"/>
                  </a:ext>
                </a:extLst>
              </p:cNvPr>
              <p:cNvSpPr/>
              <p:nvPr/>
            </p:nvSpPr>
            <p:spPr bwMode="gray">
              <a:xfrm>
                <a:off x="7938690" y="2557759"/>
                <a:ext cx="1681575" cy="292708"/>
              </a:xfrm>
              <a:prstGeom prst="rect">
                <a:avLst/>
              </a:prstGeom>
              <a:solidFill>
                <a:srgbClr val="45B1CB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5</a:t>
                </a:r>
              </a:p>
            </p:txBody>
          </p:sp>
          <p:sp>
            <p:nvSpPr>
              <p:cNvPr id="90" name="Abgerundetes Rechteck 62">
                <a:extLst>
                  <a:ext uri="{FF2B5EF4-FFF2-40B4-BE49-F238E27FC236}">
                    <a16:creationId xmlns:a16="http://schemas.microsoft.com/office/drawing/2014/main" id="{3CC09C3D-8188-4DD6-BEF9-499ED6719A35}"/>
                  </a:ext>
                </a:extLst>
              </p:cNvPr>
              <p:cNvSpPr/>
              <p:nvPr/>
            </p:nvSpPr>
            <p:spPr bwMode="gray">
              <a:xfrm>
                <a:off x="9704916" y="2554646"/>
                <a:ext cx="917247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2" name="Gruppieren 63">
              <a:extLst>
                <a:ext uri="{FF2B5EF4-FFF2-40B4-BE49-F238E27FC236}">
                  <a16:creationId xmlns:a16="http://schemas.microsoft.com/office/drawing/2014/main" id="{BE31C41F-5D7B-420B-BE47-5C9D25B2DF15}"/>
                </a:ext>
              </a:extLst>
            </p:cNvPr>
            <p:cNvGrpSpPr/>
            <p:nvPr/>
          </p:nvGrpSpPr>
          <p:grpSpPr bwMode="gray">
            <a:xfrm>
              <a:off x="9529673" y="5534190"/>
              <a:ext cx="2120138" cy="282410"/>
              <a:chOff x="8178243" y="2554646"/>
              <a:chExt cx="2120138" cy="295821"/>
            </a:xfrm>
          </p:grpSpPr>
          <p:sp>
            <p:nvSpPr>
              <p:cNvPr id="87" name="Rechteck 64">
                <a:extLst>
                  <a:ext uri="{FF2B5EF4-FFF2-40B4-BE49-F238E27FC236}">
                    <a16:creationId xmlns:a16="http://schemas.microsoft.com/office/drawing/2014/main" id="{201518A7-52A1-4EC2-9CEB-B4FE0097624D}"/>
                  </a:ext>
                </a:extLst>
              </p:cNvPr>
              <p:cNvSpPr/>
              <p:nvPr/>
            </p:nvSpPr>
            <p:spPr bwMode="gray">
              <a:xfrm>
                <a:off x="8178243" y="2557759"/>
                <a:ext cx="1108213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6</a:t>
                </a:r>
              </a:p>
            </p:txBody>
          </p:sp>
          <p:sp>
            <p:nvSpPr>
              <p:cNvPr id="88" name="Abgerundetes Rechteck 65">
                <a:extLst>
                  <a:ext uri="{FF2B5EF4-FFF2-40B4-BE49-F238E27FC236}">
                    <a16:creationId xmlns:a16="http://schemas.microsoft.com/office/drawing/2014/main" id="{F1E63041-39A1-4EF9-B3D4-2BFC191FC739}"/>
                  </a:ext>
                </a:extLst>
              </p:cNvPr>
              <p:cNvSpPr/>
              <p:nvPr/>
            </p:nvSpPr>
            <p:spPr bwMode="gray">
              <a:xfrm>
                <a:off x="9375552" y="2554646"/>
                <a:ext cx="922829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3" name="Gruppieren 66">
              <a:extLst>
                <a:ext uri="{FF2B5EF4-FFF2-40B4-BE49-F238E27FC236}">
                  <a16:creationId xmlns:a16="http://schemas.microsoft.com/office/drawing/2014/main" id="{01DDD2EF-C8A4-4EFF-AFCF-D518CFA7D7DC}"/>
                </a:ext>
              </a:extLst>
            </p:cNvPr>
            <p:cNvGrpSpPr/>
            <p:nvPr/>
          </p:nvGrpSpPr>
          <p:grpSpPr bwMode="gray">
            <a:xfrm>
              <a:off x="696181" y="3781177"/>
              <a:ext cx="3902196" cy="279438"/>
              <a:chOff x="169870" y="1108075"/>
              <a:chExt cx="3902196" cy="292708"/>
            </a:xfrm>
          </p:grpSpPr>
          <p:sp>
            <p:nvSpPr>
              <p:cNvPr id="85" name="Abgerundetes Rechteck 67">
                <a:extLst>
                  <a:ext uri="{FF2B5EF4-FFF2-40B4-BE49-F238E27FC236}">
                    <a16:creationId xmlns:a16="http://schemas.microsoft.com/office/drawing/2014/main" id="{2E4785C4-B391-4B9E-A9DF-0A075632E614}"/>
                  </a:ext>
                </a:extLst>
              </p:cNvPr>
              <p:cNvSpPr/>
              <p:nvPr/>
            </p:nvSpPr>
            <p:spPr bwMode="gray">
              <a:xfrm>
                <a:off x="2859368" y="1108075"/>
                <a:ext cx="1212698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86" name="Rechteck 68">
                <a:extLst>
                  <a:ext uri="{FF2B5EF4-FFF2-40B4-BE49-F238E27FC236}">
                    <a16:creationId xmlns:a16="http://schemas.microsoft.com/office/drawing/2014/main" id="{A2133602-AC56-45E7-8DE3-FE096AD00165}"/>
                  </a:ext>
                </a:extLst>
              </p:cNvPr>
              <p:cNvSpPr/>
              <p:nvPr/>
            </p:nvSpPr>
            <p:spPr bwMode="gray">
              <a:xfrm>
                <a:off x="169870" y="1108075"/>
                <a:ext cx="2581676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 DESCRIPTION 1</a:t>
                </a:r>
              </a:p>
            </p:txBody>
          </p:sp>
        </p:grpSp>
        <p:pic>
          <p:nvPicPr>
            <p:cNvPr id="84" name="Picture 55">
              <a:extLst>
                <a:ext uri="{FF2B5EF4-FFF2-40B4-BE49-F238E27FC236}">
                  <a16:creationId xmlns:a16="http://schemas.microsoft.com/office/drawing/2014/main" id="{3F6F2CBB-93A9-4151-8DFE-67F92D59CD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556768" y="6126998"/>
              <a:ext cx="2179779" cy="397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82002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Gruppieren 166">
            <a:extLst>
              <a:ext uri="{FF2B5EF4-FFF2-40B4-BE49-F238E27FC236}">
                <a16:creationId xmlns:a16="http://schemas.microsoft.com/office/drawing/2014/main" id="{650F7191-0A58-43AE-9E13-9D0F9576B8A0}"/>
              </a:ext>
            </a:extLst>
          </p:cNvPr>
          <p:cNvGrpSpPr/>
          <p:nvPr/>
        </p:nvGrpSpPr>
        <p:grpSpPr bwMode="gray">
          <a:xfrm>
            <a:off x="671576" y="1449242"/>
            <a:ext cx="3788994" cy="4627970"/>
            <a:chOff x="877172" y="1635025"/>
            <a:chExt cx="3596871" cy="4393315"/>
          </a:xfrm>
        </p:grpSpPr>
        <p:sp>
          <p:nvSpPr>
            <p:cNvPr id="3" name="Ellipse 30">
              <a:extLst>
                <a:ext uri="{FF2B5EF4-FFF2-40B4-BE49-F238E27FC236}">
                  <a16:creationId xmlns:a16="http://schemas.microsoft.com/office/drawing/2014/main" id="{0124AB80-0B72-40C0-9A8C-F0D174C155E8}"/>
                </a:ext>
              </a:extLst>
            </p:cNvPr>
            <p:cNvSpPr/>
            <p:nvPr/>
          </p:nvSpPr>
          <p:spPr bwMode="gray">
            <a:xfrm>
              <a:off x="2699119" y="5114458"/>
              <a:ext cx="1774924" cy="698985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uppieren 168">
              <a:extLst>
                <a:ext uri="{FF2B5EF4-FFF2-40B4-BE49-F238E27FC236}">
                  <a16:creationId xmlns:a16="http://schemas.microsoft.com/office/drawing/2014/main" id="{39BB72D5-DF8C-49BC-9B81-353745C572C9}"/>
                </a:ext>
              </a:extLst>
            </p:cNvPr>
            <p:cNvGrpSpPr/>
            <p:nvPr/>
          </p:nvGrpSpPr>
          <p:grpSpPr bwMode="gray">
            <a:xfrm>
              <a:off x="3254544" y="1934064"/>
              <a:ext cx="778970" cy="3779669"/>
              <a:chOff x="3051843" y="2193330"/>
              <a:chExt cx="652331" cy="3165189"/>
            </a:xfrm>
          </p:grpSpPr>
          <p:sp>
            <p:nvSpPr>
              <p:cNvPr id="122" name="Freeform 47">
                <a:extLst>
                  <a:ext uri="{FF2B5EF4-FFF2-40B4-BE49-F238E27FC236}">
                    <a16:creationId xmlns:a16="http://schemas.microsoft.com/office/drawing/2014/main" id="{C14B8C88-EBD4-4947-BC7A-51C9C4B986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3754" y="3566758"/>
                <a:ext cx="147085" cy="266472"/>
              </a:xfrm>
              <a:custGeom>
                <a:avLst/>
                <a:gdLst>
                  <a:gd name="T0" fmla="*/ 52 w 65"/>
                  <a:gd name="T1" fmla="*/ 112 h 118"/>
                  <a:gd name="T2" fmla="*/ 51 w 65"/>
                  <a:gd name="T3" fmla="*/ 95 h 118"/>
                  <a:gd name="T4" fmla="*/ 59 w 65"/>
                  <a:gd name="T5" fmla="*/ 93 h 118"/>
                  <a:gd name="T6" fmla="*/ 56 w 65"/>
                  <a:gd name="T7" fmla="*/ 79 h 118"/>
                  <a:gd name="T8" fmla="*/ 65 w 65"/>
                  <a:gd name="T9" fmla="*/ 67 h 118"/>
                  <a:gd name="T10" fmla="*/ 43 w 65"/>
                  <a:gd name="T11" fmla="*/ 44 h 118"/>
                  <a:gd name="T12" fmla="*/ 45 w 65"/>
                  <a:gd name="T13" fmla="*/ 22 h 118"/>
                  <a:gd name="T14" fmla="*/ 42 w 65"/>
                  <a:gd name="T15" fmla="*/ 6 h 118"/>
                  <a:gd name="T16" fmla="*/ 40 w 65"/>
                  <a:gd name="T17" fmla="*/ 0 h 118"/>
                  <a:gd name="T18" fmla="*/ 35 w 65"/>
                  <a:gd name="T19" fmla="*/ 3 h 118"/>
                  <a:gd name="T20" fmla="*/ 5 w 65"/>
                  <a:gd name="T21" fmla="*/ 18 h 118"/>
                  <a:gd name="T22" fmla="*/ 2 w 65"/>
                  <a:gd name="T23" fmla="*/ 61 h 118"/>
                  <a:gd name="T24" fmla="*/ 15 w 65"/>
                  <a:gd name="T25" fmla="*/ 80 h 118"/>
                  <a:gd name="T26" fmla="*/ 23 w 65"/>
                  <a:gd name="T27" fmla="*/ 89 h 118"/>
                  <a:gd name="T28" fmla="*/ 30 w 65"/>
                  <a:gd name="T29" fmla="*/ 100 h 118"/>
                  <a:gd name="T30" fmla="*/ 44 w 65"/>
                  <a:gd name="T31" fmla="*/ 118 h 118"/>
                  <a:gd name="T32" fmla="*/ 52 w 65"/>
                  <a:gd name="T33" fmla="*/ 112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118">
                    <a:moveTo>
                      <a:pt x="52" y="112"/>
                    </a:moveTo>
                    <a:cubicBezTo>
                      <a:pt x="54" y="112"/>
                      <a:pt x="51" y="95"/>
                      <a:pt x="51" y="95"/>
                    </a:cubicBezTo>
                    <a:cubicBezTo>
                      <a:pt x="51" y="95"/>
                      <a:pt x="56" y="98"/>
                      <a:pt x="59" y="93"/>
                    </a:cubicBezTo>
                    <a:cubicBezTo>
                      <a:pt x="64" y="86"/>
                      <a:pt x="53" y="82"/>
                      <a:pt x="56" y="79"/>
                    </a:cubicBezTo>
                    <a:cubicBezTo>
                      <a:pt x="59" y="77"/>
                      <a:pt x="64" y="68"/>
                      <a:pt x="65" y="67"/>
                    </a:cubicBezTo>
                    <a:cubicBezTo>
                      <a:pt x="52" y="60"/>
                      <a:pt x="44" y="48"/>
                      <a:pt x="43" y="44"/>
                    </a:cubicBezTo>
                    <a:cubicBezTo>
                      <a:pt x="41" y="41"/>
                      <a:pt x="43" y="30"/>
                      <a:pt x="45" y="22"/>
                    </a:cubicBezTo>
                    <a:cubicBezTo>
                      <a:pt x="43" y="17"/>
                      <a:pt x="42" y="11"/>
                      <a:pt x="42" y="6"/>
                    </a:cubicBezTo>
                    <a:cubicBezTo>
                      <a:pt x="41" y="4"/>
                      <a:pt x="40" y="2"/>
                      <a:pt x="40" y="0"/>
                    </a:cubicBezTo>
                    <a:cubicBezTo>
                      <a:pt x="37" y="3"/>
                      <a:pt x="35" y="3"/>
                      <a:pt x="35" y="3"/>
                    </a:cubicBezTo>
                    <a:cubicBezTo>
                      <a:pt x="21" y="6"/>
                      <a:pt x="9" y="15"/>
                      <a:pt x="5" y="18"/>
                    </a:cubicBezTo>
                    <a:cubicBezTo>
                      <a:pt x="3" y="32"/>
                      <a:pt x="0" y="51"/>
                      <a:pt x="2" y="61"/>
                    </a:cubicBezTo>
                    <a:cubicBezTo>
                      <a:pt x="3" y="67"/>
                      <a:pt x="11" y="74"/>
                      <a:pt x="15" y="80"/>
                    </a:cubicBezTo>
                    <a:cubicBezTo>
                      <a:pt x="15" y="80"/>
                      <a:pt x="18" y="84"/>
                      <a:pt x="23" y="89"/>
                    </a:cubicBezTo>
                    <a:cubicBezTo>
                      <a:pt x="27" y="93"/>
                      <a:pt x="28" y="97"/>
                      <a:pt x="30" y="100"/>
                    </a:cubicBezTo>
                    <a:cubicBezTo>
                      <a:pt x="31" y="102"/>
                      <a:pt x="38" y="118"/>
                      <a:pt x="44" y="118"/>
                    </a:cubicBezTo>
                    <a:cubicBezTo>
                      <a:pt x="44" y="118"/>
                      <a:pt x="52" y="112"/>
                      <a:pt x="52" y="112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57">
                <a:extLst>
                  <a:ext uri="{FF2B5EF4-FFF2-40B4-BE49-F238E27FC236}">
                    <a16:creationId xmlns:a16="http://schemas.microsoft.com/office/drawing/2014/main" id="{AAEE5C0D-A193-4D54-94BC-78F923CCFB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1843" y="3657492"/>
                <a:ext cx="47755" cy="101240"/>
              </a:xfrm>
              <a:custGeom>
                <a:avLst/>
                <a:gdLst>
                  <a:gd name="T0" fmla="*/ 4 w 21"/>
                  <a:gd name="T1" fmla="*/ 0 h 45"/>
                  <a:gd name="T2" fmla="*/ 11 w 21"/>
                  <a:gd name="T3" fmla="*/ 22 h 45"/>
                  <a:gd name="T4" fmla="*/ 21 w 21"/>
                  <a:gd name="T5" fmla="*/ 42 h 45"/>
                  <a:gd name="T6" fmla="*/ 2 w 21"/>
                  <a:gd name="T7" fmla="*/ 19 h 45"/>
                  <a:gd name="T8" fmla="*/ 4 w 2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5">
                    <a:moveTo>
                      <a:pt x="4" y="0"/>
                    </a:moveTo>
                    <a:cubicBezTo>
                      <a:pt x="4" y="0"/>
                      <a:pt x="7" y="18"/>
                      <a:pt x="11" y="22"/>
                    </a:cubicBezTo>
                    <a:cubicBezTo>
                      <a:pt x="15" y="26"/>
                      <a:pt x="20" y="39"/>
                      <a:pt x="21" y="42"/>
                    </a:cubicBezTo>
                    <a:cubicBezTo>
                      <a:pt x="21" y="45"/>
                      <a:pt x="4" y="27"/>
                      <a:pt x="2" y="19"/>
                    </a:cubicBezTo>
                    <a:cubicBezTo>
                      <a:pt x="0" y="1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39">
                <a:extLst>
                  <a:ext uri="{FF2B5EF4-FFF2-40B4-BE49-F238E27FC236}">
                    <a16:creationId xmlns:a16="http://schemas.microsoft.com/office/drawing/2014/main" id="{B68BF573-9B31-40FD-90B3-1DA4B97595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28151" y="4934456"/>
                <a:ext cx="104106" cy="190064"/>
              </a:xfrm>
              <a:custGeom>
                <a:avLst/>
                <a:gdLst>
                  <a:gd name="T0" fmla="*/ 44 w 46"/>
                  <a:gd name="T1" fmla="*/ 19 h 84"/>
                  <a:gd name="T2" fmla="*/ 35 w 46"/>
                  <a:gd name="T3" fmla="*/ 0 h 84"/>
                  <a:gd name="T4" fmla="*/ 35 w 46"/>
                  <a:gd name="T5" fmla="*/ 0 h 84"/>
                  <a:gd name="T6" fmla="*/ 34 w 46"/>
                  <a:gd name="T7" fmla="*/ 9 h 84"/>
                  <a:gd name="T8" fmla="*/ 4 w 46"/>
                  <a:gd name="T9" fmla="*/ 29 h 84"/>
                  <a:gd name="T10" fmla="*/ 4 w 46"/>
                  <a:gd name="T11" fmla="*/ 55 h 84"/>
                  <a:gd name="T12" fmla="*/ 6 w 46"/>
                  <a:gd name="T13" fmla="*/ 54 h 84"/>
                  <a:gd name="T14" fmla="*/ 26 w 46"/>
                  <a:gd name="T15" fmla="*/ 50 h 84"/>
                  <a:gd name="T16" fmla="*/ 25 w 46"/>
                  <a:gd name="T17" fmla="*/ 81 h 84"/>
                  <a:gd name="T18" fmla="*/ 40 w 46"/>
                  <a:gd name="T19" fmla="*/ 80 h 84"/>
                  <a:gd name="T20" fmla="*/ 44 w 46"/>
                  <a:gd name="T21" fmla="*/ 41 h 84"/>
                  <a:gd name="T22" fmla="*/ 44 w 46"/>
                  <a:gd name="T23" fmla="*/ 1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84">
                    <a:moveTo>
                      <a:pt x="44" y="19"/>
                    </a:moveTo>
                    <a:cubicBezTo>
                      <a:pt x="45" y="13"/>
                      <a:pt x="35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3"/>
                      <a:pt x="35" y="6"/>
                      <a:pt x="34" y="9"/>
                    </a:cubicBezTo>
                    <a:cubicBezTo>
                      <a:pt x="30" y="20"/>
                      <a:pt x="4" y="29"/>
                      <a:pt x="4" y="29"/>
                    </a:cubicBezTo>
                    <a:cubicBezTo>
                      <a:pt x="0" y="36"/>
                      <a:pt x="2" y="46"/>
                      <a:pt x="4" y="55"/>
                    </a:cubicBezTo>
                    <a:cubicBezTo>
                      <a:pt x="5" y="54"/>
                      <a:pt x="6" y="54"/>
                      <a:pt x="6" y="54"/>
                    </a:cubicBezTo>
                    <a:cubicBezTo>
                      <a:pt x="26" y="47"/>
                      <a:pt x="26" y="50"/>
                      <a:pt x="26" y="50"/>
                    </a:cubicBezTo>
                    <a:cubicBezTo>
                      <a:pt x="27" y="52"/>
                      <a:pt x="24" y="77"/>
                      <a:pt x="25" y="81"/>
                    </a:cubicBezTo>
                    <a:cubicBezTo>
                      <a:pt x="26" y="84"/>
                      <a:pt x="40" y="80"/>
                      <a:pt x="40" y="80"/>
                    </a:cubicBezTo>
                    <a:cubicBezTo>
                      <a:pt x="40" y="80"/>
                      <a:pt x="43" y="49"/>
                      <a:pt x="44" y="41"/>
                    </a:cubicBezTo>
                    <a:cubicBezTo>
                      <a:pt x="46" y="33"/>
                      <a:pt x="44" y="24"/>
                      <a:pt x="44" y="1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40">
                <a:extLst>
                  <a:ext uri="{FF2B5EF4-FFF2-40B4-BE49-F238E27FC236}">
                    <a16:creationId xmlns:a16="http://schemas.microsoft.com/office/drawing/2014/main" id="{6D5F6E30-06DD-4CFA-B013-13503139CD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2635" y="5056708"/>
                <a:ext cx="152815" cy="92645"/>
              </a:xfrm>
              <a:custGeom>
                <a:avLst/>
                <a:gdLst>
                  <a:gd name="T0" fmla="*/ 46 w 68"/>
                  <a:gd name="T1" fmla="*/ 10 h 41"/>
                  <a:gd name="T2" fmla="*/ 48 w 68"/>
                  <a:gd name="T3" fmla="*/ 2 h 41"/>
                  <a:gd name="T4" fmla="*/ 47 w 68"/>
                  <a:gd name="T5" fmla="*/ 0 h 41"/>
                  <a:gd name="T6" fmla="*/ 27 w 68"/>
                  <a:gd name="T7" fmla="*/ 11 h 41"/>
                  <a:gd name="T8" fmla="*/ 3 w 68"/>
                  <a:gd name="T9" fmla="*/ 35 h 41"/>
                  <a:gd name="T10" fmla="*/ 40 w 68"/>
                  <a:gd name="T11" fmla="*/ 41 h 41"/>
                  <a:gd name="T12" fmla="*/ 56 w 68"/>
                  <a:gd name="T13" fmla="*/ 38 h 41"/>
                  <a:gd name="T14" fmla="*/ 64 w 68"/>
                  <a:gd name="T15" fmla="*/ 19 h 41"/>
                  <a:gd name="T16" fmla="*/ 46 w 68"/>
                  <a:gd name="T17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41">
                    <a:moveTo>
                      <a:pt x="46" y="10"/>
                    </a:moveTo>
                    <a:cubicBezTo>
                      <a:pt x="44" y="9"/>
                      <a:pt x="46" y="6"/>
                      <a:pt x="48" y="2"/>
                    </a:cubicBezTo>
                    <a:cubicBezTo>
                      <a:pt x="47" y="1"/>
                      <a:pt x="47" y="0"/>
                      <a:pt x="47" y="0"/>
                    </a:cubicBezTo>
                    <a:cubicBezTo>
                      <a:pt x="43" y="2"/>
                      <a:pt x="27" y="11"/>
                      <a:pt x="27" y="11"/>
                    </a:cubicBezTo>
                    <a:cubicBezTo>
                      <a:pt x="0" y="30"/>
                      <a:pt x="4" y="31"/>
                      <a:pt x="3" y="35"/>
                    </a:cubicBezTo>
                    <a:cubicBezTo>
                      <a:pt x="2" y="40"/>
                      <a:pt x="12" y="40"/>
                      <a:pt x="40" y="41"/>
                    </a:cubicBezTo>
                    <a:cubicBezTo>
                      <a:pt x="45" y="41"/>
                      <a:pt x="50" y="40"/>
                      <a:pt x="56" y="38"/>
                    </a:cubicBezTo>
                    <a:cubicBezTo>
                      <a:pt x="60" y="28"/>
                      <a:pt x="63" y="21"/>
                      <a:pt x="64" y="19"/>
                    </a:cubicBezTo>
                    <a:cubicBezTo>
                      <a:pt x="68" y="12"/>
                      <a:pt x="50" y="15"/>
                      <a:pt x="46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41">
                <a:extLst>
                  <a:ext uri="{FF2B5EF4-FFF2-40B4-BE49-F238E27FC236}">
                    <a16:creationId xmlns:a16="http://schemas.microsoft.com/office/drawing/2014/main" id="{14E93E43-F962-438C-A489-2FC35F5357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377" y="5071990"/>
                <a:ext cx="279844" cy="286529"/>
              </a:xfrm>
              <a:custGeom>
                <a:avLst/>
                <a:gdLst>
                  <a:gd name="T0" fmla="*/ 116 w 124"/>
                  <a:gd name="T1" fmla="*/ 8 h 127"/>
                  <a:gd name="T2" fmla="*/ 112 w 124"/>
                  <a:gd name="T3" fmla="*/ 0 h 127"/>
                  <a:gd name="T4" fmla="*/ 111 w 124"/>
                  <a:gd name="T5" fmla="*/ 0 h 127"/>
                  <a:gd name="T6" fmla="*/ 82 w 124"/>
                  <a:gd name="T7" fmla="*/ 68 h 127"/>
                  <a:gd name="T8" fmla="*/ 32 w 124"/>
                  <a:gd name="T9" fmla="*/ 63 h 127"/>
                  <a:gd name="T10" fmla="*/ 32 w 124"/>
                  <a:gd name="T11" fmla="*/ 63 h 127"/>
                  <a:gd name="T12" fmla="*/ 0 w 124"/>
                  <a:gd name="T13" fmla="*/ 108 h 127"/>
                  <a:gd name="T14" fmla="*/ 6 w 124"/>
                  <a:gd name="T15" fmla="*/ 118 h 127"/>
                  <a:gd name="T16" fmla="*/ 74 w 124"/>
                  <a:gd name="T17" fmla="*/ 111 h 127"/>
                  <a:gd name="T18" fmla="*/ 99 w 124"/>
                  <a:gd name="T19" fmla="*/ 68 h 127"/>
                  <a:gd name="T20" fmla="*/ 114 w 124"/>
                  <a:gd name="T21" fmla="*/ 68 h 127"/>
                  <a:gd name="T22" fmla="*/ 118 w 124"/>
                  <a:gd name="T23" fmla="*/ 32 h 127"/>
                  <a:gd name="T24" fmla="*/ 116 w 124"/>
                  <a:gd name="T25" fmla="*/ 8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" h="127">
                    <a:moveTo>
                      <a:pt x="116" y="8"/>
                    </a:moveTo>
                    <a:cubicBezTo>
                      <a:pt x="114" y="3"/>
                      <a:pt x="113" y="1"/>
                      <a:pt x="112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1" y="0"/>
                      <a:pt x="119" y="28"/>
                      <a:pt x="82" y="68"/>
                    </a:cubicBezTo>
                    <a:cubicBezTo>
                      <a:pt x="82" y="68"/>
                      <a:pt x="32" y="104"/>
                      <a:pt x="32" y="63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32" y="63"/>
                      <a:pt x="1" y="99"/>
                      <a:pt x="0" y="108"/>
                    </a:cubicBezTo>
                    <a:cubicBezTo>
                      <a:pt x="0" y="116"/>
                      <a:pt x="1" y="118"/>
                      <a:pt x="6" y="118"/>
                    </a:cubicBezTo>
                    <a:cubicBezTo>
                      <a:pt x="6" y="118"/>
                      <a:pt x="52" y="127"/>
                      <a:pt x="74" y="111"/>
                    </a:cubicBezTo>
                    <a:cubicBezTo>
                      <a:pt x="95" y="95"/>
                      <a:pt x="97" y="70"/>
                      <a:pt x="99" y="68"/>
                    </a:cubicBezTo>
                    <a:cubicBezTo>
                      <a:pt x="101" y="66"/>
                      <a:pt x="108" y="70"/>
                      <a:pt x="114" y="68"/>
                    </a:cubicBezTo>
                    <a:cubicBezTo>
                      <a:pt x="120" y="66"/>
                      <a:pt x="112" y="44"/>
                      <a:pt x="118" y="32"/>
                    </a:cubicBezTo>
                    <a:cubicBezTo>
                      <a:pt x="124" y="20"/>
                      <a:pt x="119" y="14"/>
                      <a:pt x="116" y="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42">
                <a:extLst>
                  <a:ext uri="{FF2B5EF4-FFF2-40B4-BE49-F238E27FC236}">
                    <a16:creationId xmlns:a16="http://schemas.microsoft.com/office/drawing/2014/main" id="{DB045E74-FDDE-4986-B9BF-71EA3C6DF3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965" y="4492246"/>
                <a:ext cx="290349" cy="814697"/>
              </a:xfrm>
              <a:custGeom>
                <a:avLst/>
                <a:gdLst>
                  <a:gd name="T0" fmla="*/ 102 w 129"/>
                  <a:gd name="T1" fmla="*/ 173 h 361"/>
                  <a:gd name="T2" fmla="*/ 108 w 129"/>
                  <a:gd name="T3" fmla="*/ 119 h 361"/>
                  <a:gd name="T4" fmla="*/ 120 w 129"/>
                  <a:gd name="T5" fmla="*/ 1 h 361"/>
                  <a:gd name="T6" fmla="*/ 120 w 129"/>
                  <a:gd name="T7" fmla="*/ 0 h 361"/>
                  <a:gd name="T8" fmla="*/ 36 w 129"/>
                  <a:gd name="T9" fmla="*/ 5 h 361"/>
                  <a:gd name="T10" fmla="*/ 36 w 129"/>
                  <a:gd name="T11" fmla="*/ 10 h 361"/>
                  <a:gd name="T12" fmla="*/ 39 w 129"/>
                  <a:gd name="T13" fmla="*/ 59 h 361"/>
                  <a:gd name="T14" fmla="*/ 40 w 129"/>
                  <a:gd name="T15" fmla="*/ 170 h 361"/>
                  <a:gd name="T16" fmla="*/ 33 w 129"/>
                  <a:gd name="T17" fmla="*/ 217 h 361"/>
                  <a:gd name="T18" fmla="*/ 4 w 129"/>
                  <a:gd name="T19" fmla="*/ 252 h 361"/>
                  <a:gd name="T20" fmla="*/ 2 w 129"/>
                  <a:gd name="T21" fmla="*/ 260 h 361"/>
                  <a:gd name="T22" fmla="*/ 20 w 129"/>
                  <a:gd name="T23" fmla="*/ 269 h 361"/>
                  <a:gd name="T24" fmla="*/ 12 w 129"/>
                  <a:gd name="T25" fmla="*/ 288 h 361"/>
                  <a:gd name="T26" fmla="*/ 0 w 129"/>
                  <a:gd name="T27" fmla="*/ 320 h 361"/>
                  <a:gd name="T28" fmla="*/ 0 w 129"/>
                  <a:gd name="T29" fmla="*/ 320 h 361"/>
                  <a:gd name="T30" fmla="*/ 50 w 129"/>
                  <a:gd name="T31" fmla="*/ 325 h 361"/>
                  <a:gd name="T32" fmla="*/ 79 w 129"/>
                  <a:gd name="T33" fmla="*/ 257 h 361"/>
                  <a:gd name="T34" fmla="*/ 80 w 129"/>
                  <a:gd name="T35" fmla="*/ 257 h 361"/>
                  <a:gd name="T36" fmla="*/ 78 w 129"/>
                  <a:gd name="T37" fmla="*/ 251 h 361"/>
                  <a:gd name="T38" fmla="*/ 78 w 129"/>
                  <a:gd name="T39" fmla="*/ 225 h 361"/>
                  <a:gd name="T40" fmla="*/ 108 w 129"/>
                  <a:gd name="T41" fmla="*/ 205 h 361"/>
                  <a:gd name="T42" fmla="*/ 109 w 129"/>
                  <a:gd name="T43" fmla="*/ 196 h 361"/>
                  <a:gd name="T44" fmla="*/ 102 w 129"/>
                  <a:gd name="T45" fmla="*/ 173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9" h="361">
                    <a:moveTo>
                      <a:pt x="102" y="173"/>
                    </a:moveTo>
                    <a:cubicBezTo>
                      <a:pt x="103" y="157"/>
                      <a:pt x="102" y="136"/>
                      <a:pt x="108" y="119"/>
                    </a:cubicBezTo>
                    <a:cubicBezTo>
                      <a:pt x="115" y="103"/>
                      <a:pt x="129" y="30"/>
                      <a:pt x="120" y="1"/>
                    </a:cubicBezTo>
                    <a:cubicBezTo>
                      <a:pt x="120" y="1"/>
                      <a:pt x="120" y="0"/>
                      <a:pt x="120" y="0"/>
                    </a:cubicBezTo>
                    <a:cubicBezTo>
                      <a:pt x="120" y="0"/>
                      <a:pt x="56" y="13"/>
                      <a:pt x="36" y="5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9" y="59"/>
                      <a:pt x="39" y="59"/>
                      <a:pt x="39" y="59"/>
                    </a:cubicBezTo>
                    <a:cubicBezTo>
                      <a:pt x="39" y="59"/>
                      <a:pt x="41" y="149"/>
                      <a:pt x="40" y="170"/>
                    </a:cubicBezTo>
                    <a:cubicBezTo>
                      <a:pt x="40" y="191"/>
                      <a:pt x="40" y="207"/>
                      <a:pt x="33" y="217"/>
                    </a:cubicBezTo>
                    <a:cubicBezTo>
                      <a:pt x="28" y="225"/>
                      <a:pt x="11" y="242"/>
                      <a:pt x="4" y="252"/>
                    </a:cubicBezTo>
                    <a:cubicBezTo>
                      <a:pt x="2" y="256"/>
                      <a:pt x="0" y="259"/>
                      <a:pt x="2" y="260"/>
                    </a:cubicBezTo>
                    <a:cubicBezTo>
                      <a:pt x="6" y="265"/>
                      <a:pt x="24" y="262"/>
                      <a:pt x="20" y="269"/>
                    </a:cubicBezTo>
                    <a:cubicBezTo>
                      <a:pt x="19" y="271"/>
                      <a:pt x="16" y="278"/>
                      <a:pt x="12" y="288"/>
                    </a:cubicBezTo>
                    <a:cubicBezTo>
                      <a:pt x="8" y="298"/>
                      <a:pt x="4" y="311"/>
                      <a:pt x="0" y="320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0" y="361"/>
                      <a:pt x="50" y="325"/>
                      <a:pt x="50" y="325"/>
                    </a:cubicBezTo>
                    <a:cubicBezTo>
                      <a:pt x="87" y="285"/>
                      <a:pt x="79" y="257"/>
                      <a:pt x="79" y="257"/>
                    </a:cubicBezTo>
                    <a:cubicBezTo>
                      <a:pt x="79" y="257"/>
                      <a:pt x="79" y="257"/>
                      <a:pt x="80" y="257"/>
                    </a:cubicBezTo>
                    <a:cubicBezTo>
                      <a:pt x="79" y="255"/>
                      <a:pt x="79" y="253"/>
                      <a:pt x="78" y="251"/>
                    </a:cubicBezTo>
                    <a:cubicBezTo>
                      <a:pt x="76" y="242"/>
                      <a:pt x="74" y="232"/>
                      <a:pt x="78" y="225"/>
                    </a:cubicBezTo>
                    <a:cubicBezTo>
                      <a:pt x="78" y="225"/>
                      <a:pt x="104" y="216"/>
                      <a:pt x="108" y="205"/>
                    </a:cubicBezTo>
                    <a:cubicBezTo>
                      <a:pt x="109" y="202"/>
                      <a:pt x="109" y="199"/>
                      <a:pt x="109" y="196"/>
                    </a:cubicBezTo>
                    <a:cubicBezTo>
                      <a:pt x="107" y="190"/>
                      <a:pt x="102" y="183"/>
                      <a:pt x="102" y="173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43">
                <a:extLst>
                  <a:ext uri="{FF2B5EF4-FFF2-40B4-BE49-F238E27FC236}">
                    <a16:creationId xmlns:a16="http://schemas.microsoft.com/office/drawing/2014/main" id="{B4EFEC85-0EE9-4D04-8D52-EE943966BF6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39712" y="2919203"/>
                <a:ext cx="142310" cy="171917"/>
              </a:xfrm>
              <a:custGeom>
                <a:avLst/>
                <a:gdLst>
                  <a:gd name="T0" fmla="*/ 38 w 63"/>
                  <a:gd name="T1" fmla="*/ 8 h 76"/>
                  <a:gd name="T2" fmla="*/ 16 w 63"/>
                  <a:gd name="T3" fmla="*/ 0 h 76"/>
                  <a:gd name="T4" fmla="*/ 12 w 63"/>
                  <a:gd name="T5" fmla="*/ 8 h 76"/>
                  <a:gd name="T6" fmla="*/ 3 w 63"/>
                  <a:gd name="T7" fmla="*/ 35 h 76"/>
                  <a:gd name="T8" fmla="*/ 15 w 63"/>
                  <a:gd name="T9" fmla="*/ 76 h 76"/>
                  <a:gd name="T10" fmla="*/ 37 w 63"/>
                  <a:gd name="T11" fmla="*/ 37 h 76"/>
                  <a:gd name="T12" fmla="*/ 56 w 63"/>
                  <a:gd name="T13" fmla="*/ 14 h 76"/>
                  <a:gd name="T14" fmla="*/ 63 w 63"/>
                  <a:gd name="T15" fmla="*/ 6 h 76"/>
                  <a:gd name="T16" fmla="*/ 38 w 63"/>
                  <a:gd name="T17" fmla="*/ 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76">
                    <a:moveTo>
                      <a:pt x="38" y="8"/>
                    </a:moveTo>
                    <a:cubicBezTo>
                      <a:pt x="27" y="7"/>
                      <a:pt x="19" y="4"/>
                      <a:pt x="16" y="0"/>
                    </a:cubicBezTo>
                    <a:cubicBezTo>
                      <a:pt x="14" y="3"/>
                      <a:pt x="13" y="6"/>
                      <a:pt x="12" y="8"/>
                    </a:cubicBezTo>
                    <a:cubicBezTo>
                      <a:pt x="7" y="18"/>
                      <a:pt x="4" y="28"/>
                      <a:pt x="3" y="35"/>
                    </a:cubicBezTo>
                    <a:cubicBezTo>
                      <a:pt x="0" y="52"/>
                      <a:pt x="15" y="76"/>
                      <a:pt x="15" y="76"/>
                    </a:cubicBezTo>
                    <a:cubicBezTo>
                      <a:pt x="15" y="76"/>
                      <a:pt x="28" y="53"/>
                      <a:pt x="37" y="37"/>
                    </a:cubicBezTo>
                    <a:cubicBezTo>
                      <a:pt x="39" y="32"/>
                      <a:pt x="47" y="24"/>
                      <a:pt x="56" y="14"/>
                    </a:cubicBezTo>
                    <a:cubicBezTo>
                      <a:pt x="58" y="12"/>
                      <a:pt x="60" y="9"/>
                      <a:pt x="63" y="6"/>
                    </a:cubicBezTo>
                    <a:cubicBezTo>
                      <a:pt x="56" y="7"/>
                      <a:pt x="47" y="9"/>
                      <a:pt x="3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44">
                <a:extLst>
                  <a:ext uri="{FF2B5EF4-FFF2-40B4-BE49-F238E27FC236}">
                    <a16:creationId xmlns:a16="http://schemas.microsoft.com/office/drawing/2014/main" id="{69EDDE25-64C7-49A7-8130-C92D7F2319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5001" y="2723408"/>
                <a:ext cx="4776" cy="6686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3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2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45">
                <a:extLst>
                  <a:ext uri="{FF2B5EF4-FFF2-40B4-BE49-F238E27FC236}">
                    <a16:creationId xmlns:a16="http://schemas.microsoft.com/office/drawing/2014/main" id="{07F50864-3C90-4094-96CF-6E2CE87AA7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7638" y="2193330"/>
                <a:ext cx="393500" cy="613172"/>
              </a:xfrm>
              <a:custGeom>
                <a:avLst/>
                <a:gdLst>
                  <a:gd name="T0" fmla="*/ 25 w 174"/>
                  <a:gd name="T1" fmla="*/ 47 h 272"/>
                  <a:gd name="T2" fmla="*/ 32 w 174"/>
                  <a:gd name="T3" fmla="*/ 63 h 272"/>
                  <a:gd name="T4" fmla="*/ 29 w 174"/>
                  <a:gd name="T5" fmla="*/ 76 h 272"/>
                  <a:gd name="T6" fmla="*/ 44 w 174"/>
                  <a:gd name="T7" fmla="*/ 97 h 272"/>
                  <a:gd name="T8" fmla="*/ 62 w 174"/>
                  <a:gd name="T9" fmla="*/ 105 h 272"/>
                  <a:gd name="T10" fmla="*/ 83 w 174"/>
                  <a:gd name="T11" fmla="*/ 99 h 272"/>
                  <a:gd name="T12" fmla="*/ 91 w 174"/>
                  <a:gd name="T13" fmla="*/ 121 h 272"/>
                  <a:gd name="T14" fmla="*/ 93 w 174"/>
                  <a:gd name="T15" fmla="*/ 142 h 272"/>
                  <a:gd name="T16" fmla="*/ 95 w 174"/>
                  <a:gd name="T17" fmla="*/ 162 h 272"/>
                  <a:gd name="T18" fmla="*/ 111 w 174"/>
                  <a:gd name="T19" fmla="*/ 168 h 272"/>
                  <a:gd name="T20" fmla="*/ 115 w 174"/>
                  <a:gd name="T21" fmla="*/ 176 h 272"/>
                  <a:gd name="T22" fmla="*/ 111 w 174"/>
                  <a:gd name="T23" fmla="*/ 191 h 272"/>
                  <a:gd name="T24" fmla="*/ 102 w 174"/>
                  <a:gd name="T25" fmla="*/ 198 h 272"/>
                  <a:gd name="T26" fmla="*/ 113 w 174"/>
                  <a:gd name="T27" fmla="*/ 211 h 272"/>
                  <a:gd name="T28" fmla="*/ 124 w 174"/>
                  <a:gd name="T29" fmla="*/ 226 h 272"/>
                  <a:gd name="T30" fmla="*/ 167 w 174"/>
                  <a:gd name="T31" fmla="*/ 272 h 272"/>
                  <a:gd name="T32" fmla="*/ 172 w 174"/>
                  <a:gd name="T33" fmla="*/ 259 h 272"/>
                  <a:gd name="T34" fmla="*/ 155 w 174"/>
                  <a:gd name="T35" fmla="*/ 223 h 272"/>
                  <a:gd name="T36" fmla="*/ 174 w 174"/>
                  <a:gd name="T37" fmla="*/ 240 h 272"/>
                  <a:gd name="T38" fmla="*/ 154 w 174"/>
                  <a:gd name="T39" fmla="*/ 208 h 272"/>
                  <a:gd name="T40" fmla="*/ 132 w 174"/>
                  <a:gd name="T41" fmla="*/ 179 h 272"/>
                  <a:gd name="T42" fmla="*/ 129 w 174"/>
                  <a:gd name="T43" fmla="*/ 173 h 272"/>
                  <a:gd name="T44" fmla="*/ 127 w 174"/>
                  <a:gd name="T45" fmla="*/ 163 h 272"/>
                  <a:gd name="T46" fmla="*/ 134 w 174"/>
                  <a:gd name="T47" fmla="*/ 141 h 272"/>
                  <a:gd name="T48" fmla="*/ 145 w 174"/>
                  <a:gd name="T49" fmla="*/ 95 h 272"/>
                  <a:gd name="T50" fmla="*/ 129 w 174"/>
                  <a:gd name="T51" fmla="*/ 34 h 272"/>
                  <a:gd name="T52" fmla="*/ 89 w 174"/>
                  <a:gd name="T53" fmla="*/ 6 h 272"/>
                  <a:gd name="T54" fmla="*/ 37 w 174"/>
                  <a:gd name="T55" fmla="*/ 4 h 272"/>
                  <a:gd name="T56" fmla="*/ 6 w 174"/>
                  <a:gd name="T57" fmla="*/ 25 h 272"/>
                  <a:gd name="T58" fmla="*/ 0 w 174"/>
                  <a:gd name="T59" fmla="*/ 37 h 272"/>
                  <a:gd name="T60" fmla="*/ 25 w 174"/>
                  <a:gd name="T61" fmla="*/ 47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4" h="272">
                    <a:moveTo>
                      <a:pt x="25" y="47"/>
                    </a:moveTo>
                    <a:cubicBezTo>
                      <a:pt x="38" y="58"/>
                      <a:pt x="34" y="61"/>
                      <a:pt x="32" y="63"/>
                    </a:cubicBezTo>
                    <a:cubicBezTo>
                      <a:pt x="29" y="65"/>
                      <a:pt x="23" y="69"/>
                      <a:pt x="29" y="76"/>
                    </a:cubicBezTo>
                    <a:cubicBezTo>
                      <a:pt x="36" y="82"/>
                      <a:pt x="36" y="83"/>
                      <a:pt x="44" y="97"/>
                    </a:cubicBezTo>
                    <a:cubicBezTo>
                      <a:pt x="51" y="111"/>
                      <a:pt x="62" y="105"/>
                      <a:pt x="62" y="105"/>
                    </a:cubicBezTo>
                    <a:cubicBezTo>
                      <a:pt x="75" y="96"/>
                      <a:pt x="83" y="99"/>
                      <a:pt x="83" y="99"/>
                    </a:cubicBezTo>
                    <a:cubicBezTo>
                      <a:pt x="92" y="101"/>
                      <a:pt x="91" y="121"/>
                      <a:pt x="91" y="121"/>
                    </a:cubicBezTo>
                    <a:cubicBezTo>
                      <a:pt x="92" y="123"/>
                      <a:pt x="96" y="126"/>
                      <a:pt x="93" y="142"/>
                    </a:cubicBezTo>
                    <a:cubicBezTo>
                      <a:pt x="91" y="152"/>
                      <a:pt x="93" y="158"/>
                      <a:pt x="95" y="162"/>
                    </a:cubicBezTo>
                    <a:cubicBezTo>
                      <a:pt x="104" y="169"/>
                      <a:pt x="111" y="166"/>
                      <a:pt x="111" y="168"/>
                    </a:cubicBezTo>
                    <a:cubicBezTo>
                      <a:pt x="110" y="172"/>
                      <a:pt x="109" y="175"/>
                      <a:pt x="115" y="176"/>
                    </a:cubicBezTo>
                    <a:cubicBezTo>
                      <a:pt x="118" y="177"/>
                      <a:pt x="111" y="185"/>
                      <a:pt x="111" y="191"/>
                    </a:cubicBezTo>
                    <a:cubicBezTo>
                      <a:pt x="111" y="194"/>
                      <a:pt x="106" y="196"/>
                      <a:pt x="102" y="198"/>
                    </a:cubicBezTo>
                    <a:cubicBezTo>
                      <a:pt x="106" y="208"/>
                      <a:pt x="113" y="211"/>
                      <a:pt x="113" y="211"/>
                    </a:cubicBezTo>
                    <a:cubicBezTo>
                      <a:pt x="120" y="217"/>
                      <a:pt x="124" y="222"/>
                      <a:pt x="124" y="226"/>
                    </a:cubicBezTo>
                    <a:cubicBezTo>
                      <a:pt x="148" y="243"/>
                      <a:pt x="161" y="261"/>
                      <a:pt x="167" y="272"/>
                    </a:cubicBezTo>
                    <a:cubicBezTo>
                      <a:pt x="173" y="268"/>
                      <a:pt x="172" y="259"/>
                      <a:pt x="172" y="259"/>
                    </a:cubicBezTo>
                    <a:cubicBezTo>
                      <a:pt x="172" y="246"/>
                      <a:pt x="155" y="223"/>
                      <a:pt x="155" y="223"/>
                    </a:cubicBezTo>
                    <a:cubicBezTo>
                      <a:pt x="168" y="232"/>
                      <a:pt x="174" y="240"/>
                      <a:pt x="174" y="240"/>
                    </a:cubicBezTo>
                    <a:cubicBezTo>
                      <a:pt x="174" y="230"/>
                      <a:pt x="160" y="218"/>
                      <a:pt x="154" y="208"/>
                    </a:cubicBezTo>
                    <a:cubicBezTo>
                      <a:pt x="147" y="197"/>
                      <a:pt x="135" y="181"/>
                      <a:pt x="132" y="179"/>
                    </a:cubicBezTo>
                    <a:cubicBezTo>
                      <a:pt x="129" y="177"/>
                      <a:pt x="127" y="175"/>
                      <a:pt x="129" y="173"/>
                    </a:cubicBezTo>
                    <a:cubicBezTo>
                      <a:pt x="132" y="170"/>
                      <a:pt x="132" y="166"/>
                      <a:pt x="127" y="163"/>
                    </a:cubicBezTo>
                    <a:cubicBezTo>
                      <a:pt x="123" y="161"/>
                      <a:pt x="131" y="147"/>
                      <a:pt x="134" y="141"/>
                    </a:cubicBezTo>
                    <a:cubicBezTo>
                      <a:pt x="137" y="132"/>
                      <a:pt x="140" y="127"/>
                      <a:pt x="145" y="95"/>
                    </a:cubicBezTo>
                    <a:cubicBezTo>
                      <a:pt x="151" y="63"/>
                      <a:pt x="129" y="34"/>
                      <a:pt x="129" y="34"/>
                    </a:cubicBezTo>
                    <a:cubicBezTo>
                      <a:pt x="118" y="21"/>
                      <a:pt x="89" y="6"/>
                      <a:pt x="89" y="6"/>
                    </a:cubicBezTo>
                    <a:cubicBezTo>
                      <a:pt x="73" y="0"/>
                      <a:pt x="44" y="2"/>
                      <a:pt x="37" y="4"/>
                    </a:cubicBezTo>
                    <a:cubicBezTo>
                      <a:pt x="30" y="6"/>
                      <a:pt x="16" y="12"/>
                      <a:pt x="6" y="25"/>
                    </a:cubicBezTo>
                    <a:cubicBezTo>
                      <a:pt x="2" y="29"/>
                      <a:pt x="0" y="33"/>
                      <a:pt x="0" y="37"/>
                    </a:cubicBezTo>
                    <a:cubicBezTo>
                      <a:pt x="2" y="37"/>
                      <a:pt x="13" y="37"/>
                      <a:pt x="25" y="47"/>
                    </a:cubicBezTo>
                    <a:close/>
                  </a:path>
                </a:pathLst>
              </a:custGeom>
              <a:solidFill>
                <a:srgbClr val="38291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46">
                <a:extLst>
                  <a:ext uri="{FF2B5EF4-FFF2-40B4-BE49-F238E27FC236}">
                    <a16:creationId xmlns:a16="http://schemas.microsoft.com/office/drawing/2014/main" id="{0224FE6E-C829-4107-9DBE-CE96FCDE87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006" y="2276423"/>
                <a:ext cx="351475" cy="663792"/>
              </a:xfrm>
              <a:custGeom>
                <a:avLst/>
                <a:gdLst>
                  <a:gd name="T0" fmla="*/ 145 w 156"/>
                  <a:gd name="T1" fmla="*/ 174 h 294"/>
                  <a:gd name="T2" fmla="*/ 134 w 156"/>
                  <a:gd name="T3" fmla="*/ 161 h 294"/>
                  <a:gd name="T4" fmla="*/ 133 w 156"/>
                  <a:gd name="T5" fmla="*/ 150 h 294"/>
                  <a:gd name="T6" fmla="*/ 130 w 156"/>
                  <a:gd name="T7" fmla="*/ 130 h 294"/>
                  <a:gd name="T8" fmla="*/ 127 w 156"/>
                  <a:gd name="T9" fmla="*/ 125 h 294"/>
                  <a:gd name="T10" fmla="*/ 125 w 156"/>
                  <a:gd name="T11" fmla="*/ 105 h 294"/>
                  <a:gd name="T12" fmla="*/ 123 w 156"/>
                  <a:gd name="T13" fmla="*/ 84 h 294"/>
                  <a:gd name="T14" fmla="*/ 115 w 156"/>
                  <a:gd name="T15" fmla="*/ 62 h 294"/>
                  <a:gd name="T16" fmla="*/ 94 w 156"/>
                  <a:gd name="T17" fmla="*/ 68 h 294"/>
                  <a:gd name="T18" fmla="*/ 76 w 156"/>
                  <a:gd name="T19" fmla="*/ 60 h 294"/>
                  <a:gd name="T20" fmla="*/ 61 w 156"/>
                  <a:gd name="T21" fmla="*/ 39 h 294"/>
                  <a:gd name="T22" fmla="*/ 64 w 156"/>
                  <a:gd name="T23" fmla="*/ 26 h 294"/>
                  <a:gd name="T24" fmla="*/ 57 w 156"/>
                  <a:gd name="T25" fmla="*/ 10 h 294"/>
                  <a:gd name="T26" fmla="*/ 32 w 156"/>
                  <a:gd name="T27" fmla="*/ 0 h 294"/>
                  <a:gd name="T28" fmla="*/ 31 w 156"/>
                  <a:gd name="T29" fmla="*/ 0 h 294"/>
                  <a:gd name="T30" fmla="*/ 16 w 156"/>
                  <a:gd name="T31" fmla="*/ 28 h 294"/>
                  <a:gd name="T32" fmla="*/ 14 w 156"/>
                  <a:gd name="T33" fmla="*/ 54 h 294"/>
                  <a:gd name="T34" fmla="*/ 12 w 156"/>
                  <a:gd name="T35" fmla="*/ 67 h 294"/>
                  <a:gd name="T36" fmla="*/ 1 w 156"/>
                  <a:gd name="T37" fmla="*/ 87 h 294"/>
                  <a:gd name="T38" fmla="*/ 3 w 156"/>
                  <a:gd name="T39" fmla="*/ 95 h 294"/>
                  <a:gd name="T40" fmla="*/ 11 w 156"/>
                  <a:gd name="T41" fmla="*/ 97 h 294"/>
                  <a:gd name="T42" fmla="*/ 11 w 156"/>
                  <a:gd name="T43" fmla="*/ 103 h 294"/>
                  <a:gd name="T44" fmla="*/ 13 w 156"/>
                  <a:gd name="T45" fmla="*/ 107 h 294"/>
                  <a:gd name="T46" fmla="*/ 12 w 156"/>
                  <a:gd name="T47" fmla="*/ 117 h 294"/>
                  <a:gd name="T48" fmla="*/ 11 w 156"/>
                  <a:gd name="T49" fmla="*/ 127 h 294"/>
                  <a:gd name="T50" fmla="*/ 7 w 156"/>
                  <a:gd name="T51" fmla="*/ 140 h 294"/>
                  <a:gd name="T52" fmla="*/ 30 w 156"/>
                  <a:gd name="T53" fmla="*/ 146 h 294"/>
                  <a:gd name="T54" fmla="*/ 56 w 156"/>
                  <a:gd name="T55" fmla="*/ 155 h 294"/>
                  <a:gd name="T56" fmla="*/ 68 w 156"/>
                  <a:gd name="T57" fmla="*/ 189 h 294"/>
                  <a:gd name="T58" fmla="*/ 66 w 156"/>
                  <a:gd name="T59" fmla="*/ 198 h 294"/>
                  <a:gd name="T60" fmla="*/ 66 w 156"/>
                  <a:gd name="T61" fmla="*/ 201 h 294"/>
                  <a:gd name="T62" fmla="*/ 45 w 156"/>
                  <a:gd name="T63" fmla="*/ 218 h 294"/>
                  <a:gd name="T64" fmla="*/ 15 w 156"/>
                  <a:gd name="T65" fmla="*/ 262 h 294"/>
                  <a:gd name="T66" fmla="*/ 0 w 156"/>
                  <a:gd name="T67" fmla="*/ 285 h 294"/>
                  <a:gd name="T68" fmla="*/ 22 w 156"/>
                  <a:gd name="T69" fmla="*/ 293 h 294"/>
                  <a:gd name="T70" fmla="*/ 47 w 156"/>
                  <a:gd name="T71" fmla="*/ 291 h 294"/>
                  <a:gd name="T72" fmla="*/ 98 w 156"/>
                  <a:gd name="T73" fmla="*/ 238 h 294"/>
                  <a:gd name="T74" fmla="*/ 149 w 156"/>
                  <a:gd name="T75" fmla="*/ 193 h 294"/>
                  <a:gd name="T76" fmla="*/ 156 w 156"/>
                  <a:gd name="T77" fmla="*/ 188 h 294"/>
                  <a:gd name="T78" fmla="*/ 156 w 156"/>
                  <a:gd name="T79" fmla="*/ 189 h 294"/>
                  <a:gd name="T80" fmla="*/ 145 w 156"/>
                  <a:gd name="T81" fmla="*/ 17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94">
                    <a:moveTo>
                      <a:pt x="145" y="174"/>
                    </a:moveTo>
                    <a:cubicBezTo>
                      <a:pt x="145" y="174"/>
                      <a:pt x="138" y="171"/>
                      <a:pt x="134" y="161"/>
                    </a:cubicBezTo>
                    <a:cubicBezTo>
                      <a:pt x="133" y="158"/>
                      <a:pt x="133" y="155"/>
                      <a:pt x="133" y="150"/>
                    </a:cubicBezTo>
                    <a:cubicBezTo>
                      <a:pt x="133" y="150"/>
                      <a:pt x="133" y="133"/>
                      <a:pt x="130" y="130"/>
                    </a:cubicBezTo>
                    <a:cubicBezTo>
                      <a:pt x="129" y="129"/>
                      <a:pt x="128" y="127"/>
                      <a:pt x="127" y="125"/>
                    </a:cubicBezTo>
                    <a:cubicBezTo>
                      <a:pt x="125" y="121"/>
                      <a:pt x="123" y="115"/>
                      <a:pt x="125" y="105"/>
                    </a:cubicBezTo>
                    <a:cubicBezTo>
                      <a:pt x="128" y="89"/>
                      <a:pt x="124" y="86"/>
                      <a:pt x="123" y="84"/>
                    </a:cubicBezTo>
                    <a:cubicBezTo>
                      <a:pt x="123" y="84"/>
                      <a:pt x="124" y="64"/>
                      <a:pt x="115" y="62"/>
                    </a:cubicBezTo>
                    <a:cubicBezTo>
                      <a:pt x="115" y="62"/>
                      <a:pt x="107" y="59"/>
                      <a:pt x="94" y="68"/>
                    </a:cubicBezTo>
                    <a:cubicBezTo>
                      <a:pt x="94" y="68"/>
                      <a:pt x="83" y="74"/>
                      <a:pt x="76" y="60"/>
                    </a:cubicBezTo>
                    <a:cubicBezTo>
                      <a:pt x="68" y="46"/>
                      <a:pt x="68" y="45"/>
                      <a:pt x="61" y="39"/>
                    </a:cubicBezTo>
                    <a:cubicBezTo>
                      <a:pt x="55" y="32"/>
                      <a:pt x="61" y="28"/>
                      <a:pt x="64" y="26"/>
                    </a:cubicBezTo>
                    <a:cubicBezTo>
                      <a:pt x="66" y="24"/>
                      <a:pt x="70" y="21"/>
                      <a:pt x="57" y="10"/>
                    </a:cubicBezTo>
                    <a:cubicBezTo>
                      <a:pt x="45" y="0"/>
                      <a:pt x="34" y="0"/>
                      <a:pt x="3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16" y="20"/>
                      <a:pt x="16" y="28"/>
                    </a:cubicBezTo>
                    <a:cubicBezTo>
                      <a:pt x="16" y="28"/>
                      <a:pt x="14" y="32"/>
                      <a:pt x="14" y="54"/>
                    </a:cubicBezTo>
                    <a:cubicBezTo>
                      <a:pt x="14" y="54"/>
                      <a:pt x="14" y="65"/>
                      <a:pt x="12" y="67"/>
                    </a:cubicBezTo>
                    <a:cubicBezTo>
                      <a:pt x="11" y="69"/>
                      <a:pt x="2" y="83"/>
                      <a:pt x="1" y="87"/>
                    </a:cubicBezTo>
                    <a:cubicBezTo>
                      <a:pt x="0" y="91"/>
                      <a:pt x="0" y="95"/>
                      <a:pt x="3" y="95"/>
                    </a:cubicBezTo>
                    <a:cubicBezTo>
                      <a:pt x="6" y="96"/>
                      <a:pt x="11" y="97"/>
                      <a:pt x="11" y="97"/>
                    </a:cubicBezTo>
                    <a:cubicBezTo>
                      <a:pt x="11" y="97"/>
                      <a:pt x="12" y="99"/>
                      <a:pt x="11" y="103"/>
                    </a:cubicBezTo>
                    <a:cubicBezTo>
                      <a:pt x="10" y="106"/>
                      <a:pt x="11" y="107"/>
                      <a:pt x="13" y="107"/>
                    </a:cubicBezTo>
                    <a:cubicBezTo>
                      <a:pt x="13" y="107"/>
                      <a:pt x="17" y="115"/>
                      <a:pt x="12" y="117"/>
                    </a:cubicBezTo>
                    <a:cubicBezTo>
                      <a:pt x="12" y="117"/>
                      <a:pt x="8" y="122"/>
                      <a:pt x="11" y="127"/>
                    </a:cubicBezTo>
                    <a:cubicBezTo>
                      <a:pt x="11" y="127"/>
                      <a:pt x="5" y="136"/>
                      <a:pt x="7" y="140"/>
                    </a:cubicBezTo>
                    <a:cubicBezTo>
                      <a:pt x="11" y="146"/>
                      <a:pt x="11" y="148"/>
                      <a:pt x="30" y="146"/>
                    </a:cubicBezTo>
                    <a:cubicBezTo>
                      <a:pt x="30" y="146"/>
                      <a:pt x="50" y="140"/>
                      <a:pt x="56" y="155"/>
                    </a:cubicBezTo>
                    <a:cubicBezTo>
                      <a:pt x="62" y="171"/>
                      <a:pt x="68" y="185"/>
                      <a:pt x="68" y="189"/>
                    </a:cubicBezTo>
                    <a:cubicBezTo>
                      <a:pt x="68" y="191"/>
                      <a:pt x="67" y="195"/>
                      <a:pt x="66" y="198"/>
                    </a:cubicBezTo>
                    <a:cubicBezTo>
                      <a:pt x="68" y="199"/>
                      <a:pt x="66" y="201"/>
                      <a:pt x="66" y="201"/>
                    </a:cubicBezTo>
                    <a:cubicBezTo>
                      <a:pt x="52" y="200"/>
                      <a:pt x="47" y="214"/>
                      <a:pt x="45" y="218"/>
                    </a:cubicBezTo>
                    <a:cubicBezTo>
                      <a:pt x="43" y="222"/>
                      <a:pt x="27" y="248"/>
                      <a:pt x="15" y="262"/>
                    </a:cubicBezTo>
                    <a:cubicBezTo>
                      <a:pt x="9" y="268"/>
                      <a:pt x="4" y="277"/>
                      <a:pt x="0" y="285"/>
                    </a:cubicBezTo>
                    <a:cubicBezTo>
                      <a:pt x="3" y="289"/>
                      <a:pt x="11" y="292"/>
                      <a:pt x="22" y="293"/>
                    </a:cubicBezTo>
                    <a:cubicBezTo>
                      <a:pt x="31" y="294"/>
                      <a:pt x="40" y="292"/>
                      <a:pt x="47" y="291"/>
                    </a:cubicBezTo>
                    <a:cubicBezTo>
                      <a:pt x="66" y="271"/>
                      <a:pt x="90" y="247"/>
                      <a:pt x="98" y="238"/>
                    </a:cubicBezTo>
                    <a:cubicBezTo>
                      <a:pt x="107" y="227"/>
                      <a:pt x="136" y="203"/>
                      <a:pt x="149" y="193"/>
                    </a:cubicBezTo>
                    <a:cubicBezTo>
                      <a:pt x="153" y="190"/>
                      <a:pt x="156" y="188"/>
                      <a:pt x="156" y="188"/>
                    </a:cubicBezTo>
                    <a:cubicBezTo>
                      <a:pt x="156" y="188"/>
                      <a:pt x="156" y="189"/>
                      <a:pt x="156" y="189"/>
                    </a:cubicBezTo>
                    <a:cubicBezTo>
                      <a:pt x="156" y="185"/>
                      <a:pt x="152" y="180"/>
                      <a:pt x="145" y="174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48">
                <a:extLst>
                  <a:ext uri="{FF2B5EF4-FFF2-40B4-BE49-F238E27FC236}">
                    <a16:creationId xmlns:a16="http://schemas.microsoft.com/office/drawing/2014/main" id="{9D46BB9F-C2EC-465B-804A-55C55CB840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8123" y="3571534"/>
                <a:ext cx="495357" cy="950574"/>
              </a:xfrm>
              <a:custGeom>
                <a:avLst/>
                <a:gdLst>
                  <a:gd name="T0" fmla="*/ 204 w 231"/>
                  <a:gd name="T1" fmla="*/ 159 h 421"/>
                  <a:gd name="T2" fmla="*/ 214 w 231"/>
                  <a:gd name="T3" fmla="*/ 49 h 421"/>
                  <a:gd name="T4" fmla="*/ 196 w 231"/>
                  <a:gd name="T5" fmla="*/ 0 h 421"/>
                  <a:gd name="T6" fmla="*/ 195 w 231"/>
                  <a:gd name="T7" fmla="*/ 1 h 421"/>
                  <a:gd name="T8" fmla="*/ 124 w 231"/>
                  <a:gd name="T9" fmla="*/ 25 h 421"/>
                  <a:gd name="T10" fmla="*/ 54 w 231"/>
                  <a:gd name="T11" fmla="*/ 28 h 421"/>
                  <a:gd name="T12" fmla="*/ 18 w 231"/>
                  <a:gd name="T13" fmla="*/ 60 h 421"/>
                  <a:gd name="T14" fmla="*/ 16 w 231"/>
                  <a:gd name="T15" fmla="*/ 62 h 421"/>
                  <a:gd name="T16" fmla="*/ 16 w 231"/>
                  <a:gd name="T17" fmla="*/ 65 h 421"/>
                  <a:gd name="T18" fmla="*/ 13 w 231"/>
                  <a:gd name="T19" fmla="*/ 68 h 421"/>
                  <a:gd name="T20" fmla="*/ 6 w 231"/>
                  <a:gd name="T21" fmla="*/ 77 h 421"/>
                  <a:gd name="T22" fmla="*/ 9 w 231"/>
                  <a:gd name="T23" fmla="*/ 91 h 421"/>
                  <a:gd name="T24" fmla="*/ 1 w 231"/>
                  <a:gd name="T25" fmla="*/ 93 h 421"/>
                  <a:gd name="T26" fmla="*/ 2 w 231"/>
                  <a:gd name="T27" fmla="*/ 103 h 421"/>
                  <a:gd name="T28" fmla="*/ 2 w 231"/>
                  <a:gd name="T29" fmla="*/ 111 h 421"/>
                  <a:gd name="T30" fmla="*/ 1 w 231"/>
                  <a:gd name="T31" fmla="*/ 115 h 421"/>
                  <a:gd name="T32" fmla="*/ 5 w 231"/>
                  <a:gd name="T33" fmla="*/ 145 h 421"/>
                  <a:gd name="T34" fmla="*/ 25 w 231"/>
                  <a:gd name="T35" fmla="*/ 239 h 421"/>
                  <a:gd name="T36" fmla="*/ 42 w 231"/>
                  <a:gd name="T37" fmla="*/ 362 h 421"/>
                  <a:gd name="T38" fmla="*/ 52 w 231"/>
                  <a:gd name="T39" fmla="*/ 399 h 421"/>
                  <a:gd name="T40" fmla="*/ 78 w 231"/>
                  <a:gd name="T41" fmla="*/ 418 h 421"/>
                  <a:gd name="T42" fmla="*/ 78 w 231"/>
                  <a:gd name="T43" fmla="*/ 413 h 421"/>
                  <a:gd name="T44" fmla="*/ 162 w 231"/>
                  <a:gd name="T45" fmla="*/ 408 h 421"/>
                  <a:gd name="T46" fmla="*/ 162 w 231"/>
                  <a:gd name="T47" fmla="*/ 409 h 421"/>
                  <a:gd name="T48" fmla="*/ 172 w 231"/>
                  <a:gd name="T49" fmla="*/ 403 h 421"/>
                  <a:gd name="T50" fmla="*/ 204 w 231"/>
                  <a:gd name="T51" fmla="*/ 370 h 421"/>
                  <a:gd name="T52" fmla="*/ 201 w 231"/>
                  <a:gd name="T53" fmla="*/ 262 h 421"/>
                  <a:gd name="T54" fmla="*/ 204 w 231"/>
                  <a:gd name="T55" fmla="*/ 159 h 421"/>
                  <a:gd name="connsiteX0" fmla="*/ 8799 w 9499"/>
                  <a:gd name="connsiteY0" fmla="*/ 3777 h 9936"/>
                  <a:gd name="connsiteX1" fmla="*/ 9232 w 9499"/>
                  <a:gd name="connsiteY1" fmla="*/ 1164 h 9936"/>
                  <a:gd name="connsiteX2" fmla="*/ 8453 w 9499"/>
                  <a:gd name="connsiteY2" fmla="*/ 0 h 9936"/>
                  <a:gd name="connsiteX3" fmla="*/ 8410 w 9499"/>
                  <a:gd name="connsiteY3" fmla="*/ 24 h 9936"/>
                  <a:gd name="connsiteX4" fmla="*/ 5336 w 9499"/>
                  <a:gd name="connsiteY4" fmla="*/ 594 h 9936"/>
                  <a:gd name="connsiteX5" fmla="*/ 2306 w 9499"/>
                  <a:gd name="connsiteY5" fmla="*/ 665 h 9936"/>
                  <a:gd name="connsiteX6" fmla="*/ 747 w 9499"/>
                  <a:gd name="connsiteY6" fmla="*/ 1425 h 9936"/>
                  <a:gd name="connsiteX7" fmla="*/ 661 w 9499"/>
                  <a:gd name="connsiteY7" fmla="*/ 1473 h 9936"/>
                  <a:gd name="connsiteX8" fmla="*/ 661 w 9499"/>
                  <a:gd name="connsiteY8" fmla="*/ 1544 h 9936"/>
                  <a:gd name="connsiteX9" fmla="*/ 531 w 9499"/>
                  <a:gd name="connsiteY9" fmla="*/ 1615 h 9936"/>
                  <a:gd name="connsiteX10" fmla="*/ 228 w 9499"/>
                  <a:gd name="connsiteY10" fmla="*/ 1829 h 9936"/>
                  <a:gd name="connsiteX11" fmla="*/ 358 w 9499"/>
                  <a:gd name="connsiteY11" fmla="*/ 2162 h 9936"/>
                  <a:gd name="connsiteX12" fmla="*/ 11 w 9499"/>
                  <a:gd name="connsiteY12" fmla="*/ 2209 h 9936"/>
                  <a:gd name="connsiteX13" fmla="*/ 55 w 9499"/>
                  <a:gd name="connsiteY13" fmla="*/ 2447 h 9936"/>
                  <a:gd name="connsiteX14" fmla="*/ 55 w 9499"/>
                  <a:gd name="connsiteY14" fmla="*/ 2637 h 9936"/>
                  <a:gd name="connsiteX15" fmla="*/ 11 w 9499"/>
                  <a:gd name="connsiteY15" fmla="*/ 2732 h 9936"/>
                  <a:gd name="connsiteX16" fmla="*/ 184 w 9499"/>
                  <a:gd name="connsiteY16" fmla="*/ 3444 h 9936"/>
                  <a:gd name="connsiteX17" fmla="*/ 1050 w 9499"/>
                  <a:gd name="connsiteY17" fmla="*/ 5677 h 9936"/>
                  <a:gd name="connsiteX18" fmla="*/ 1786 w 9499"/>
                  <a:gd name="connsiteY18" fmla="*/ 8599 h 9936"/>
                  <a:gd name="connsiteX19" fmla="*/ 2219 w 9499"/>
                  <a:gd name="connsiteY19" fmla="*/ 9477 h 9936"/>
                  <a:gd name="connsiteX20" fmla="*/ 3345 w 9499"/>
                  <a:gd name="connsiteY20" fmla="*/ 9929 h 9936"/>
                  <a:gd name="connsiteX21" fmla="*/ 4416 w 9499"/>
                  <a:gd name="connsiteY21" fmla="*/ 9880 h 9936"/>
                  <a:gd name="connsiteX22" fmla="*/ 6981 w 9499"/>
                  <a:gd name="connsiteY22" fmla="*/ 9691 h 9936"/>
                  <a:gd name="connsiteX23" fmla="*/ 6981 w 9499"/>
                  <a:gd name="connsiteY23" fmla="*/ 9715 h 9936"/>
                  <a:gd name="connsiteX24" fmla="*/ 7414 w 9499"/>
                  <a:gd name="connsiteY24" fmla="*/ 9572 h 9936"/>
                  <a:gd name="connsiteX25" fmla="*/ 8799 w 9499"/>
                  <a:gd name="connsiteY25" fmla="*/ 8789 h 9936"/>
                  <a:gd name="connsiteX26" fmla="*/ 8669 w 9499"/>
                  <a:gd name="connsiteY26" fmla="*/ 6223 h 9936"/>
                  <a:gd name="connsiteX27" fmla="*/ 8799 w 9499"/>
                  <a:gd name="connsiteY27" fmla="*/ 3777 h 9936"/>
                  <a:gd name="connsiteX0" fmla="*/ 9263 w 10000"/>
                  <a:gd name="connsiteY0" fmla="*/ 3801 h 9993"/>
                  <a:gd name="connsiteX1" fmla="*/ 9719 w 10000"/>
                  <a:gd name="connsiteY1" fmla="*/ 1171 h 9993"/>
                  <a:gd name="connsiteX2" fmla="*/ 8899 w 10000"/>
                  <a:gd name="connsiteY2" fmla="*/ 0 h 9993"/>
                  <a:gd name="connsiteX3" fmla="*/ 8854 w 10000"/>
                  <a:gd name="connsiteY3" fmla="*/ 24 h 9993"/>
                  <a:gd name="connsiteX4" fmla="*/ 5617 w 10000"/>
                  <a:gd name="connsiteY4" fmla="*/ 598 h 9993"/>
                  <a:gd name="connsiteX5" fmla="*/ 2428 w 10000"/>
                  <a:gd name="connsiteY5" fmla="*/ 669 h 9993"/>
                  <a:gd name="connsiteX6" fmla="*/ 786 w 10000"/>
                  <a:gd name="connsiteY6" fmla="*/ 1434 h 9993"/>
                  <a:gd name="connsiteX7" fmla="*/ 696 w 10000"/>
                  <a:gd name="connsiteY7" fmla="*/ 1482 h 9993"/>
                  <a:gd name="connsiteX8" fmla="*/ 696 w 10000"/>
                  <a:gd name="connsiteY8" fmla="*/ 1554 h 9993"/>
                  <a:gd name="connsiteX9" fmla="*/ 559 w 10000"/>
                  <a:gd name="connsiteY9" fmla="*/ 1625 h 9993"/>
                  <a:gd name="connsiteX10" fmla="*/ 240 w 10000"/>
                  <a:gd name="connsiteY10" fmla="*/ 1841 h 9993"/>
                  <a:gd name="connsiteX11" fmla="*/ 377 w 10000"/>
                  <a:gd name="connsiteY11" fmla="*/ 2176 h 9993"/>
                  <a:gd name="connsiteX12" fmla="*/ 12 w 10000"/>
                  <a:gd name="connsiteY12" fmla="*/ 2223 h 9993"/>
                  <a:gd name="connsiteX13" fmla="*/ 58 w 10000"/>
                  <a:gd name="connsiteY13" fmla="*/ 2463 h 9993"/>
                  <a:gd name="connsiteX14" fmla="*/ 58 w 10000"/>
                  <a:gd name="connsiteY14" fmla="*/ 2654 h 9993"/>
                  <a:gd name="connsiteX15" fmla="*/ 12 w 10000"/>
                  <a:gd name="connsiteY15" fmla="*/ 2750 h 9993"/>
                  <a:gd name="connsiteX16" fmla="*/ 194 w 10000"/>
                  <a:gd name="connsiteY16" fmla="*/ 3466 h 9993"/>
                  <a:gd name="connsiteX17" fmla="*/ 1105 w 10000"/>
                  <a:gd name="connsiteY17" fmla="*/ 5714 h 9993"/>
                  <a:gd name="connsiteX18" fmla="*/ 1880 w 10000"/>
                  <a:gd name="connsiteY18" fmla="*/ 8654 h 9993"/>
                  <a:gd name="connsiteX19" fmla="*/ 2336 w 10000"/>
                  <a:gd name="connsiteY19" fmla="*/ 9538 h 9993"/>
                  <a:gd name="connsiteX20" fmla="*/ 3521 w 10000"/>
                  <a:gd name="connsiteY20" fmla="*/ 9993 h 9993"/>
                  <a:gd name="connsiteX21" fmla="*/ 4649 w 10000"/>
                  <a:gd name="connsiteY21" fmla="*/ 9944 h 9993"/>
                  <a:gd name="connsiteX22" fmla="*/ 7349 w 10000"/>
                  <a:gd name="connsiteY22" fmla="*/ 9753 h 9993"/>
                  <a:gd name="connsiteX23" fmla="*/ 7349 w 10000"/>
                  <a:gd name="connsiteY23" fmla="*/ 9778 h 9993"/>
                  <a:gd name="connsiteX24" fmla="*/ 7805 w 10000"/>
                  <a:gd name="connsiteY24" fmla="*/ 9634 h 9993"/>
                  <a:gd name="connsiteX25" fmla="*/ 9263 w 10000"/>
                  <a:gd name="connsiteY25" fmla="*/ 8846 h 9993"/>
                  <a:gd name="connsiteX26" fmla="*/ 9126 w 10000"/>
                  <a:gd name="connsiteY26" fmla="*/ 6263 h 9993"/>
                  <a:gd name="connsiteX27" fmla="*/ 9263 w 10000"/>
                  <a:gd name="connsiteY27" fmla="*/ 3801 h 9993"/>
                  <a:gd name="connsiteX0" fmla="*/ 9263 w 10000"/>
                  <a:gd name="connsiteY0" fmla="*/ 3804 h 10046"/>
                  <a:gd name="connsiteX1" fmla="*/ 9719 w 10000"/>
                  <a:gd name="connsiteY1" fmla="*/ 1172 h 10046"/>
                  <a:gd name="connsiteX2" fmla="*/ 8899 w 10000"/>
                  <a:gd name="connsiteY2" fmla="*/ 0 h 10046"/>
                  <a:gd name="connsiteX3" fmla="*/ 8854 w 10000"/>
                  <a:gd name="connsiteY3" fmla="*/ 24 h 10046"/>
                  <a:gd name="connsiteX4" fmla="*/ 5617 w 10000"/>
                  <a:gd name="connsiteY4" fmla="*/ 598 h 10046"/>
                  <a:gd name="connsiteX5" fmla="*/ 2428 w 10000"/>
                  <a:gd name="connsiteY5" fmla="*/ 669 h 10046"/>
                  <a:gd name="connsiteX6" fmla="*/ 786 w 10000"/>
                  <a:gd name="connsiteY6" fmla="*/ 1435 h 10046"/>
                  <a:gd name="connsiteX7" fmla="*/ 696 w 10000"/>
                  <a:gd name="connsiteY7" fmla="*/ 1483 h 10046"/>
                  <a:gd name="connsiteX8" fmla="*/ 696 w 10000"/>
                  <a:gd name="connsiteY8" fmla="*/ 1555 h 10046"/>
                  <a:gd name="connsiteX9" fmla="*/ 559 w 10000"/>
                  <a:gd name="connsiteY9" fmla="*/ 1626 h 10046"/>
                  <a:gd name="connsiteX10" fmla="*/ 240 w 10000"/>
                  <a:gd name="connsiteY10" fmla="*/ 1842 h 10046"/>
                  <a:gd name="connsiteX11" fmla="*/ 377 w 10000"/>
                  <a:gd name="connsiteY11" fmla="*/ 2178 h 10046"/>
                  <a:gd name="connsiteX12" fmla="*/ 12 w 10000"/>
                  <a:gd name="connsiteY12" fmla="*/ 2225 h 10046"/>
                  <a:gd name="connsiteX13" fmla="*/ 58 w 10000"/>
                  <a:gd name="connsiteY13" fmla="*/ 2465 h 10046"/>
                  <a:gd name="connsiteX14" fmla="*/ 58 w 10000"/>
                  <a:gd name="connsiteY14" fmla="*/ 2656 h 10046"/>
                  <a:gd name="connsiteX15" fmla="*/ 12 w 10000"/>
                  <a:gd name="connsiteY15" fmla="*/ 2752 h 10046"/>
                  <a:gd name="connsiteX16" fmla="*/ 194 w 10000"/>
                  <a:gd name="connsiteY16" fmla="*/ 3468 h 10046"/>
                  <a:gd name="connsiteX17" fmla="*/ 1105 w 10000"/>
                  <a:gd name="connsiteY17" fmla="*/ 5718 h 10046"/>
                  <a:gd name="connsiteX18" fmla="*/ 1880 w 10000"/>
                  <a:gd name="connsiteY18" fmla="*/ 8660 h 10046"/>
                  <a:gd name="connsiteX19" fmla="*/ 2336 w 10000"/>
                  <a:gd name="connsiteY19" fmla="*/ 9545 h 10046"/>
                  <a:gd name="connsiteX20" fmla="*/ 3521 w 10000"/>
                  <a:gd name="connsiteY20" fmla="*/ 10000 h 10046"/>
                  <a:gd name="connsiteX21" fmla="*/ 4694 w 10000"/>
                  <a:gd name="connsiteY21" fmla="*/ 10045 h 10046"/>
                  <a:gd name="connsiteX22" fmla="*/ 7349 w 10000"/>
                  <a:gd name="connsiteY22" fmla="*/ 9760 h 10046"/>
                  <a:gd name="connsiteX23" fmla="*/ 7349 w 10000"/>
                  <a:gd name="connsiteY23" fmla="*/ 9785 h 10046"/>
                  <a:gd name="connsiteX24" fmla="*/ 7805 w 10000"/>
                  <a:gd name="connsiteY24" fmla="*/ 9641 h 10046"/>
                  <a:gd name="connsiteX25" fmla="*/ 9263 w 10000"/>
                  <a:gd name="connsiteY25" fmla="*/ 8852 h 10046"/>
                  <a:gd name="connsiteX26" fmla="*/ 9126 w 10000"/>
                  <a:gd name="connsiteY26" fmla="*/ 6267 h 10046"/>
                  <a:gd name="connsiteX27" fmla="*/ 9263 w 10000"/>
                  <a:gd name="connsiteY27" fmla="*/ 3804 h 10046"/>
                  <a:gd name="connsiteX0" fmla="*/ 9263 w 10000"/>
                  <a:gd name="connsiteY0" fmla="*/ 3804 h 10049"/>
                  <a:gd name="connsiteX1" fmla="*/ 9719 w 10000"/>
                  <a:gd name="connsiteY1" fmla="*/ 1172 h 10049"/>
                  <a:gd name="connsiteX2" fmla="*/ 8899 w 10000"/>
                  <a:gd name="connsiteY2" fmla="*/ 0 h 10049"/>
                  <a:gd name="connsiteX3" fmla="*/ 8854 w 10000"/>
                  <a:gd name="connsiteY3" fmla="*/ 24 h 10049"/>
                  <a:gd name="connsiteX4" fmla="*/ 5617 w 10000"/>
                  <a:gd name="connsiteY4" fmla="*/ 598 h 10049"/>
                  <a:gd name="connsiteX5" fmla="*/ 2428 w 10000"/>
                  <a:gd name="connsiteY5" fmla="*/ 669 h 10049"/>
                  <a:gd name="connsiteX6" fmla="*/ 786 w 10000"/>
                  <a:gd name="connsiteY6" fmla="*/ 1435 h 10049"/>
                  <a:gd name="connsiteX7" fmla="*/ 696 w 10000"/>
                  <a:gd name="connsiteY7" fmla="*/ 1483 h 10049"/>
                  <a:gd name="connsiteX8" fmla="*/ 696 w 10000"/>
                  <a:gd name="connsiteY8" fmla="*/ 1555 h 10049"/>
                  <a:gd name="connsiteX9" fmla="*/ 559 w 10000"/>
                  <a:gd name="connsiteY9" fmla="*/ 1626 h 10049"/>
                  <a:gd name="connsiteX10" fmla="*/ 240 w 10000"/>
                  <a:gd name="connsiteY10" fmla="*/ 1842 h 10049"/>
                  <a:gd name="connsiteX11" fmla="*/ 377 w 10000"/>
                  <a:gd name="connsiteY11" fmla="*/ 2178 h 10049"/>
                  <a:gd name="connsiteX12" fmla="*/ 12 w 10000"/>
                  <a:gd name="connsiteY12" fmla="*/ 2225 h 10049"/>
                  <a:gd name="connsiteX13" fmla="*/ 58 w 10000"/>
                  <a:gd name="connsiteY13" fmla="*/ 2465 h 10049"/>
                  <a:gd name="connsiteX14" fmla="*/ 58 w 10000"/>
                  <a:gd name="connsiteY14" fmla="*/ 2656 h 10049"/>
                  <a:gd name="connsiteX15" fmla="*/ 12 w 10000"/>
                  <a:gd name="connsiteY15" fmla="*/ 2752 h 10049"/>
                  <a:gd name="connsiteX16" fmla="*/ 194 w 10000"/>
                  <a:gd name="connsiteY16" fmla="*/ 3468 h 10049"/>
                  <a:gd name="connsiteX17" fmla="*/ 1105 w 10000"/>
                  <a:gd name="connsiteY17" fmla="*/ 5718 h 10049"/>
                  <a:gd name="connsiteX18" fmla="*/ 1880 w 10000"/>
                  <a:gd name="connsiteY18" fmla="*/ 8660 h 10049"/>
                  <a:gd name="connsiteX19" fmla="*/ 2336 w 10000"/>
                  <a:gd name="connsiteY19" fmla="*/ 9545 h 10049"/>
                  <a:gd name="connsiteX20" fmla="*/ 3521 w 10000"/>
                  <a:gd name="connsiteY20" fmla="*/ 10000 h 10049"/>
                  <a:gd name="connsiteX21" fmla="*/ 4694 w 10000"/>
                  <a:gd name="connsiteY21" fmla="*/ 10045 h 10049"/>
                  <a:gd name="connsiteX22" fmla="*/ 7349 w 10000"/>
                  <a:gd name="connsiteY22" fmla="*/ 9760 h 10049"/>
                  <a:gd name="connsiteX23" fmla="*/ 7349 w 10000"/>
                  <a:gd name="connsiteY23" fmla="*/ 9785 h 10049"/>
                  <a:gd name="connsiteX24" fmla="*/ 7805 w 10000"/>
                  <a:gd name="connsiteY24" fmla="*/ 9641 h 10049"/>
                  <a:gd name="connsiteX25" fmla="*/ 9263 w 10000"/>
                  <a:gd name="connsiteY25" fmla="*/ 8852 h 10049"/>
                  <a:gd name="connsiteX26" fmla="*/ 9126 w 10000"/>
                  <a:gd name="connsiteY26" fmla="*/ 6267 h 10049"/>
                  <a:gd name="connsiteX27" fmla="*/ 9263 w 10000"/>
                  <a:gd name="connsiteY27" fmla="*/ 3804 h 1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00" h="10049">
                    <a:moveTo>
                      <a:pt x="9263" y="3804"/>
                    </a:moveTo>
                    <a:cubicBezTo>
                      <a:pt x="9445" y="3564"/>
                      <a:pt x="10494" y="2274"/>
                      <a:pt x="9719" y="1172"/>
                    </a:cubicBezTo>
                    <a:lnTo>
                      <a:pt x="8899" y="0"/>
                    </a:lnTo>
                    <a:lnTo>
                      <a:pt x="8854" y="24"/>
                    </a:lnTo>
                    <a:cubicBezTo>
                      <a:pt x="8488" y="144"/>
                      <a:pt x="6893" y="669"/>
                      <a:pt x="5617" y="598"/>
                    </a:cubicBezTo>
                    <a:cubicBezTo>
                      <a:pt x="4205" y="550"/>
                      <a:pt x="2564" y="598"/>
                      <a:pt x="2428" y="669"/>
                    </a:cubicBezTo>
                    <a:cubicBezTo>
                      <a:pt x="2291" y="742"/>
                      <a:pt x="1105" y="1244"/>
                      <a:pt x="786" y="1435"/>
                    </a:cubicBezTo>
                    <a:cubicBezTo>
                      <a:pt x="741" y="1459"/>
                      <a:pt x="696" y="1459"/>
                      <a:pt x="696" y="1483"/>
                    </a:cubicBezTo>
                    <a:lnTo>
                      <a:pt x="696" y="1555"/>
                    </a:lnTo>
                    <a:lnTo>
                      <a:pt x="559" y="1626"/>
                    </a:lnTo>
                    <a:cubicBezTo>
                      <a:pt x="513" y="1675"/>
                      <a:pt x="377" y="1793"/>
                      <a:pt x="240" y="1842"/>
                    </a:cubicBezTo>
                    <a:cubicBezTo>
                      <a:pt x="103" y="1913"/>
                      <a:pt x="604" y="2009"/>
                      <a:pt x="377" y="2178"/>
                    </a:cubicBezTo>
                    <a:cubicBezTo>
                      <a:pt x="240" y="2297"/>
                      <a:pt x="12" y="2225"/>
                      <a:pt x="12" y="2225"/>
                    </a:cubicBezTo>
                    <a:cubicBezTo>
                      <a:pt x="12" y="2225"/>
                      <a:pt x="-34" y="2297"/>
                      <a:pt x="58" y="2465"/>
                    </a:cubicBezTo>
                    <a:cubicBezTo>
                      <a:pt x="240" y="2679"/>
                      <a:pt x="148" y="2656"/>
                      <a:pt x="58" y="2656"/>
                    </a:cubicBezTo>
                    <a:cubicBezTo>
                      <a:pt x="12" y="2656"/>
                      <a:pt x="12" y="2703"/>
                      <a:pt x="12" y="2752"/>
                    </a:cubicBezTo>
                    <a:cubicBezTo>
                      <a:pt x="12" y="2919"/>
                      <a:pt x="58" y="3253"/>
                      <a:pt x="194" y="3468"/>
                    </a:cubicBezTo>
                    <a:cubicBezTo>
                      <a:pt x="331" y="3756"/>
                      <a:pt x="1060" y="5478"/>
                      <a:pt x="1105" y="5718"/>
                    </a:cubicBezTo>
                    <a:cubicBezTo>
                      <a:pt x="1152" y="5956"/>
                      <a:pt x="1653" y="6866"/>
                      <a:pt x="1880" y="8660"/>
                    </a:cubicBezTo>
                    <a:cubicBezTo>
                      <a:pt x="1880" y="8660"/>
                      <a:pt x="2245" y="9354"/>
                      <a:pt x="2336" y="9545"/>
                    </a:cubicBezTo>
                    <a:cubicBezTo>
                      <a:pt x="2381" y="9665"/>
                      <a:pt x="2747" y="9880"/>
                      <a:pt x="3521" y="10000"/>
                    </a:cubicBezTo>
                    <a:cubicBezTo>
                      <a:pt x="4423" y="10069"/>
                      <a:pt x="4694" y="10045"/>
                      <a:pt x="4694" y="10045"/>
                    </a:cubicBezTo>
                    <a:cubicBezTo>
                      <a:pt x="5785" y="10071"/>
                      <a:pt x="6907" y="9803"/>
                      <a:pt x="7349" y="9760"/>
                    </a:cubicBezTo>
                    <a:cubicBezTo>
                      <a:pt x="7791" y="9717"/>
                      <a:pt x="7349" y="9785"/>
                      <a:pt x="7349" y="9785"/>
                    </a:cubicBezTo>
                    <a:cubicBezTo>
                      <a:pt x="7486" y="9713"/>
                      <a:pt x="7668" y="9641"/>
                      <a:pt x="7805" y="9641"/>
                    </a:cubicBezTo>
                    <a:cubicBezTo>
                      <a:pt x="8169" y="9593"/>
                      <a:pt x="9218" y="9449"/>
                      <a:pt x="9263" y="8852"/>
                    </a:cubicBezTo>
                    <a:cubicBezTo>
                      <a:pt x="9355" y="8254"/>
                      <a:pt x="9263" y="6962"/>
                      <a:pt x="9126" y="6267"/>
                    </a:cubicBezTo>
                    <a:cubicBezTo>
                      <a:pt x="8989" y="5574"/>
                      <a:pt x="9126" y="4019"/>
                      <a:pt x="9263" y="380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49">
                <a:extLst>
                  <a:ext uri="{FF2B5EF4-FFF2-40B4-BE49-F238E27FC236}">
                    <a16:creationId xmlns:a16="http://schemas.microsoft.com/office/drawing/2014/main" id="{DE6302D6-DDCA-48FD-A526-4DAAF4A9E5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5616" y="2678250"/>
                <a:ext cx="597005" cy="1037502"/>
              </a:xfrm>
              <a:custGeom>
                <a:avLst/>
                <a:gdLst>
                  <a:gd name="T0" fmla="*/ 258 w 275"/>
                  <a:gd name="T1" fmla="*/ 184 h 450"/>
                  <a:gd name="T2" fmla="*/ 260 w 275"/>
                  <a:gd name="T3" fmla="*/ 63 h 450"/>
                  <a:gd name="T4" fmla="*/ 253 w 275"/>
                  <a:gd name="T5" fmla="*/ 47 h 450"/>
                  <a:gd name="T6" fmla="*/ 210 w 275"/>
                  <a:gd name="T7" fmla="*/ 1 h 450"/>
                  <a:gd name="T8" fmla="*/ 210 w 275"/>
                  <a:gd name="T9" fmla="*/ 0 h 450"/>
                  <a:gd name="T10" fmla="*/ 203 w 275"/>
                  <a:gd name="T11" fmla="*/ 5 h 450"/>
                  <a:gd name="T12" fmla="*/ 152 w 275"/>
                  <a:gd name="T13" fmla="*/ 50 h 450"/>
                  <a:gd name="T14" fmla="*/ 101 w 275"/>
                  <a:gd name="T15" fmla="*/ 103 h 450"/>
                  <a:gd name="T16" fmla="*/ 94 w 275"/>
                  <a:gd name="T17" fmla="*/ 111 h 450"/>
                  <a:gd name="T18" fmla="*/ 75 w 275"/>
                  <a:gd name="T19" fmla="*/ 134 h 450"/>
                  <a:gd name="T20" fmla="*/ 53 w 275"/>
                  <a:gd name="T21" fmla="*/ 173 h 450"/>
                  <a:gd name="T22" fmla="*/ 41 w 275"/>
                  <a:gd name="T23" fmla="*/ 132 h 450"/>
                  <a:gd name="T24" fmla="*/ 50 w 275"/>
                  <a:gd name="T25" fmla="*/ 105 h 450"/>
                  <a:gd name="T26" fmla="*/ 54 w 275"/>
                  <a:gd name="T27" fmla="*/ 97 h 450"/>
                  <a:gd name="T28" fmla="*/ 69 w 275"/>
                  <a:gd name="T29" fmla="*/ 74 h 450"/>
                  <a:gd name="T30" fmla="*/ 99 w 275"/>
                  <a:gd name="T31" fmla="*/ 30 h 450"/>
                  <a:gd name="T32" fmla="*/ 120 w 275"/>
                  <a:gd name="T33" fmla="*/ 13 h 450"/>
                  <a:gd name="T34" fmla="*/ 120 w 275"/>
                  <a:gd name="T35" fmla="*/ 10 h 450"/>
                  <a:gd name="T36" fmla="*/ 114 w 275"/>
                  <a:gd name="T37" fmla="*/ 9 h 450"/>
                  <a:gd name="T38" fmla="*/ 94 w 275"/>
                  <a:gd name="T39" fmla="*/ 15 h 450"/>
                  <a:gd name="T40" fmla="*/ 58 w 275"/>
                  <a:gd name="T41" fmla="*/ 40 h 450"/>
                  <a:gd name="T42" fmla="*/ 41 w 275"/>
                  <a:gd name="T43" fmla="*/ 80 h 450"/>
                  <a:gd name="T44" fmla="*/ 28 w 275"/>
                  <a:gd name="T45" fmla="*/ 182 h 450"/>
                  <a:gd name="T46" fmla="*/ 28 w 275"/>
                  <a:gd name="T47" fmla="*/ 205 h 450"/>
                  <a:gd name="T48" fmla="*/ 16 w 275"/>
                  <a:gd name="T49" fmla="*/ 259 h 450"/>
                  <a:gd name="T50" fmla="*/ 11 w 275"/>
                  <a:gd name="T51" fmla="*/ 290 h 450"/>
                  <a:gd name="T52" fmla="*/ 1 w 275"/>
                  <a:gd name="T53" fmla="*/ 365 h 450"/>
                  <a:gd name="T54" fmla="*/ 4 w 275"/>
                  <a:gd name="T55" fmla="*/ 403 h 450"/>
                  <a:gd name="T56" fmla="*/ 5 w 275"/>
                  <a:gd name="T57" fmla="*/ 402 h 450"/>
                  <a:gd name="T58" fmla="*/ 35 w 275"/>
                  <a:gd name="T59" fmla="*/ 387 h 450"/>
                  <a:gd name="T60" fmla="*/ 40 w 275"/>
                  <a:gd name="T61" fmla="*/ 384 h 450"/>
                  <a:gd name="T62" fmla="*/ 44 w 275"/>
                  <a:gd name="T63" fmla="*/ 370 h 450"/>
                  <a:gd name="T64" fmla="*/ 47 w 275"/>
                  <a:gd name="T65" fmla="*/ 398 h 450"/>
                  <a:gd name="T66" fmla="*/ 45 w 275"/>
                  <a:gd name="T67" fmla="*/ 406 h 450"/>
                  <a:gd name="T68" fmla="*/ 43 w 275"/>
                  <a:gd name="T69" fmla="*/ 428 h 450"/>
                  <a:gd name="T70" fmla="*/ 66 w 275"/>
                  <a:gd name="T71" fmla="*/ 450 h 450"/>
                  <a:gd name="T72" fmla="*/ 66 w 275"/>
                  <a:gd name="T73" fmla="*/ 448 h 450"/>
                  <a:gd name="T74" fmla="*/ 68 w 275"/>
                  <a:gd name="T75" fmla="*/ 446 h 450"/>
                  <a:gd name="T76" fmla="*/ 104 w 275"/>
                  <a:gd name="T77" fmla="*/ 414 h 450"/>
                  <a:gd name="T78" fmla="*/ 174 w 275"/>
                  <a:gd name="T79" fmla="*/ 411 h 450"/>
                  <a:gd name="T80" fmla="*/ 245 w 275"/>
                  <a:gd name="T81" fmla="*/ 387 h 450"/>
                  <a:gd name="T82" fmla="*/ 235 w 275"/>
                  <a:gd name="T83" fmla="*/ 359 h 450"/>
                  <a:gd name="T84" fmla="*/ 222 w 275"/>
                  <a:gd name="T85" fmla="*/ 299 h 450"/>
                  <a:gd name="T86" fmla="*/ 258 w 275"/>
                  <a:gd name="T87" fmla="*/ 184 h 450"/>
                  <a:gd name="connsiteX0" fmla="*/ 9352 w 9689"/>
                  <a:gd name="connsiteY0" fmla="*/ 4089 h 10000"/>
                  <a:gd name="connsiteX1" fmla="*/ 9425 w 9689"/>
                  <a:gd name="connsiteY1" fmla="*/ 1400 h 10000"/>
                  <a:gd name="connsiteX2" fmla="*/ 9170 w 9689"/>
                  <a:gd name="connsiteY2" fmla="*/ 1044 h 10000"/>
                  <a:gd name="connsiteX3" fmla="*/ 7606 w 9689"/>
                  <a:gd name="connsiteY3" fmla="*/ 22 h 10000"/>
                  <a:gd name="connsiteX4" fmla="*/ 7606 w 9689"/>
                  <a:gd name="connsiteY4" fmla="*/ 0 h 10000"/>
                  <a:gd name="connsiteX5" fmla="*/ 7352 w 9689"/>
                  <a:gd name="connsiteY5" fmla="*/ 111 h 10000"/>
                  <a:gd name="connsiteX6" fmla="*/ 5497 w 9689"/>
                  <a:gd name="connsiteY6" fmla="*/ 1111 h 10000"/>
                  <a:gd name="connsiteX7" fmla="*/ 3643 w 9689"/>
                  <a:gd name="connsiteY7" fmla="*/ 2289 h 10000"/>
                  <a:gd name="connsiteX8" fmla="*/ 3388 w 9689"/>
                  <a:gd name="connsiteY8" fmla="*/ 2467 h 10000"/>
                  <a:gd name="connsiteX9" fmla="*/ 2697 w 9689"/>
                  <a:gd name="connsiteY9" fmla="*/ 2978 h 10000"/>
                  <a:gd name="connsiteX10" fmla="*/ 1897 w 9689"/>
                  <a:gd name="connsiteY10" fmla="*/ 3844 h 10000"/>
                  <a:gd name="connsiteX11" fmla="*/ 1461 w 9689"/>
                  <a:gd name="connsiteY11" fmla="*/ 2933 h 10000"/>
                  <a:gd name="connsiteX12" fmla="*/ 1788 w 9689"/>
                  <a:gd name="connsiteY12" fmla="*/ 2333 h 10000"/>
                  <a:gd name="connsiteX13" fmla="*/ 1934 w 9689"/>
                  <a:gd name="connsiteY13" fmla="*/ 2156 h 10000"/>
                  <a:gd name="connsiteX14" fmla="*/ 2479 w 9689"/>
                  <a:gd name="connsiteY14" fmla="*/ 1644 h 10000"/>
                  <a:gd name="connsiteX15" fmla="*/ 3570 w 9689"/>
                  <a:gd name="connsiteY15" fmla="*/ 667 h 10000"/>
                  <a:gd name="connsiteX16" fmla="*/ 4334 w 9689"/>
                  <a:gd name="connsiteY16" fmla="*/ 289 h 10000"/>
                  <a:gd name="connsiteX17" fmla="*/ 4334 w 9689"/>
                  <a:gd name="connsiteY17" fmla="*/ 222 h 10000"/>
                  <a:gd name="connsiteX18" fmla="*/ 4115 w 9689"/>
                  <a:gd name="connsiteY18" fmla="*/ 200 h 10000"/>
                  <a:gd name="connsiteX19" fmla="*/ 3388 w 9689"/>
                  <a:gd name="connsiteY19" fmla="*/ 333 h 10000"/>
                  <a:gd name="connsiteX20" fmla="*/ 2079 w 9689"/>
                  <a:gd name="connsiteY20" fmla="*/ 889 h 10000"/>
                  <a:gd name="connsiteX21" fmla="*/ 1461 w 9689"/>
                  <a:gd name="connsiteY21" fmla="*/ 1778 h 10000"/>
                  <a:gd name="connsiteX22" fmla="*/ 988 w 9689"/>
                  <a:gd name="connsiteY22" fmla="*/ 4044 h 10000"/>
                  <a:gd name="connsiteX23" fmla="*/ 988 w 9689"/>
                  <a:gd name="connsiteY23" fmla="*/ 4556 h 10000"/>
                  <a:gd name="connsiteX24" fmla="*/ 552 w 9689"/>
                  <a:gd name="connsiteY24" fmla="*/ 5756 h 10000"/>
                  <a:gd name="connsiteX25" fmla="*/ 370 w 9689"/>
                  <a:gd name="connsiteY25" fmla="*/ 6444 h 10000"/>
                  <a:gd name="connsiteX26" fmla="*/ 6 w 9689"/>
                  <a:gd name="connsiteY26" fmla="*/ 8111 h 10000"/>
                  <a:gd name="connsiteX27" fmla="*/ 115 w 9689"/>
                  <a:gd name="connsiteY27" fmla="*/ 8956 h 10000"/>
                  <a:gd name="connsiteX28" fmla="*/ 152 w 9689"/>
                  <a:gd name="connsiteY28" fmla="*/ 8933 h 10000"/>
                  <a:gd name="connsiteX29" fmla="*/ 1243 w 9689"/>
                  <a:gd name="connsiteY29" fmla="*/ 8600 h 10000"/>
                  <a:gd name="connsiteX30" fmla="*/ 1425 w 9689"/>
                  <a:gd name="connsiteY30" fmla="*/ 8533 h 10000"/>
                  <a:gd name="connsiteX31" fmla="*/ 1570 w 9689"/>
                  <a:gd name="connsiteY31" fmla="*/ 8222 h 10000"/>
                  <a:gd name="connsiteX32" fmla="*/ 1679 w 9689"/>
                  <a:gd name="connsiteY32" fmla="*/ 8844 h 10000"/>
                  <a:gd name="connsiteX33" fmla="*/ 1606 w 9689"/>
                  <a:gd name="connsiteY33" fmla="*/ 9022 h 10000"/>
                  <a:gd name="connsiteX34" fmla="*/ 1534 w 9689"/>
                  <a:gd name="connsiteY34" fmla="*/ 9511 h 10000"/>
                  <a:gd name="connsiteX35" fmla="*/ 2370 w 9689"/>
                  <a:gd name="connsiteY35" fmla="*/ 10000 h 10000"/>
                  <a:gd name="connsiteX36" fmla="*/ 2370 w 9689"/>
                  <a:gd name="connsiteY36" fmla="*/ 9956 h 10000"/>
                  <a:gd name="connsiteX37" fmla="*/ 2443 w 9689"/>
                  <a:gd name="connsiteY37" fmla="*/ 9911 h 10000"/>
                  <a:gd name="connsiteX38" fmla="*/ 3752 w 9689"/>
                  <a:gd name="connsiteY38" fmla="*/ 9200 h 10000"/>
                  <a:gd name="connsiteX39" fmla="*/ 6297 w 9689"/>
                  <a:gd name="connsiteY39" fmla="*/ 9218 h 10000"/>
                  <a:gd name="connsiteX40" fmla="*/ 8879 w 9689"/>
                  <a:gd name="connsiteY40" fmla="*/ 8600 h 10000"/>
                  <a:gd name="connsiteX41" fmla="*/ 8515 w 9689"/>
                  <a:gd name="connsiteY41" fmla="*/ 7978 h 10000"/>
                  <a:gd name="connsiteX42" fmla="*/ 8043 w 9689"/>
                  <a:gd name="connsiteY42" fmla="*/ 6644 h 10000"/>
                  <a:gd name="connsiteX43" fmla="*/ 9352 w 9689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521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164 w 10000"/>
                  <a:gd name="connsiteY40" fmla="*/ 8600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759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164 w 10000"/>
                  <a:gd name="connsiteY40" fmla="*/ 8600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759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259 w 10000"/>
                  <a:gd name="connsiteY40" fmla="*/ 8685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93 h 10004"/>
                  <a:gd name="connsiteX1" fmla="*/ 9728 w 10000"/>
                  <a:gd name="connsiteY1" fmla="*/ 1404 h 10004"/>
                  <a:gd name="connsiteX2" fmla="*/ 9464 w 10000"/>
                  <a:gd name="connsiteY2" fmla="*/ 1048 h 10004"/>
                  <a:gd name="connsiteX3" fmla="*/ 7850 w 10000"/>
                  <a:gd name="connsiteY3" fmla="*/ 26 h 10004"/>
                  <a:gd name="connsiteX4" fmla="*/ 7850 w 10000"/>
                  <a:gd name="connsiteY4" fmla="*/ 4 h 10004"/>
                  <a:gd name="connsiteX5" fmla="*/ 7493 w 10000"/>
                  <a:gd name="connsiteY5" fmla="*/ 115 h 10004"/>
                  <a:gd name="connsiteX6" fmla="*/ 5673 w 10000"/>
                  <a:gd name="connsiteY6" fmla="*/ 1115 h 10004"/>
                  <a:gd name="connsiteX7" fmla="*/ 3760 w 10000"/>
                  <a:gd name="connsiteY7" fmla="*/ 2293 h 10004"/>
                  <a:gd name="connsiteX8" fmla="*/ 3497 w 10000"/>
                  <a:gd name="connsiteY8" fmla="*/ 2471 h 10004"/>
                  <a:gd name="connsiteX9" fmla="*/ 2784 w 10000"/>
                  <a:gd name="connsiteY9" fmla="*/ 2982 h 10004"/>
                  <a:gd name="connsiteX10" fmla="*/ 1958 w 10000"/>
                  <a:gd name="connsiteY10" fmla="*/ 3848 h 10004"/>
                  <a:gd name="connsiteX11" fmla="*/ 1508 w 10000"/>
                  <a:gd name="connsiteY11" fmla="*/ 2937 h 10004"/>
                  <a:gd name="connsiteX12" fmla="*/ 1845 w 10000"/>
                  <a:gd name="connsiteY12" fmla="*/ 2337 h 10004"/>
                  <a:gd name="connsiteX13" fmla="*/ 1996 w 10000"/>
                  <a:gd name="connsiteY13" fmla="*/ 2160 h 10004"/>
                  <a:gd name="connsiteX14" fmla="*/ 2559 w 10000"/>
                  <a:gd name="connsiteY14" fmla="*/ 1648 h 10004"/>
                  <a:gd name="connsiteX15" fmla="*/ 3685 w 10000"/>
                  <a:gd name="connsiteY15" fmla="*/ 671 h 10004"/>
                  <a:gd name="connsiteX16" fmla="*/ 4473 w 10000"/>
                  <a:gd name="connsiteY16" fmla="*/ 293 h 10004"/>
                  <a:gd name="connsiteX17" fmla="*/ 4473 w 10000"/>
                  <a:gd name="connsiteY17" fmla="*/ 226 h 10004"/>
                  <a:gd name="connsiteX18" fmla="*/ 4247 w 10000"/>
                  <a:gd name="connsiteY18" fmla="*/ 204 h 10004"/>
                  <a:gd name="connsiteX19" fmla="*/ 3497 w 10000"/>
                  <a:gd name="connsiteY19" fmla="*/ 337 h 10004"/>
                  <a:gd name="connsiteX20" fmla="*/ 2146 w 10000"/>
                  <a:gd name="connsiteY20" fmla="*/ 893 h 10004"/>
                  <a:gd name="connsiteX21" fmla="*/ 1508 w 10000"/>
                  <a:gd name="connsiteY21" fmla="*/ 1782 h 10004"/>
                  <a:gd name="connsiteX22" fmla="*/ 1020 w 10000"/>
                  <a:gd name="connsiteY22" fmla="*/ 4048 h 10004"/>
                  <a:gd name="connsiteX23" fmla="*/ 1020 w 10000"/>
                  <a:gd name="connsiteY23" fmla="*/ 4560 h 10004"/>
                  <a:gd name="connsiteX24" fmla="*/ 570 w 10000"/>
                  <a:gd name="connsiteY24" fmla="*/ 5760 h 10004"/>
                  <a:gd name="connsiteX25" fmla="*/ 382 w 10000"/>
                  <a:gd name="connsiteY25" fmla="*/ 6448 h 10004"/>
                  <a:gd name="connsiteX26" fmla="*/ 6 w 10000"/>
                  <a:gd name="connsiteY26" fmla="*/ 8115 h 10004"/>
                  <a:gd name="connsiteX27" fmla="*/ 119 w 10000"/>
                  <a:gd name="connsiteY27" fmla="*/ 8960 h 10004"/>
                  <a:gd name="connsiteX28" fmla="*/ 157 w 10000"/>
                  <a:gd name="connsiteY28" fmla="*/ 8937 h 10004"/>
                  <a:gd name="connsiteX29" fmla="*/ 1283 w 10000"/>
                  <a:gd name="connsiteY29" fmla="*/ 8604 h 10004"/>
                  <a:gd name="connsiteX30" fmla="*/ 1471 w 10000"/>
                  <a:gd name="connsiteY30" fmla="*/ 8537 h 10004"/>
                  <a:gd name="connsiteX31" fmla="*/ 1620 w 10000"/>
                  <a:gd name="connsiteY31" fmla="*/ 8226 h 10004"/>
                  <a:gd name="connsiteX32" fmla="*/ 1733 w 10000"/>
                  <a:gd name="connsiteY32" fmla="*/ 8848 h 10004"/>
                  <a:gd name="connsiteX33" fmla="*/ 1658 w 10000"/>
                  <a:gd name="connsiteY33" fmla="*/ 9026 h 10004"/>
                  <a:gd name="connsiteX34" fmla="*/ 1583 w 10000"/>
                  <a:gd name="connsiteY34" fmla="*/ 9515 h 10004"/>
                  <a:gd name="connsiteX35" fmla="*/ 2446 w 10000"/>
                  <a:gd name="connsiteY35" fmla="*/ 10004 h 10004"/>
                  <a:gd name="connsiteX36" fmla="*/ 2446 w 10000"/>
                  <a:gd name="connsiteY36" fmla="*/ 9960 h 10004"/>
                  <a:gd name="connsiteX37" fmla="*/ 2759 w 10000"/>
                  <a:gd name="connsiteY37" fmla="*/ 9915 h 10004"/>
                  <a:gd name="connsiteX38" fmla="*/ 3824 w 10000"/>
                  <a:gd name="connsiteY38" fmla="*/ 9317 h 10004"/>
                  <a:gd name="connsiteX39" fmla="*/ 6499 w 10000"/>
                  <a:gd name="connsiteY39" fmla="*/ 9222 h 10004"/>
                  <a:gd name="connsiteX40" fmla="*/ 9259 w 10000"/>
                  <a:gd name="connsiteY40" fmla="*/ 8689 h 10004"/>
                  <a:gd name="connsiteX41" fmla="*/ 8788 w 10000"/>
                  <a:gd name="connsiteY41" fmla="*/ 7982 h 10004"/>
                  <a:gd name="connsiteX42" fmla="*/ 8301 w 10000"/>
                  <a:gd name="connsiteY42" fmla="*/ 6648 h 10004"/>
                  <a:gd name="connsiteX43" fmla="*/ 9652 w 10000"/>
                  <a:gd name="connsiteY43" fmla="*/ 4093 h 10004"/>
                  <a:gd name="connsiteX0" fmla="*/ 9652 w 10000"/>
                  <a:gd name="connsiteY0" fmla="*/ 4093 h 10004"/>
                  <a:gd name="connsiteX1" fmla="*/ 9728 w 10000"/>
                  <a:gd name="connsiteY1" fmla="*/ 1404 h 10004"/>
                  <a:gd name="connsiteX2" fmla="*/ 9464 w 10000"/>
                  <a:gd name="connsiteY2" fmla="*/ 1048 h 10004"/>
                  <a:gd name="connsiteX3" fmla="*/ 7850 w 10000"/>
                  <a:gd name="connsiteY3" fmla="*/ 26 h 10004"/>
                  <a:gd name="connsiteX4" fmla="*/ 7850 w 10000"/>
                  <a:gd name="connsiteY4" fmla="*/ 4 h 10004"/>
                  <a:gd name="connsiteX5" fmla="*/ 7493 w 10000"/>
                  <a:gd name="connsiteY5" fmla="*/ 115 h 10004"/>
                  <a:gd name="connsiteX6" fmla="*/ 5673 w 10000"/>
                  <a:gd name="connsiteY6" fmla="*/ 1115 h 10004"/>
                  <a:gd name="connsiteX7" fmla="*/ 3760 w 10000"/>
                  <a:gd name="connsiteY7" fmla="*/ 2293 h 10004"/>
                  <a:gd name="connsiteX8" fmla="*/ 3497 w 10000"/>
                  <a:gd name="connsiteY8" fmla="*/ 2471 h 10004"/>
                  <a:gd name="connsiteX9" fmla="*/ 2784 w 10000"/>
                  <a:gd name="connsiteY9" fmla="*/ 2982 h 10004"/>
                  <a:gd name="connsiteX10" fmla="*/ 1958 w 10000"/>
                  <a:gd name="connsiteY10" fmla="*/ 3848 h 10004"/>
                  <a:gd name="connsiteX11" fmla="*/ 1508 w 10000"/>
                  <a:gd name="connsiteY11" fmla="*/ 2937 h 10004"/>
                  <a:gd name="connsiteX12" fmla="*/ 1845 w 10000"/>
                  <a:gd name="connsiteY12" fmla="*/ 2337 h 10004"/>
                  <a:gd name="connsiteX13" fmla="*/ 1996 w 10000"/>
                  <a:gd name="connsiteY13" fmla="*/ 2160 h 10004"/>
                  <a:gd name="connsiteX14" fmla="*/ 2559 w 10000"/>
                  <a:gd name="connsiteY14" fmla="*/ 1648 h 10004"/>
                  <a:gd name="connsiteX15" fmla="*/ 3685 w 10000"/>
                  <a:gd name="connsiteY15" fmla="*/ 671 h 10004"/>
                  <a:gd name="connsiteX16" fmla="*/ 4473 w 10000"/>
                  <a:gd name="connsiteY16" fmla="*/ 293 h 10004"/>
                  <a:gd name="connsiteX17" fmla="*/ 4473 w 10000"/>
                  <a:gd name="connsiteY17" fmla="*/ 226 h 10004"/>
                  <a:gd name="connsiteX18" fmla="*/ 4247 w 10000"/>
                  <a:gd name="connsiteY18" fmla="*/ 204 h 10004"/>
                  <a:gd name="connsiteX19" fmla="*/ 3497 w 10000"/>
                  <a:gd name="connsiteY19" fmla="*/ 337 h 10004"/>
                  <a:gd name="connsiteX20" fmla="*/ 2146 w 10000"/>
                  <a:gd name="connsiteY20" fmla="*/ 893 h 10004"/>
                  <a:gd name="connsiteX21" fmla="*/ 1508 w 10000"/>
                  <a:gd name="connsiteY21" fmla="*/ 1782 h 10004"/>
                  <a:gd name="connsiteX22" fmla="*/ 1020 w 10000"/>
                  <a:gd name="connsiteY22" fmla="*/ 4048 h 10004"/>
                  <a:gd name="connsiteX23" fmla="*/ 1020 w 10000"/>
                  <a:gd name="connsiteY23" fmla="*/ 4560 h 10004"/>
                  <a:gd name="connsiteX24" fmla="*/ 570 w 10000"/>
                  <a:gd name="connsiteY24" fmla="*/ 5760 h 10004"/>
                  <a:gd name="connsiteX25" fmla="*/ 382 w 10000"/>
                  <a:gd name="connsiteY25" fmla="*/ 6448 h 10004"/>
                  <a:gd name="connsiteX26" fmla="*/ 6 w 10000"/>
                  <a:gd name="connsiteY26" fmla="*/ 8115 h 10004"/>
                  <a:gd name="connsiteX27" fmla="*/ 119 w 10000"/>
                  <a:gd name="connsiteY27" fmla="*/ 8960 h 10004"/>
                  <a:gd name="connsiteX28" fmla="*/ 157 w 10000"/>
                  <a:gd name="connsiteY28" fmla="*/ 8937 h 10004"/>
                  <a:gd name="connsiteX29" fmla="*/ 1283 w 10000"/>
                  <a:gd name="connsiteY29" fmla="*/ 8604 h 10004"/>
                  <a:gd name="connsiteX30" fmla="*/ 1471 w 10000"/>
                  <a:gd name="connsiteY30" fmla="*/ 8537 h 10004"/>
                  <a:gd name="connsiteX31" fmla="*/ 1620 w 10000"/>
                  <a:gd name="connsiteY31" fmla="*/ 8226 h 10004"/>
                  <a:gd name="connsiteX32" fmla="*/ 1733 w 10000"/>
                  <a:gd name="connsiteY32" fmla="*/ 8848 h 10004"/>
                  <a:gd name="connsiteX33" fmla="*/ 1658 w 10000"/>
                  <a:gd name="connsiteY33" fmla="*/ 9026 h 10004"/>
                  <a:gd name="connsiteX34" fmla="*/ 1583 w 10000"/>
                  <a:gd name="connsiteY34" fmla="*/ 9515 h 10004"/>
                  <a:gd name="connsiteX35" fmla="*/ 2446 w 10000"/>
                  <a:gd name="connsiteY35" fmla="*/ 10004 h 10004"/>
                  <a:gd name="connsiteX36" fmla="*/ 2446 w 10000"/>
                  <a:gd name="connsiteY36" fmla="*/ 9960 h 10004"/>
                  <a:gd name="connsiteX37" fmla="*/ 2759 w 10000"/>
                  <a:gd name="connsiteY37" fmla="*/ 9915 h 10004"/>
                  <a:gd name="connsiteX38" fmla="*/ 3824 w 10000"/>
                  <a:gd name="connsiteY38" fmla="*/ 9317 h 10004"/>
                  <a:gd name="connsiteX39" fmla="*/ 6499 w 10000"/>
                  <a:gd name="connsiteY39" fmla="*/ 9222 h 10004"/>
                  <a:gd name="connsiteX40" fmla="*/ 9259 w 10000"/>
                  <a:gd name="connsiteY40" fmla="*/ 8689 h 10004"/>
                  <a:gd name="connsiteX41" fmla="*/ 8788 w 10000"/>
                  <a:gd name="connsiteY41" fmla="*/ 7982 h 10004"/>
                  <a:gd name="connsiteX42" fmla="*/ 8301 w 10000"/>
                  <a:gd name="connsiteY42" fmla="*/ 6648 h 10004"/>
                  <a:gd name="connsiteX43" fmla="*/ 9652 w 10000"/>
                  <a:gd name="connsiteY43" fmla="*/ 4093 h 10004"/>
                  <a:gd name="connsiteX0" fmla="*/ 9652 w 10000"/>
                  <a:gd name="connsiteY0" fmla="*/ 4238 h 10149"/>
                  <a:gd name="connsiteX1" fmla="*/ 9728 w 10000"/>
                  <a:gd name="connsiteY1" fmla="*/ 1549 h 10149"/>
                  <a:gd name="connsiteX2" fmla="*/ 9464 w 10000"/>
                  <a:gd name="connsiteY2" fmla="*/ 1193 h 10149"/>
                  <a:gd name="connsiteX3" fmla="*/ 7850 w 10000"/>
                  <a:gd name="connsiteY3" fmla="*/ 171 h 10149"/>
                  <a:gd name="connsiteX4" fmla="*/ 7850 w 10000"/>
                  <a:gd name="connsiteY4" fmla="*/ 8 h 10149"/>
                  <a:gd name="connsiteX5" fmla="*/ 7493 w 10000"/>
                  <a:gd name="connsiteY5" fmla="*/ 260 h 10149"/>
                  <a:gd name="connsiteX6" fmla="*/ 5673 w 10000"/>
                  <a:gd name="connsiteY6" fmla="*/ 1260 h 10149"/>
                  <a:gd name="connsiteX7" fmla="*/ 3760 w 10000"/>
                  <a:gd name="connsiteY7" fmla="*/ 2438 h 10149"/>
                  <a:gd name="connsiteX8" fmla="*/ 3497 w 10000"/>
                  <a:gd name="connsiteY8" fmla="*/ 2616 h 10149"/>
                  <a:gd name="connsiteX9" fmla="*/ 2784 w 10000"/>
                  <a:gd name="connsiteY9" fmla="*/ 3127 h 10149"/>
                  <a:gd name="connsiteX10" fmla="*/ 1958 w 10000"/>
                  <a:gd name="connsiteY10" fmla="*/ 3993 h 10149"/>
                  <a:gd name="connsiteX11" fmla="*/ 1508 w 10000"/>
                  <a:gd name="connsiteY11" fmla="*/ 3082 h 10149"/>
                  <a:gd name="connsiteX12" fmla="*/ 1845 w 10000"/>
                  <a:gd name="connsiteY12" fmla="*/ 2482 h 10149"/>
                  <a:gd name="connsiteX13" fmla="*/ 1996 w 10000"/>
                  <a:gd name="connsiteY13" fmla="*/ 2305 h 10149"/>
                  <a:gd name="connsiteX14" fmla="*/ 2559 w 10000"/>
                  <a:gd name="connsiteY14" fmla="*/ 1793 h 10149"/>
                  <a:gd name="connsiteX15" fmla="*/ 3685 w 10000"/>
                  <a:gd name="connsiteY15" fmla="*/ 816 h 10149"/>
                  <a:gd name="connsiteX16" fmla="*/ 4473 w 10000"/>
                  <a:gd name="connsiteY16" fmla="*/ 438 h 10149"/>
                  <a:gd name="connsiteX17" fmla="*/ 4473 w 10000"/>
                  <a:gd name="connsiteY17" fmla="*/ 371 h 10149"/>
                  <a:gd name="connsiteX18" fmla="*/ 4247 w 10000"/>
                  <a:gd name="connsiteY18" fmla="*/ 349 h 10149"/>
                  <a:gd name="connsiteX19" fmla="*/ 3497 w 10000"/>
                  <a:gd name="connsiteY19" fmla="*/ 482 h 10149"/>
                  <a:gd name="connsiteX20" fmla="*/ 2146 w 10000"/>
                  <a:gd name="connsiteY20" fmla="*/ 1038 h 10149"/>
                  <a:gd name="connsiteX21" fmla="*/ 1508 w 10000"/>
                  <a:gd name="connsiteY21" fmla="*/ 1927 h 10149"/>
                  <a:gd name="connsiteX22" fmla="*/ 1020 w 10000"/>
                  <a:gd name="connsiteY22" fmla="*/ 4193 h 10149"/>
                  <a:gd name="connsiteX23" fmla="*/ 1020 w 10000"/>
                  <a:gd name="connsiteY23" fmla="*/ 4705 h 10149"/>
                  <a:gd name="connsiteX24" fmla="*/ 570 w 10000"/>
                  <a:gd name="connsiteY24" fmla="*/ 5905 h 10149"/>
                  <a:gd name="connsiteX25" fmla="*/ 382 w 10000"/>
                  <a:gd name="connsiteY25" fmla="*/ 6593 h 10149"/>
                  <a:gd name="connsiteX26" fmla="*/ 6 w 10000"/>
                  <a:gd name="connsiteY26" fmla="*/ 8260 h 10149"/>
                  <a:gd name="connsiteX27" fmla="*/ 119 w 10000"/>
                  <a:gd name="connsiteY27" fmla="*/ 9105 h 10149"/>
                  <a:gd name="connsiteX28" fmla="*/ 157 w 10000"/>
                  <a:gd name="connsiteY28" fmla="*/ 9082 h 10149"/>
                  <a:gd name="connsiteX29" fmla="*/ 1283 w 10000"/>
                  <a:gd name="connsiteY29" fmla="*/ 8749 h 10149"/>
                  <a:gd name="connsiteX30" fmla="*/ 1471 w 10000"/>
                  <a:gd name="connsiteY30" fmla="*/ 8682 h 10149"/>
                  <a:gd name="connsiteX31" fmla="*/ 1620 w 10000"/>
                  <a:gd name="connsiteY31" fmla="*/ 8371 h 10149"/>
                  <a:gd name="connsiteX32" fmla="*/ 1733 w 10000"/>
                  <a:gd name="connsiteY32" fmla="*/ 8993 h 10149"/>
                  <a:gd name="connsiteX33" fmla="*/ 1658 w 10000"/>
                  <a:gd name="connsiteY33" fmla="*/ 9171 h 10149"/>
                  <a:gd name="connsiteX34" fmla="*/ 1583 w 10000"/>
                  <a:gd name="connsiteY34" fmla="*/ 9660 h 10149"/>
                  <a:gd name="connsiteX35" fmla="*/ 2446 w 10000"/>
                  <a:gd name="connsiteY35" fmla="*/ 10149 h 10149"/>
                  <a:gd name="connsiteX36" fmla="*/ 2446 w 10000"/>
                  <a:gd name="connsiteY36" fmla="*/ 10105 h 10149"/>
                  <a:gd name="connsiteX37" fmla="*/ 2759 w 10000"/>
                  <a:gd name="connsiteY37" fmla="*/ 10060 h 10149"/>
                  <a:gd name="connsiteX38" fmla="*/ 3824 w 10000"/>
                  <a:gd name="connsiteY38" fmla="*/ 9462 h 10149"/>
                  <a:gd name="connsiteX39" fmla="*/ 6499 w 10000"/>
                  <a:gd name="connsiteY39" fmla="*/ 9367 h 10149"/>
                  <a:gd name="connsiteX40" fmla="*/ 9259 w 10000"/>
                  <a:gd name="connsiteY40" fmla="*/ 8834 h 10149"/>
                  <a:gd name="connsiteX41" fmla="*/ 8788 w 10000"/>
                  <a:gd name="connsiteY41" fmla="*/ 8127 h 10149"/>
                  <a:gd name="connsiteX42" fmla="*/ 8301 w 10000"/>
                  <a:gd name="connsiteY42" fmla="*/ 6793 h 10149"/>
                  <a:gd name="connsiteX43" fmla="*/ 9652 w 10000"/>
                  <a:gd name="connsiteY43" fmla="*/ 4238 h 10149"/>
                  <a:gd name="connsiteX0" fmla="*/ 9652 w 10000"/>
                  <a:gd name="connsiteY0" fmla="*/ 4247 h 10158"/>
                  <a:gd name="connsiteX1" fmla="*/ 9728 w 10000"/>
                  <a:gd name="connsiteY1" fmla="*/ 1558 h 10158"/>
                  <a:gd name="connsiteX2" fmla="*/ 9464 w 10000"/>
                  <a:gd name="connsiteY2" fmla="*/ 1202 h 10158"/>
                  <a:gd name="connsiteX3" fmla="*/ 8231 w 10000"/>
                  <a:gd name="connsiteY3" fmla="*/ 152 h 10158"/>
                  <a:gd name="connsiteX4" fmla="*/ 7850 w 10000"/>
                  <a:gd name="connsiteY4" fmla="*/ 17 h 10158"/>
                  <a:gd name="connsiteX5" fmla="*/ 7493 w 10000"/>
                  <a:gd name="connsiteY5" fmla="*/ 269 h 10158"/>
                  <a:gd name="connsiteX6" fmla="*/ 5673 w 10000"/>
                  <a:gd name="connsiteY6" fmla="*/ 1269 h 10158"/>
                  <a:gd name="connsiteX7" fmla="*/ 3760 w 10000"/>
                  <a:gd name="connsiteY7" fmla="*/ 2447 h 10158"/>
                  <a:gd name="connsiteX8" fmla="*/ 3497 w 10000"/>
                  <a:gd name="connsiteY8" fmla="*/ 2625 h 10158"/>
                  <a:gd name="connsiteX9" fmla="*/ 2784 w 10000"/>
                  <a:gd name="connsiteY9" fmla="*/ 3136 h 10158"/>
                  <a:gd name="connsiteX10" fmla="*/ 1958 w 10000"/>
                  <a:gd name="connsiteY10" fmla="*/ 4002 h 10158"/>
                  <a:gd name="connsiteX11" fmla="*/ 1508 w 10000"/>
                  <a:gd name="connsiteY11" fmla="*/ 3091 h 10158"/>
                  <a:gd name="connsiteX12" fmla="*/ 1845 w 10000"/>
                  <a:gd name="connsiteY12" fmla="*/ 2491 h 10158"/>
                  <a:gd name="connsiteX13" fmla="*/ 1996 w 10000"/>
                  <a:gd name="connsiteY13" fmla="*/ 2314 h 10158"/>
                  <a:gd name="connsiteX14" fmla="*/ 2559 w 10000"/>
                  <a:gd name="connsiteY14" fmla="*/ 1802 h 10158"/>
                  <a:gd name="connsiteX15" fmla="*/ 3685 w 10000"/>
                  <a:gd name="connsiteY15" fmla="*/ 825 h 10158"/>
                  <a:gd name="connsiteX16" fmla="*/ 4473 w 10000"/>
                  <a:gd name="connsiteY16" fmla="*/ 447 h 10158"/>
                  <a:gd name="connsiteX17" fmla="*/ 4473 w 10000"/>
                  <a:gd name="connsiteY17" fmla="*/ 380 h 10158"/>
                  <a:gd name="connsiteX18" fmla="*/ 4247 w 10000"/>
                  <a:gd name="connsiteY18" fmla="*/ 358 h 10158"/>
                  <a:gd name="connsiteX19" fmla="*/ 3497 w 10000"/>
                  <a:gd name="connsiteY19" fmla="*/ 491 h 10158"/>
                  <a:gd name="connsiteX20" fmla="*/ 2146 w 10000"/>
                  <a:gd name="connsiteY20" fmla="*/ 1047 h 10158"/>
                  <a:gd name="connsiteX21" fmla="*/ 1508 w 10000"/>
                  <a:gd name="connsiteY21" fmla="*/ 1936 h 10158"/>
                  <a:gd name="connsiteX22" fmla="*/ 1020 w 10000"/>
                  <a:gd name="connsiteY22" fmla="*/ 4202 h 10158"/>
                  <a:gd name="connsiteX23" fmla="*/ 1020 w 10000"/>
                  <a:gd name="connsiteY23" fmla="*/ 4714 h 10158"/>
                  <a:gd name="connsiteX24" fmla="*/ 570 w 10000"/>
                  <a:gd name="connsiteY24" fmla="*/ 5914 h 10158"/>
                  <a:gd name="connsiteX25" fmla="*/ 382 w 10000"/>
                  <a:gd name="connsiteY25" fmla="*/ 6602 h 10158"/>
                  <a:gd name="connsiteX26" fmla="*/ 6 w 10000"/>
                  <a:gd name="connsiteY26" fmla="*/ 8269 h 10158"/>
                  <a:gd name="connsiteX27" fmla="*/ 119 w 10000"/>
                  <a:gd name="connsiteY27" fmla="*/ 9114 h 10158"/>
                  <a:gd name="connsiteX28" fmla="*/ 157 w 10000"/>
                  <a:gd name="connsiteY28" fmla="*/ 9091 h 10158"/>
                  <a:gd name="connsiteX29" fmla="*/ 1283 w 10000"/>
                  <a:gd name="connsiteY29" fmla="*/ 8758 h 10158"/>
                  <a:gd name="connsiteX30" fmla="*/ 1471 w 10000"/>
                  <a:gd name="connsiteY30" fmla="*/ 8691 h 10158"/>
                  <a:gd name="connsiteX31" fmla="*/ 1620 w 10000"/>
                  <a:gd name="connsiteY31" fmla="*/ 8380 h 10158"/>
                  <a:gd name="connsiteX32" fmla="*/ 1733 w 10000"/>
                  <a:gd name="connsiteY32" fmla="*/ 9002 h 10158"/>
                  <a:gd name="connsiteX33" fmla="*/ 1658 w 10000"/>
                  <a:gd name="connsiteY33" fmla="*/ 9180 h 10158"/>
                  <a:gd name="connsiteX34" fmla="*/ 1583 w 10000"/>
                  <a:gd name="connsiteY34" fmla="*/ 9669 h 10158"/>
                  <a:gd name="connsiteX35" fmla="*/ 2446 w 10000"/>
                  <a:gd name="connsiteY35" fmla="*/ 10158 h 10158"/>
                  <a:gd name="connsiteX36" fmla="*/ 2446 w 10000"/>
                  <a:gd name="connsiteY36" fmla="*/ 10114 h 10158"/>
                  <a:gd name="connsiteX37" fmla="*/ 2759 w 10000"/>
                  <a:gd name="connsiteY37" fmla="*/ 10069 h 10158"/>
                  <a:gd name="connsiteX38" fmla="*/ 3824 w 10000"/>
                  <a:gd name="connsiteY38" fmla="*/ 9471 h 10158"/>
                  <a:gd name="connsiteX39" fmla="*/ 6499 w 10000"/>
                  <a:gd name="connsiteY39" fmla="*/ 9376 h 10158"/>
                  <a:gd name="connsiteX40" fmla="*/ 9259 w 10000"/>
                  <a:gd name="connsiteY40" fmla="*/ 8843 h 10158"/>
                  <a:gd name="connsiteX41" fmla="*/ 8788 w 10000"/>
                  <a:gd name="connsiteY41" fmla="*/ 8136 h 10158"/>
                  <a:gd name="connsiteX42" fmla="*/ 8301 w 10000"/>
                  <a:gd name="connsiteY42" fmla="*/ 6802 h 10158"/>
                  <a:gd name="connsiteX43" fmla="*/ 9652 w 10000"/>
                  <a:gd name="connsiteY43" fmla="*/ 4247 h 10158"/>
                  <a:gd name="connsiteX0" fmla="*/ 9652 w 10000"/>
                  <a:gd name="connsiteY0" fmla="*/ 4285 h 10196"/>
                  <a:gd name="connsiteX1" fmla="*/ 9728 w 10000"/>
                  <a:gd name="connsiteY1" fmla="*/ 1596 h 10196"/>
                  <a:gd name="connsiteX2" fmla="*/ 9464 w 10000"/>
                  <a:gd name="connsiteY2" fmla="*/ 1240 h 10196"/>
                  <a:gd name="connsiteX3" fmla="*/ 7850 w 10000"/>
                  <a:gd name="connsiteY3" fmla="*/ 55 h 10196"/>
                  <a:gd name="connsiteX4" fmla="*/ 7493 w 10000"/>
                  <a:gd name="connsiteY4" fmla="*/ 307 h 10196"/>
                  <a:gd name="connsiteX5" fmla="*/ 5673 w 10000"/>
                  <a:gd name="connsiteY5" fmla="*/ 1307 h 10196"/>
                  <a:gd name="connsiteX6" fmla="*/ 3760 w 10000"/>
                  <a:gd name="connsiteY6" fmla="*/ 2485 h 10196"/>
                  <a:gd name="connsiteX7" fmla="*/ 3497 w 10000"/>
                  <a:gd name="connsiteY7" fmla="*/ 2663 h 10196"/>
                  <a:gd name="connsiteX8" fmla="*/ 2784 w 10000"/>
                  <a:gd name="connsiteY8" fmla="*/ 3174 h 10196"/>
                  <a:gd name="connsiteX9" fmla="*/ 1958 w 10000"/>
                  <a:gd name="connsiteY9" fmla="*/ 4040 h 10196"/>
                  <a:gd name="connsiteX10" fmla="*/ 1508 w 10000"/>
                  <a:gd name="connsiteY10" fmla="*/ 3129 h 10196"/>
                  <a:gd name="connsiteX11" fmla="*/ 1845 w 10000"/>
                  <a:gd name="connsiteY11" fmla="*/ 2529 h 10196"/>
                  <a:gd name="connsiteX12" fmla="*/ 1996 w 10000"/>
                  <a:gd name="connsiteY12" fmla="*/ 2352 h 10196"/>
                  <a:gd name="connsiteX13" fmla="*/ 2559 w 10000"/>
                  <a:gd name="connsiteY13" fmla="*/ 1840 h 10196"/>
                  <a:gd name="connsiteX14" fmla="*/ 3685 w 10000"/>
                  <a:gd name="connsiteY14" fmla="*/ 863 h 10196"/>
                  <a:gd name="connsiteX15" fmla="*/ 4473 w 10000"/>
                  <a:gd name="connsiteY15" fmla="*/ 485 h 10196"/>
                  <a:gd name="connsiteX16" fmla="*/ 4473 w 10000"/>
                  <a:gd name="connsiteY16" fmla="*/ 418 h 10196"/>
                  <a:gd name="connsiteX17" fmla="*/ 4247 w 10000"/>
                  <a:gd name="connsiteY17" fmla="*/ 396 h 10196"/>
                  <a:gd name="connsiteX18" fmla="*/ 3497 w 10000"/>
                  <a:gd name="connsiteY18" fmla="*/ 529 h 10196"/>
                  <a:gd name="connsiteX19" fmla="*/ 2146 w 10000"/>
                  <a:gd name="connsiteY19" fmla="*/ 1085 h 10196"/>
                  <a:gd name="connsiteX20" fmla="*/ 1508 w 10000"/>
                  <a:gd name="connsiteY20" fmla="*/ 1974 h 10196"/>
                  <a:gd name="connsiteX21" fmla="*/ 1020 w 10000"/>
                  <a:gd name="connsiteY21" fmla="*/ 4240 h 10196"/>
                  <a:gd name="connsiteX22" fmla="*/ 1020 w 10000"/>
                  <a:gd name="connsiteY22" fmla="*/ 4752 h 10196"/>
                  <a:gd name="connsiteX23" fmla="*/ 570 w 10000"/>
                  <a:gd name="connsiteY23" fmla="*/ 5952 h 10196"/>
                  <a:gd name="connsiteX24" fmla="*/ 382 w 10000"/>
                  <a:gd name="connsiteY24" fmla="*/ 6640 h 10196"/>
                  <a:gd name="connsiteX25" fmla="*/ 6 w 10000"/>
                  <a:gd name="connsiteY25" fmla="*/ 8307 h 10196"/>
                  <a:gd name="connsiteX26" fmla="*/ 119 w 10000"/>
                  <a:gd name="connsiteY26" fmla="*/ 9152 h 10196"/>
                  <a:gd name="connsiteX27" fmla="*/ 157 w 10000"/>
                  <a:gd name="connsiteY27" fmla="*/ 9129 h 10196"/>
                  <a:gd name="connsiteX28" fmla="*/ 1283 w 10000"/>
                  <a:gd name="connsiteY28" fmla="*/ 8796 h 10196"/>
                  <a:gd name="connsiteX29" fmla="*/ 1471 w 10000"/>
                  <a:gd name="connsiteY29" fmla="*/ 8729 h 10196"/>
                  <a:gd name="connsiteX30" fmla="*/ 1620 w 10000"/>
                  <a:gd name="connsiteY30" fmla="*/ 8418 h 10196"/>
                  <a:gd name="connsiteX31" fmla="*/ 1733 w 10000"/>
                  <a:gd name="connsiteY31" fmla="*/ 9040 h 10196"/>
                  <a:gd name="connsiteX32" fmla="*/ 1658 w 10000"/>
                  <a:gd name="connsiteY32" fmla="*/ 9218 h 10196"/>
                  <a:gd name="connsiteX33" fmla="*/ 1583 w 10000"/>
                  <a:gd name="connsiteY33" fmla="*/ 9707 h 10196"/>
                  <a:gd name="connsiteX34" fmla="*/ 2446 w 10000"/>
                  <a:gd name="connsiteY34" fmla="*/ 10196 h 10196"/>
                  <a:gd name="connsiteX35" fmla="*/ 2446 w 10000"/>
                  <a:gd name="connsiteY35" fmla="*/ 10152 h 10196"/>
                  <a:gd name="connsiteX36" fmla="*/ 2759 w 10000"/>
                  <a:gd name="connsiteY36" fmla="*/ 10107 h 10196"/>
                  <a:gd name="connsiteX37" fmla="*/ 3824 w 10000"/>
                  <a:gd name="connsiteY37" fmla="*/ 9509 h 10196"/>
                  <a:gd name="connsiteX38" fmla="*/ 6499 w 10000"/>
                  <a:gd name="connsiteY38" fmla="*/ 9414 h 10196"/>
                  <a:gd name="connsiteX39" fmla="*/ 9259 w 10000"/>
                  <a:gd name="connsiteY39" fmla="*/ 8881 h 10196"/>
                  <a:gd name="connsiteX40" fmla="*/ 8788 w 10000"/>
                  <a:gd name="connsiteY40" fmla="*/ 8174 h 10196"/>
                  <a:gd name="connsiteX41" fmla="*/ 8301 w 10000"/>
                  <a:gd name="connsiteY41" fmla="*/ 6840 h 10196"/>
                  <a:gd name="connsiteX42" fmla="*/ 9652 w 10000"/>
                  <a:gd name="connsiteY42" fmla="*/ 4285 h 10196"/>
                  <a:gd name="connsiteX0" fmla="*/ 9652 w 10000"/>
                  <a:gd name="connsiteY0" fmla="*/ 4238 h 10149"/>
                  <a:gd name="connsiteX1" fmla="*/ 9728 w 10000"/>
                  <a:gd name="connsiteY1" fmla="*/ 1549 h 10149"/>
                  <a:gd name="connsiteX2" fmla="*/ 9464 w 10000"/>
                  <a:gd name="connsiteY2" fmla="*/ 1193 h 10149"/>
                  <a:gd name="connsiteX3" fmla="*/ 7993 w 10000"/>
                  <a:gd name="connsiteY3" fmla="*/ 64 h 10149"/>
                  <a:gd name="connsiteX4" fmla="*/ 7493 w 10000"/>
                  <a:gd name="connsiteY4" fmla="*/ 260 h 10149"/>
                  <a:gd name="connsiteX5" fmla="*/ 5673 w 10000"/>
                  <a:gd name="connsiteY5" fmla="*/ 1260 h 10149"/>
                  <a:gd name="connsiteX6" fmla="*/ 3760 w 10000"/>
                  <a:gd name="connsiteY6" fmla="*/ 2438 h 10149"/>
                  <a:gd name="connsiteX7" fmla="*/ 3497 w 10000"/>
                  <a:gd name="connsiteY7" fmla="*/ 2616 h 10149"/>
                  <a:gd name="connsiteX8" fmla="*/ 2784 w 10000"/>
                  <a:gd name="connsiteY8" fmla="*/ 3127 h 10149"/>
                  <a:gd name="connsiteX9" fmla="*/ 1958 w 10000"/>
                  <a:gd name="connsiteY9" fmla="*/ 3993 h 10149"/>
                  <a:gd name="connsiteX10" fmla="*/ 1508 w 10000"/>
                  <a:gd name="connsiteY10" fmla="*/ 3082 h 10149"/>
                  <a:gd name="connsiteX11" fmla="*/ 1845 w 10000"/>
                  <a:gd name="connsiteY11" fmla="*/ 2482 h 10149"/>
                  <a:gd name="connsiteX12" fmla="*/ 1996 w 10000"/>
                  <a:gd name="connsiteY12" fmla="*/ 2305 h 10149"/>
                  <a:gd name="connsiteX13" fmla="*/ 2559 w 10000"/>
                  <a:gd name="connsiteY13" fmla="*/ 1793 h 10149"/>
                  <a:gd name="connsiteX14" fmla="*/ 3685 w 10000"/>
                  <a:gd name="connsiteY14" fmla="*/ 816 h 10149"/>
                  <a:gd name="connsiteX15" fmla="*/ 4473 w 10000"/>
                  <a:gd name="connsiteY15" fmla="*/ 438 h 10149"/>
                  <a:gd name="connsiteX16" fmla="*/ 4473 w 10000"/>
                  <a:gd name="connsiteY16" fmla="*/ 371 h 10149"/>
                  <a:gd name="connsiteX17" fmla="*/ 4247 w 10000"/>
                  <a:gd name="connsiteY17" fmla="*/ 349 h 10149"/>
                  <a:gd name="connsiteX18" fmla="*/ 3497 w 10000"/>
                  <a:gd name="connsiteY18" fmla="*/ 482 h 10149"/>
                  <a:gd name="connsiteX19" fmla="*/ 2146 w 10000"/>
                  <a:gd name="connsiteY19" fmla="*/ 1038 h 10149"/>
                  <a:gd name="connsiteX20" fmla="*/ 1508 w 10000"/>
                  <a:gd name="connsiteY20" fmla="*/ 1927 h 10149"/>
                  <a:gd name="connsiteX21" fmla="*/ 1020 w 10000"/>
                  <a:gd name="connsiteY21" fmla="*/ 4193 h 10149"/>
                  <a:gd name="connsiteX22" fmla="*/ 1020 w 10000"/>
                  <a:gd name="connsiteY22" fmla="*/ 4705 h 10149"/>
                  <a:gd name="connsiteX23" fmla="*/ 570 w 10000"/>
                  <a:gd name="connsiteY23" fmla="*/ 5905 h 10149"/>
                  <a:gd name="connsiteX24" fmla="*/ 382 w 10000"/>
                  <a:gd name="connsiteY24" fmla="*/ 6593 h 10149"/>
                  <a:gd name="connsiteX25" fmla="*/ 6 w 10000"/>
                  <a:gd name="connsiteY25" fmla="*/ 8260 h 10149"/>
                  <a:gd name="connsiteX26" fmla="*/ 119 w 10000"/>
                  <a:gd name="connsiteY26" fmla="*/ 9105 h 10149"/>
                  <a:gd name="connsiteX27" fmla="*/ 157 w 10000"/>
                  <a:gd name="connsiteY27" fmla="*/ 9082 h 10149"/>
                  <a:gd name="connsiteX28" fmla="*/ 1283 w 10000"/>
                  <a:gd name="connsiteY28" fmla="*/ 8749 h 10149"/>
                  <a:gd name="connsiteX29" fmla="*/ 1471 w 10000"/>
                  <a:gd name="connsiteY29" fmla="*/ 8682 h 10149"/>
                  <a:gd name="connsiteX30" fmla="*/ 1620 w 10000"/>
                  <a:gd name="connsiteY30" fmla="*/ 8371 h 10149"/>
                  <a:gd name="connsiteX31" fmla="*/ 1733 w 10000"/>
                  <a:gd name="connsiteY31" fmla="*/ 8993 h 10149"/>
                  <a:gd name="connsiteX32" fmla="*/ 1658 w 10000"/>
                  <a:gd name="connsiteY32" fmla="*/ 9171 h 10149"/>
                  <a:gd name="connsiteX33" fmla="*/ 1583 w 10000"/>
                  <a:gd name="connsiteY33" fmla="*/ 9660 h 10149"/>
                  <a:gd name="connsiteX34" fmla="*/ 2446 w 10000"/>
                  <a:gd name="connsiteY34" fmla="*/ 10149 h 10149"/>
                  <a:gd name="connsiteX35" fmla="*/ 2446 w 10000"/>
                  <a:gd name="connsiteY35" fmla="*/ 10105 h 10149"/>
                  <a:gd name="connsiteX36" fmla="*/ 2759 w 10000"/>
                  <a:gd name="connsiteY36" fmla="*/ 10060 h 10149"/>
                  <a:gd name="connsiteX37" fmla="*/ 3824 w 10000"/>
                  <a:gd name="connsiteY37" fmla="*/ 9462 h 10149"/>
                  <a:gd name="connsiteX38" fmla="*/ 6499 w 10000"/>
                  <a:gd name="connsiteY38" fmla="*/ 9367 h 10149"/>
                  <a:gd name="connsiteX39" fmla="*/ 9259 w 10000"/>
                  <a:gd name="connsiteY39" fmla="*/ 8834 h 10149"/>
                  <a:gd name="connsiteX40" fmla="*/ 8788 w 10000"/>
                  <a:gd name="connsiteY40" fmla="*/ 8127 h 10149"/>
                  <a:gd name="connsiteX41" fmla="*/ 8301 w 10000"/>
                  <a:gd name="connsiteY41" fmla="*/ 6793 h 10149"/>
                  <a:gd name="connsiteX42" fmla="*/ 9652 w 10000"/>
                  <a:gd name="connsiteY42" fmla="*/ 4238 h 10149"/>
                  <a:gd name="connsiteX0" fmla="*/ 9652 w 10000"/>
                  <a:gd name="connsiteY0" fmla="*/ 4250 h 10161"/>
                  <a:gd name="connsiteX1" fmla="*/ 9728 w 10000"/>
                  <a:gd name="connsiteY1" fmla="*/ 1561 h 10161"/>
                  <a:gd name="connsiteX2" fmla="*/ 9464 w 10000"/>
                  <a:gd name="connsiteY2" fmla="*/ 1205 h 10161"/>
                  <a:gd name="connsiteX3" fmla="*/ 7993 w 10000"/>
                  <a:gd name="connsiteY3" fmla="*/ 76 h 10161"/>
                  <a:gd name="connsiteX4" fmla="*/ 7493 w 10000"/>
                  <a:gd name="connsiteY4" fmla="*/ 272 h 10161"/>
                  <a:gd name="connsiteX5" fmla="*/ 5673 w 10000"/>
                  <a:gd name="connsiteY5" fmla="*/ 1272 h 10161"/>
                  <a:gd name="connsiteX6" fmla="*/ 3760 w 10000"/>
                  <a:gd name="connsiteY6" fmla="*/ 2450 h 10161"/>
                  <a:gd name="connsiteX7" fmla="*/ 3497 w 10000"/>
                  <a:gd name="connsiteY7" fmla="*/ 2628 h 10161"/>
                  <a:gd name="connsiteX8" fmla="*/ 2784 w 10000"/>
                  <a:gd name="connsiteY8" fmla="*/ 3139 h 10161"/>
                  <a:gd name="connsiteX9" fmla="*/ 1958 w 10000"/>
                  <a:gd name="connsiteY9" fmla="*/ 4005 h 10161"/>
                  <a:gd name="connsiteX10" fmla="*/ 1508 w 10000"/>
                  <a:gd name="connsiteY10" fmla="*/ 3094 h 10161"/>
                  <a:gd name="connsiteX11" fmla="*/ 1845 w 10000"/>
                  <a:gd name="connsiteY11" fmla="*/ 2494 h 10161"/>
                  <a:gd name="connsiteX12" fmla="*/ 1996 w 10000"/>
                  <a:gd name="connsiteY12" fmla="*/ 2317 h 10161"/>
                  <a:gd name="connsiteX13" fmla="*/ 2559 w 10000"/>
                  <a:gd name="connsiteY13" fmla="*/ 1805 h 10161"/>
                  <a:gd name="connsiteX14" fmla="*/ 3685 w 10000"/>
                  <a:gd name="connsiteY14" fmla="*/ 828 h 10161"/>
                  <a:gd name="connsiteX15" fmla="*/ 4473 w 10000"/>
                  <a:gd name="connsiteY15" fmla="*/ 450 h 10161"/>
                  <a:gd name="connsiteX16" fmla="*/ 4473 w 10000"/>
                  <a:gd name="connsiteY16" fmla="*/ 383 h 10161"/>
                  <a:gd name="connsiteX17" fmla="*/ 4247 w 10000"/>
                  <a:gd name="connsiteY17" fmla="*/ 361 h 10161"/>
                  <a:gd name="connsiteX18" fmla="*/ 3497 w 10000"/>
                  <a:gd name="connsiteY18" fmla="*/ 494 h 10161"/>
                  <a:gd name="connsiteX19" fmla="*/ 2146 w 10000"/>
                  <a:gd name="connsiteY19" fmla="*/ 1050 h 10161"/>
                  <a:gd name="connsiteX20" fmla="*/ 1508 w 10000"/>
                  <a:gd name="connsiteY20" fmla="*/ 1939 h 10161"/>
                  <a:gd name="connsiteX21" fmla="*/ 1020 w 10000"/>
                  <a:gd name="connsiteY21" fmla="*/ 4205 h 10161"/>
                  <a:gd name="connsiteX22" fmla="*/ 1020 w 10000"/>
                  <a:gd name="connsiteY22" fmla="*/ 4717 h 10161"/>
                  <a:gd name="connsiteX23" fmla="*/ 570 w 10000"/>
                  <a:gd name="connsiteY23" fmla="*/ 5917 h 10161"/>
                  <a:gd name="connsiteX24" fmla="*/ 382 w 10000"/>
                  <a:gd name="connsiteY24" fmla="*/ 6605 h 10161"/>
                  <a:gd name="connsiteX25" fmla="*/ 6 w 10000"/>
                  <a:gd name="connsiteY25" fmla="*/ 8272 h 10161"/>
                  <a:gd name="connsiteX26" fmla="*/ 119 w 10000"/>
                  <a:gd name="connsiteY26" fmla="*/ 9117 h 10161"/>
                  <a:gd name="connsiteX27" fmla="*/ 157 w 10000"/>
                  <a:gd name="connsiteY27" fmla="*/ 9094 h 10161"/>
                  <a:gd name="connsiteX28" fmla="*/ 1283 w 10000"/>
                  <a:gd name="connsiteY28" fmla="*/ 8761 h 10161"/>
                  <a:gd name="connsiteX29" fmla="*/ 1471 w 10000"/>
                  <a:gd name="connsiteY29" fmla="*/ 8694 h 10161"/>
                  <a:gd name="connsiteX30" fmla="*/ 1620 w 10000"/>
                  <a:gd name="connsiteY30" fmla="*/ 8383 h 10161"/>
                  <a:gd name="connsiteX31" fmla="*/ 1733 w 10000"/>
                  <a:gd name="connsiteY31" fmla="*/ 9005 h 10161"/>
                  <a:gd name="connsiteX32" fmla="*/ 1658 w 10000"/>
                  <a:gd name="connsiteY32" fmla="*/ 9183 h 10161"/>
                  <a:gd name="connsiteX33" fmla="*/ 1583 w 10000"/>
                  <a:gd name="connsiteY33" fmla="*/ 9672 h 10161"/>
                  <a:gd name="connsiteX34" fmla="*/ 2446 w 10000"/>
                  <a:gd name="connsiteY34" fmla="*/ 10161 h 10161"/>
                  <a:gd name="connsiteX35" fmla="*/ 2446 w 10000"/>
                  <a:gd name="connsiteY35" fmla="*/ 10117 h 10161"/>
                  <a:gd name="connsiteX36" fmla="*/ 2759 w 10000"/>
                  <a:gd name="connsiteY36" fmla="*/ 10072 h 10161"/>
                  <a:gd name="connsiteX37" fmla="*/ 3824 w 10000"/>
                  <a:gd name="connsiteY37" fmla="*/ 9474 h 10161"/>
                  <a:gd name="connsiteX38" fmla="*/ 6499 w 10000"/>
                  <a:gd name="connsiteY38" fmla="*/ 9379 h 10161"/>
                  <a:gd name="connsiteX39" fmla="*/ 9259 w 10000"/>
                  <a:gd name="connsiteY39" fmla="*/ 8846 h 10161"/>
                  <a:gd name="connsiteX40" fmla="*/ 8788 w 10000"/>
                  <a:gd name="connsiteY40" fmla="*/ 8139 h 10161"/>
                  <a:gd name="connsiteX41" fmla="*/ 8301 w 10000"/>
                  <a:gd name="connsiteY41" fmla="*/ 6805 h 10161"/>
                  <a:gd name="connsiteX42" fmla="*/ 9652 w 10000"/>
                  <a:gd name="connsiteY42" fmla="*/ 4250 h 10161"/>
                  <a:gd name="connsiteX0" fmla="*/ 9652 w 10000"/>
                  <a:gd name="connsiteY0" fmla="*/ 4346 h 10257"/>
                  <a:gd name="connsiteX1" fmla="*/ 9728 w 10000"/>
                  <a:gd name="connsiteY1" fmla="*/ 1657 h 10257"/>
                  <a:gd name="connsiteX2" fmla="*/ 9464 w 10000"/>
                  <a:gd name="connsiteY2" fmla="*/ 1301 h 10257"/>
                  <a:gd name="connsiteX3" fmla="*/ 7850 w 10000"/>
                  <a:gd name="connsiteY3" fmla="*/ 59 h 10257"/>
                  <a:gd name="connsiteX4" fmla="*/ 7493 w 10000"/>
                  <a:gd name="connsiteY4" fmla="*/ 368 h 10257"/>
                  <a:gd name="connsiteX5" fmla="*/ 5673 w 10000"/>
                  <a:gd name="connsiteY5" fmla="*/ 1368 h 10257"/>
                  <a:gd name="connsiteX6" fmla="*/ 3760 w 10000"/>
                  <a:gd name="connsiteY6" fmla="*/ 2546 h 10257"/>
                  <a:gd name="connsiteX7" fmla="*/ 3497 w 10000"/>
                  <a:gd name="connsiteY7" fmla="*/ 2724 h 10257"/>
                  <a:gd name="connsiteX8" fmla="*/ 2784 w 10000"/>
                  <a:gd name="connsiteY8" fmla="*/ 3235 h 10257"/>
                  <a:gd name="connsiteX9" fmla="*/ 1958 w 10000"/>
                  <a:gd name="connsiteY9" fmla="*/ 4101 h 10257"/>
                  <a:gd name="connsiteX10" fmla="*/ 1508 w 10000"/>
                  <a:gd name="connsiteY10" fmla="*/ 3190 h 10257"/>
                  <a:gd name="connsiteX11" fmla="*/ 1845 w 10000"/>
                  <a:gd name="connsiteY11" fmla="*/ 2590 h 10257"/>
                  <a:gd name="connsiteX12" fmla="*/ 1996 w 10000"/>
                  <a:gd name="connsiteY12" fmla="*/ 2413 h 10257"/>
                  <a:gd name="connsiteX13" fmla="*/ 2559 w 10000"/>
                  <a:gd name="connsiteY13" fmla="*/ 1901 h 10257"/>
                  <a:gd name="connsiteX14" fmla="*/ 3685 w 10000"/>
                  <a:gd name="connsiteY14" fmla="*/ 924 h 10257"/>
                  <a:gd name="connsiteX15" fmla="*/ 4473 w 10000"/>
                  <a:gd name="connsiteY15" fmla="*/ 546 h 10257"/>
                  <a:gd name="connsiteX16" fmla="*/ 4473 w 10000"/>
                  <a:gd name="connsiteY16" fmla="*/ 479 h 10257"/>
                  <a:gd name="connsiteX17" fmla="*/ 4247 w 10000"/>
                  <a:gd name="connsiteY17" fmla="*/ 457 h 10257"/>
                  <a:gd name="connsiteX18" fmla="*/ 3497 w 10000"/>
                  <a:gd name="connsiteY18" fmla="*/ 590 h 10257"/>
                  <a:gd name="connsiteX19" fmla="*/ 2146 w 10000"/>
                  <a:gd name="connsiteY19" fmla="*/ 1146 h 10257"/>
                  <a:gd name="connsiteX20" fmla="*/ 1508 w 10000"/>
                  <a:gd name="connsiteY20" fmla="*/ 2035 h 10257"/>
                  <a:gd name="connsiteX21" fmla="*/ 1020 w 10000"/>
                  <a:gd name="connsiteY21" fmla="*/ 4301 h 10257"/>
                  <a:gd name="connsiteX22" fmla="*/ 1020 w 10000"/>
                  <a:gd name="connsiteY22" fmla="*/ 4813 h 10257"/>
                  <a:gd name="connsiteX23" fmla="*/ 570 w 10000"/>
                  <a:gd name="connsiteY23" fmla="*/ 6013 h 10257"/>
                  <a:gd name="connsiteX24" fmla="*/ 382 w 10000"/>
                  <a:gd name="connsiteY24" fmla="*/ 6701 h 10257"/>
                  <a:gd name="connsiteX25" fmla="*/ 6 w 10000"/>
                  <a:gd name="connsiteY25" fmla="*/ 8368 h 10257"/>
                  <a:gd name="connsiteX26" fmla="*/ 119 w 10000"/>
                  <a:gd name="connsiteY26" fmla="*/ 9213 h 10257"/>
                  <a:gd name="connsiteX27" fmla="*/ 157 w 10000"/>
                  <a:gd name="connsiteY27" fmla="*/ 9190 h 10257"/>
                  <a:gd name="connsiteX28" fmla="*/ 1283 w 10000"/>
                  <a:gd name="connsiteY28" fmla="*/ 8857 h 10257"/>
                  <a:gd name="connsiteX29" fmla="*/ 1471 w 10000"/>
                  <a:gd name="connsiteY29" fmla="*/ 8790 h 10257"/>
                  <a:gd name="connsiteX30" fmla="*/ 1620 w 10000"/>
                  <a:gd name="connsiteY30" fmla="*/ 8479 h 10257"/>
                  <a:gd name="connsiteX31" fmla="*/ 1733 w 10000"/>
                  <a:gd name="connsiteY31" fmla="*/ 9101 h 10257"/>
                  <a:gd name="connsiteX32" fmla="*/ 1658 w 10000"/>
                  <a:gd name="connsiteY32" fmla="*/ 9279 h 10257"/>
                  <a:gd name="connsiteX33" fmla="*/ 1583 w 10000"/>
                  <a:gd name="connsiteY33" fmla="*/ 9768 h 10257"/>
                  <a:gd name="connsiteX34" fmla="*/ 2446 w 10000"/>
                  <a:gd name="connsiteY34" fmla="*/ 10257 h 10257"/>
                  <a:gd name="connsiteX35" fmla="*/ 2446 w 10000"/>
                  <a:gd name="connsiteY35" fmla="*/ 10213 h 10257"/>
                  <a:gd name="connsiteX36" fmla="*/ 2759 w 10000"/>
                  <a:gd name="connsiteY36" fmla="*/ 10168 h 10257"/>
                  <a:gd name="connsiteX37" fmla="*/ 3824 w 10000"/>
                  <a:gd name="connsiteY37" fmla="*/ 9570 h 10257"/>
                  <a:gd name="connsiteX38" fmla="*/ 6499 w 10000"/>
                  <a:gd name="connsiteY38" fmla="*/ 9475 h 10257"/>
                  <a:gd name="connsiteX39" fmla="*/ 9259 w 10000"/>
                  <a:gd name="connsiteY39" fmla="*/ 8942 h 10257"/>
                  <a:gd name="connsiteX40" fmla="*/ 8788 w 10000"/>
                  <a:gd name="connsiteY40" fmla="*/ 8235 h 10257"/>
                  <a:gd name="connsiteX41" fmla="*/ 8301 w 10000"/>
                  <a:gd name="connsiteY41" fmla="*/ 6901 h 10257"/>
                  <a:gd name="connsiteX42" fmla="*/ 9652 w 10000"/>
                  <a:gd name="connsiteY42" fmla="*/ 4346 h 10257"/>
                  <a:gd name="connsiteX0" fmla="*/ 9652 w 10000"/>
                  <a:gd name="connsiteY0" fmla="*/ 4288 h 10199"/>
                  <a:gd name="connsiteX1" fmla="*/ 9728 w 10000"/>
                  <a:gd name="connsiteY1" fmla="*/ 1599 h 10199"/>
                  <a:gd name="connsiteX2" fmla="*/ 9464 w 10000"/>
                  <a:gd name="connsiteY2" fmla="*/ 1243 h 10199"/>
                  <a:gd name="connsiteX3" fmla="*/ 7850 w 10000"/>
                  <a:gd name="connsiteY3" fmla="*/ 1 h 10199"/>
                  <a:gd name="connsiteX4" fmla="*/ 7493 w 10000"/>
                  <a:gd name="connsiteY4" fmla="*/ 310 h 10199"/>
                  <a:gd name="connsiteX5" fmla="*/ 5673 w 10000"/>
                  <a:gd name="connsiteY5" fmla="*/ 1310 h 10199"/>
                  <a:gd name="connsiteX6" fmla="*/ 3760 w 10000"/>
                  <a:gd name="connsiteY6" fmla="*/ 2488 h 10199"/>
                  <a:gd name="connsiteX7" fmla="*/ 3497 w 10000"/>
                  <a:gd name="connsiteY7" fmla="*/ 2666 h 10199"/>
                  <a:gd name="connsiteX8" fmla="*/ 2784 w 10000"/>
                  <a:gd name="connsiteY8" fmla="*/ 3177 h 10199"/>
                  <a:gd name="connsiteX9" fmla="*/ 1958 w 10000"/>
                  <a:gd name="connsiteY9" fmla="*/ 4043 h 10199"/>
                  <a:gd name="connsiteX10" fmla="*/ 1508 w 10000"/>
                  <a:gd name="connsiteY10" fmla="*/ 3132 h 10199"/>
                  <a:gd name="connsiteX11" fmla="*/ 1845 w 10000"/>
                  <a:gd name="connsiteY11" fmla="*/ 2532 h 10199"/>
                  <a:gd name="connsiteX12" fmla="*/ 1996 w 10000"/>
                  <a:gd name="connsiteY12" fmla="*/ 2355 h 10199"/>
                  <a:gd name="connsiteX13" fmla="*/ 2559 w 10000"/>
                  <a:gd name="connsiteY13" fmla="*/ 1843 h 10199"/>
                  <a:gd name="connsiteX14" fmla="*/ 3685 w 10000"/>
                  <a:gd name="connsiteY14" fmla="*/ 866 h 10199"/>
                  <a:gd name="connsiteX15" fmla="*/ 4473 w 10000"/>
                  <a:gd name="connsiteY15" fmla="*/ 488 h 10199"/>
                  <a:gd name="connsiteX16" fmla="*/ 4473 w 10000"/>
                  <a:gd name="connsiteY16" fmla="*/ 421 h 10199"/>
                  <a:gd name="connsiteX17" fmla="*/ 4247 w 10000"/>
                  <a:gd name="connsiteY17" fmla="*/ 399 h 10199"/>
                  <a:gd name="connsiteX18" fmla="*/ 3497 w 10000"/>
                  <a:gd name="connsiteY18" fmla="*/ 532 h 10199"/>
                  <a:gd name="connsiteX19" fmla="*/ 2146 w 10000"/>
                  <a:gd name="connsiteY19" fmla="*/ 1088 h 10199"/>
                  <a:gd name="connsiteX20" fmla="*/ 1508 w 10000"/>
                  <a:gd name="connsiteY20" fmla="*/ 1977 h 10199"/>
                  <a:gd name="connsiteX21" fmla="*/ 1020 w 10000"/>
                  <a:gd name="connsiteY21" fmla="*/ 4243 h 10199"/>
                  <a:gd name="connsiteX22" fmla="*/ 1020 w 10000"/>
                  <a:gd name="connsiteY22" fmla="*/ 4755 h 10199"/>
                  <a:gd name="connsiteX23" fmla="*/ 570 w 10000"/>
                  <a:gd name="connsiteY23" fmla="*/ 5955 h 10199"/>
                  <a:gd name="connsiteX24" fmla="*/ 382 w 10000"/>
                  <a:gd name="connsiteY24" fmla="*/ 6643 h 10199"/>
                  <a:gd name="connsiteX25" fmla="*/ 6 w 10000"/>
                  <a:gd name="connsiteY25" fmla="*/ 8310 h 10199"/>
                  <a:gd name="connsiteX26" fmla="*/ 119 w 10000"/>
                  <a:gd name="connsiteY26" fmla="*/ 9155 h 10199"/>
                  <a:gd name="connsiteX27" fmla="*/ 157 w 10000"/>
                  <a:gd name="connsiteY27" fmla="*/ 9132 h 10199"/>
                  <a:gd name="connsiteX28" fmla="*/ 1283 w 10000"/>
                  <a:gd name="connsiteY28" fmla="*/ 8799 h 10199"/>
                  <a:gd name="connsiteX29" fmla="*/ 1471 w 10000"/>
                  <a:gd name="connsiteY29" fmla="*/ 8732 h 10199"/>
                  <a:gd name="connsiteX30" fmla="*/ 1620 w 10000"/>
                  <a:gd name="connsiteY30" fmla="*/ 8421 h 10199"/>
                  <a:gd name="connsiteX31" fmla="*/ 1733 w 10000"/>
                  <a:gd name="connsiteY31" fmla="*/ 9043 h 10199"/>
                  <a:gd name="connsiteX32" fmla="*/ 1658 w 10000"/>
                  <a:gd name="connsiteY32" fmla="*/ 9221 h 10199"/>
                  <a:gd name="connsiteX33" fmla="*/ 1583 w 10000"/>
                  <a:gd name="connsiteY33" fmla="*/ 9710 h 10199"/>
                  <a:gd name="connsiteX34" fmla="*/ 2446 w 10000"/>
                  <a:gd name="connsiteY34" fmla="*/ 10199 h 10199"/>
                  <a:gd name="connsiteX35" fmla="*/ 2446 w 10000"/>
                  <a:gd name="connsiteY35" fmla="*/ 10155 h 10199"/>
                  <a:gd name="connsiteX36" fmla="*/ 2759 w 10000"/>
                  <a:gd name="connsiteY36" fmla="*/ 10110 h 10199"/>
                  <a:gd name="connsiteX37" fmla="*/ 3824 w 10000"/>
                  <a:gd name="connsiteY37" fmla="*/ 9512 h 10199"/>
                  <a:gd name="connsiteX38" fmla="*/ 6499 w 10000"/>
                  <a:gd name="connsiteY38" fmla="*/ 9417 h 10199"/>
                  <a:gd name="connsiteX39" fmla="*/ 9259 w 10000"/>
                  <a:gd name="connsiteY39" fmla="*/ 8884 h 10199"/>
                  <a:gd name="connsiteX40" fmla="*/ 8788 w 10000"/>
                  <a:gd name="connsiteY40" fmla="*/ 8177 h 10199"/>
                  <a:gd name="connsiteX41" fmla="*/ 8301 w 10000"/>
                  <a:gd name="connsiteY41" fmla="*/ 6843 h 10199"/>
                  <a:gd name="connsiteX42" fmla="*/ 9652 w 10000"/>
                  <a:gd name="connsiteY42" fmla="*/ 4288 h 10199"/>
                  <a:gd name="connsiteX0" fmla="*/ 9652 w 10000"/>
                  <a:gd name="connsiteY0" fmla="*/ 4312 h 10223"/>
                  <a:gd name="connsiteX1" fmla="*/ 9728 w 10000"/>
                  <a:gd name="connsiteY1" fmla="*/ 1623 h 10223"/>
                  <a:gd name="connsiteX2" fmla="*/ 9464 w 10000"/>
                  <a:gd name="connsiteY2" fmla="*/ 1267 h 10223"/>
                  <a:gd name="connsiteX3" fmla="*/ 7850 w 10000"/>
                  <a:gd name="connsiteY3" fmla="*/ 25 h 10223"/>
                  <a:gd name="connsiteX4" fmla="*/ 7160 w 10000"/>
                  <a:gd name="connsiteY4" fmla="*/ 503 h 10223"/>
                  <a:gd name="connsiteX5" fmla="*/ 5673 w 10000"/>
                  <a:gd name="connsiteY5" fmla="*/ 1334 h 10223"/>
                  <a:gd name="connsiteX6" fmla="*/ 3760 w 10000"/>
                  <a:gd name="connsiteY6" fmla="*/ 2512 h 10223"/>
                  <a:gd name="connsiteX7" fmla="*/ 3497 w 10000"/>
                  <a:gd name="connsiteY7" fmla="*/ 2690 h 10223"/>
                  <a:gd name="connsiteX8" fmla="*/ 2784 w 10000"/>
                  <a:gd name="connsiteY8" fmla="*/ 3201 h 10223"/>
                  <a:gd name="connsiteX9" fmla="*/ 1958 w 10000"/>
                  <a:gd name="connsiteY9" fmla="*/ 4067 h 10223"/>
                  <a:gd name="connsiteX10" fmla="*/ 1508 w 10000"/>
                  <a:gd name="connsiteY10" fmla="*/ 3156 h 10223"/>
                  <a:gd name="connsiteX11" fmla="*/ 1845 w 10000"/>
                  <a:gd name="connsiteY11" fmla="*/ 2556 h 10223"/>
                  <a:gd name="connsiteX12" fmla="*/ 1996 w 10000"/>
                  <a:gd name="connsiteY12" fmla="*/ 2379 h 10223"/>
                  <a:gd name="connsiteX13" fmla="*/ 2559 w 10000"/>
                  <a:gd name="connsiteY13" fmla="*/ 1867 h 10223"/>
                  <a:gd name="connsiteX14" fmla="*/ 3685 w 10000"/>
                  <a:gd name="connsiteY14" fmla="*/ 890 h 10223"/>
                  <a:gd name="connsiteX15" fmla="*/ 4473 w 10000"/>
                  <a:gd name="connsiteY15" fmla="*/ 512 h 10223"/>
                  <a:gd name="connsiteX16" fmla="*/ 4473 w 10000"/>
                  <a:gd name="connsiteY16" fmla="*/ 445 h 10223"/>
                  <a:gd name="connsiteX17" fmla="*/ 4247 w 10000"/>
                  <a:gd name="connsiteY17" fmla="*/ 423 h 10223"/>
                  <a:gd name="connsiteX18" fmla="*/ 3497 w 10000"/>
                  <a:gd name="connsiteY18" fmla="*/ 556 h 10223"/>
                  <a:gd name="connsiteX19" fmla="*/ 2146 w 10000"/>
                  <a:gd name="connsiteY19" fmla="*/ 1112 h 10223"/>
                  <a:gd name="connsiteX20" fmla="*/ 1508 w 10000"/>
                  <a:gd name="connsiteY20" fmla="*/ 2001 h 10223"/>
                  <a:gd name="connsiteX21" fmla="*/ 1020 w 10000"/>
                  <a:gd name="connsiteY21" fmla="*/ 4267 h 10223"/>
                  <a:gd name="connsiteX22" fmla="*/ 1020 w 10000"/>
                  <a:gd name="connsiteY22" fmla="*/ 4779 h 10223"/>
                  <a:gd name="connsiteX23" fmla="*/ 570 w 10000"/>
                  <a:gd name="connsiteY23" fmla="*/ 5979 h 10223"/>
                  <a:gd name="connsiteX24" fmla="*/ 382 w 10000"/>
                  <a:gd name="connsiteY24" fmla="*/ 6667 h 10223"/>
                  <a:gd name="connsiteX25" fmla="*/ 6 w 10000"/>
                  <a:gd name="connsiteY25" fmla="*/ 8334 h 10223"/>
                  <a:gd name="connsiteX26" fmla="*/ 119 w 10000"/>
                  <a:gd name="connsiteY26" fmla="*/ 9179 h 10223"/>
                  <a:gd name="connsiteX27" fmla="*/ 157 w 10000"/>
                  <a:gd name="connsiteY27" fmla="*/ 9156 h 10223"/>
                  <a:gd name="connsiteX28" fmla="*/ 1283 w 10000"/>
                  <a:gd name="connsiteY28" fmla="*/ 8823 h 10223"/>
                  <a:gd name="connsiteX29" fmla="*/ 1471 w 10000"/>
                  <a:gd name="connsiteY29" fmla="*/ 8756 h 10223"/>
                  <a:gd name="connsiteX30" fmla="*/ 1620 w 10000"/>
                  <a:gd name="connsiteY30" fmla="*/ 8445 h 10223"/>
                  <a:gd name="connsiteX31" fmla="*/ 1733 w 10000"/>
                  <a:gd name="connsiteY31" fmla="*/ 9067 h 10223"/>
                  <a:gd name="connsiteX32" fmla="*/ 1658 w 10000"/>
                  <a:gd name="connsiteY32" fmla="*/ 9245 h 10223"/>
                  <a:gd name="connsiteX33" fmla="*/ 1583 w 10000"/>
                  <a:gd name="connsiteY33" fmla="*/ 9734 h 10223"/>
                  <a:gd name="connsiteX34" fmla="*/ 2446 w 10000"/>
                  <a:gd name="connsiteY34" fmla="*/ 10223 h 10223"/>
                  <a:gd name="connsiteX35" fmla="*/ 2446 w 10000"/>
                  <a:gd name="connsiteY35" fmla="*/ 10179 h 10223"/>
                  <a:gd name="connsiteX36" fmla="*/ 2759 w 10000"/>
                  <a:gd name="connsiteY36" fmla="*/ 10134 h 10223"/>
                  <a:gd name="connsiteX37" fmla="*/ 3824 w 10000"/>
                  <a:gd name="connsiteY37" fmla="*/ 9536 h 10223"/>
                  <a:gd name="connsiteX38" fmla="*/ 6499 w 10000"/>
                  <a:gd name="connsiteY38" fmla="*/ 9441 h 10223"/>
                  <a:gd name="connsiteX39" fmla="*/ 9259 w 10000"/>
                  <a:gd name="connsiteY39" fmla="*/ 8908 h 10223"/>
                  <a:gd name="connsiteX40" fmla="*/ 8788 w 10000"/>
                  <a:gd name="connsiteY40" fmla="*/ 8201 h 10223"/>
                  <a:gd name="connsiteX41" fmla="*/ 8301 w 10000"/>
                  <a:gd name="connsiteY41" fmla="*/ 6867 h 10223"/>
                  <a:gd name="connsiteX42" fmla="*/ 9652 w 10000"/>
                  <a:gd name="connsiteY42" fmla="*/ 4312 h 10223"/>
                  <a:gd name="connsiteX0" fmla="*/ 9652 w 9766"/>
                  <a:gd name="connsiteY0" fmla="*/ 4308 h 10219"/>
                  <a:gd name="connsiteX1" fmla="*/ 9728 w 9766"/>
                  <a:gd name="connsiteY1" fmla="*/ 1619 h 10219"/>
                  <a:gd name="connsiteX2" fmla="*/ 9559 w 9766"/>
                  <a:gd name="connsiteY2" fmla="*/ 1178 h 10219"/>
                  <a:gd name="connsiteX3" fmla="*/ 7850 w 9766"/>
                  <a:gd name="connsiteY3" fmla="*/ 21 h 10219"/>
                  <a:gd name="connsiteX4" fmla="*/ 7160 w 9766"/>
                  <a:gd name="connsiteY4" fmla="*/ 499 h 10219"/>
                  <a:gd name="connsiteX5" fmla="*/ 5673 w 9766"/>
                  <a:gd name="connsiteY5" fmla="*/ 1330 h 10219"/>
                  <a:gd name="connsiteX6" fmla="*/ 3760 w 9766"/>
                  <a:gd name="connsiteY6" fmla="*/ 2508 h 10219"/>
                  <a:gd name="connsiteX7" fmla="*/ 3497 w 9766"/>
                  <a:gd name="connsiteY7" fmla="*/ 2686 h 10219"/>
                  <a:gd name="connsiteX8" fmla="*/ 2784 w 9766"/>
                  <a:gd name="connsiteY8" fmla="*/ 3197 h 10219"/>
                  <a:gd name="connsiteX9" fmla="*/ 1958 w 9766"/>
                  <a:gd name="connsiteY9" fmla="*/ 4063 h 10219"/>
                  <a:gd name="connsiteX10" fmla="*/ 1508 w 9766"/>
                  <a:gd name="connsiteY10" fmla="*/ 3152 h 10219"/>
                  <a:gd name="connsiteX11" fmla="*/ 1845 w 9766"/>
                  <a:gd name="connsiteY11" fmla="*/ 2552 h 10219"/>
                  <a:gd name="connsiteX12" fmla="*/ 1996 w 9766"/>
                  <a:gd name="connsiteY12" fmla="*/ 2375 h 10219"/>
                  <a:gd name="connsiteX13" fmla="*/ 2559 w 9766"/>
                  <a:gd name="connsiteY13" fmla="*/ 1863 h 10219"/>
                  <a:gd name="connsiteX14" fmla="*/ 3685 w 9766"/>
                  <a:gd name="connsiteY14" fmla="*/ 886 h 10219"/>
                  <a:gd name="connsiteX15" fmla="*/ 4473 w 9766"/>
                  <a:gd name="connsiteY15" fmla="*/ 508 h 10219"/>
                  <a:gd name="connsiteX16" fmla="*/ 4473 w 9766"/>
                  <a:gd name="connsiteY16" fmla="*/ 441 h 10219"/>
                  <a:gd name="connsiteX17" fmla="*/ 4247 w 9766"/>
                  <a:gd name="connsiteY17" fmla="*/ 419 h 10219"/>
                  <a:gd name="connsiteX18" fmla="*/ 3497 w 9766"/>
                  <a:gd name="connsiteY18" fmla="*/ 552 h 10219"/>
                  <a:gd name="connsiteX19" fmla="*/ 2146 w 9766"/>
                  <a:gd name="connsiteY19" fmla="*/ 1108 h 10219"/>
                  <a:gd name="connsiteX20" fmla="*/ 1508 w 9766"/>
                  <a:gd name="connsiteY20" fmla="*/ 1997 h 10219"/>
                  <a:gd name="connsiteX21" fmla="*/ 1020 w 9766"/>
                  <a:gd name="connsiteY21" fmla="*/ 4263 h 10219"/>
                  <a:gd name="connsiteX22" fmla="*/ 1020 w 9766"/>
                  <a:gd name="connsiteY22" fmla="*/ 4775 h 10219"/>
                  <a:gd name="connsiteX23" fmla="*/ 570 w 9766"/>
                  <a:gd name="connsiteY23" fmla="*/ 5975 h 10219"/>
                  <a:gd name="connsiteX24" fmla="*/ 382 w 9766"/>
                  <a:gd name="connsiteY24" fmla="*/ 6663 h 10219"/>
                  <a:gd name="connsiteX25" fmla="*/ 6 w 9766"/>
                  <a:gd name="connsiteY25" fmla="*/ 8330 h 10219"/>
                  <a:gd name="connsiteX26" fmla="*/ 119 w 9766"/>
                  <a:gd name="connsiteY26" fmla="*/ 9175 h 10219"/>
                  <a:gd name="connsiteX27" fmla="*/ 157 w 9766"/>
                  <a:gd name="connsiteY27" fmla="*/ 9152 h 10219"/>
                  <a:gd name="connsiteX28" fmla="*/ 1283 w 9766"/>
                  <a:gd name="connsiteY28" fmla="*/ 8819 h 10219"/>
                  <a:gd name="connsiteX29" fmla="*/ 1471 w 9766"/>
                  <a:gd name="connsiteY29" fmla="*/ 8752 h 10219"/>
                  <a:gd name="connsiteX30" fmla="*/ 1620 w 9766"/>
                  <a:gd name="connsiteY30" fmla="*/ 8441 h 10219"/>
                  <a:gd name="connsiteX31" fmla="*/ 1733 w 9766"/>
                  <a:gd name="connsiteY31" fmla="*/ 9063 h 10219"/>
                  <a:gd name="connsiteX32" fmla="*/ 1658 w 9766"/>
                  <a:gd name="connsiteY32" fmla="*/ 9241 h 10219"/>
                  <a:gd name="connsiteX33" fmla="*/ 1583 w 9766"/>
                  <a:gd name="connsiteY33" fmla="*/ 9730 h 10219"/>
                  <a:gd name="connsiteX34" fmla="*/ 2446 w 9766"/>
                  <a:gd name="connsiteY34" fmla="*/ 10219 h 10219"/>
                  <a:gd name="connsiteX35" fmla="*/ 2446 w 9766"/>
                  <a:gd name="connsiteY35" fmla="*/ 10175 h 10219"/>
                  <a:gd name="connsiteX36" fmla="*/ 2759 w 9766"/>
                  <a:gd name="connsiteY36" fmla="*/ 10130 h 10219"/>
                  <a:gd name="connsiteX37" fmla="*/ 3824 w 9766"/>
                  <a:gd name="connsiteY37" fmla="*/ 9532 h 10219"/>
                  <a:gd name="connsiteX38" fmla="*/ 6499 w 9766"/>
                  <a:gd name="connsiteY38" fmla="*/ 9437 h 10219"/>
                  <a:gd name="connsiteX39" fmla="*/ 9259 w 9766"/>
                  <a:gd name="connsiteY39" fmla="*/ 8904 h 10219"/>
                  <a:gd name="connsiteX40" fmla="*/ 8788 w 9766"/>
                  <a:gd name="connsiteY40" fmla="*/ 8197 h 10219"/>
                  <a:gd name="connsiteX41" fmla="*/ 8301 w 9766"/>
                  <a:gd name="connsiteY41" fmla="*/ 6863 h 10219"/>
                  <a:gd name="connsiteX42" fmla="*/ 9652 w 9766"/>
                  <a:gd name="connsiteY42" fmla="*/ 4308 h 10219"/>
                  <a:gd name="connsiteX0" fmla="*/ 9883 w 10099"/>
                  <a:gd name="connsiteY0" fmla="*/ 4216 h 10000"/>
                  <a:gd name="connsiteX1" fmla="*/ 9961 w 10099"/>
                  <a:gd name="connsiteY1" fmla="*/ 1584 h 10000"/>
                  <a:gd name="connsiteX2" fmla="*/ 9788 w 10099"/>
                  <a:gd name="connsiteY2" fmla="*/ 1153 h 10000"/>
                  <a:gd name="connsiteX3" fmla="*/ 8038 w 10099"/>
                  <a:gd name="connsiteY3" fmla="*/ 21 h 10000"/>
                  <a:gd name="connsiteX4" fmla="*/ 7332 w 10099"/>
                  <a:gd name="connsiteY4" fmla="*/ 488 h 10000"/>
                  <a:gd name="connsiteX5" fmla="*/ 5809 w 10099"/>
                  <a:gd name="connsiteY5" fmla="*/ 1301 h 10000"/>
                  <a:gd name="connsiteX6" fmla="*/ 3850 w 10099"/>
                  <a:gd name="connsiteY6" fmla="*/ 2454 h 10000"/>
                  <a:gd name="connsiteX7" fmla="*/ 3581 w 10099"/>
                  <a:gd name="connsiteY7" fmla="*/ 2628 h 10000"/>
                  <a:gd name="connsiteX8" fmla="*/ 2851 w 10099"/>
                  <a:gd name="connsiteY8" fmla="*/ 3128 h 10000"/>
                  <a:gd name="connsiteX9" fmla="*/ 2005 w 10099"/>
                  <a:gd name="connsiteY9" fmla="*/ 3976 h 10000"/>
                  <a:gd name="connsiteX10" fmla="*/ 1544 w 10099"/>
                  <a:gd name="connsiteY10" fmla="*/ 3084 h 10000"/>
                  <a:gd name="connsiteX11" fmla="*/ 1889 w 10099"/>
                  <a:gd name="connsiteY11" fmla="*/ 2497 h 10000"/>
                  <a:gd name="connsiteX12" fmla="*/ 2044 w 10099"/>
                  <a:gd name="connsiteY12" fmla="*/ 2324 h 10000"/>
                  <a:gd name="connsiteX13" fmla="*/ 2620 w 10099"/>
                  <a:gd name="connsiteY13" fmla="*/ 1823 h 10000"/>
                  <a:gd name="connsiteX14" fmla="*/ 3773 w 10099"/>
                  <a:gd name="connsiteY14" fmla="*/ 867 h 10000"/>
                  <a:gd name="connsiteX15" fmla="*/ 4580 w 10099"/>
                  <a:gd name="connsiteY15" fmla="*/ 497 h 10000"/>
                  <a:gd name="connsiteX16" fmla="*/ 4580 w 10099"/>
                  <a:gd name="connsiteY16" fmla="*/ 432 h 10000"/>
                  <a:gd name="connsiteX17" fmla="*/ 4349 w 10099"/>
                  <a:gd name="connsiteY17" fmla="*/ 410 h 10000"/>
                  <a:gd name="connsiteX18" fmla="*/ 3581 w 10099"/>
                  <a:gd name="connsiteY18" fmla="*/ 540 h 10000"/>
                  <a:gd name="connsiteX19" fmla="*/ 2197 w 10099"/>
                  <a:gd name="connsiteY19" fmla="*/ 1084 h 10000"/>
                  <a:gd name="connsiteX20" fmla="*/ 1544 w 10099"/>
                  <a:gd name="connsiteY20" fmla="*/ 1954 h 10000"/>
                  <a:gd name="connsiteX21" fmla="*/ 1044 w 10099"/>
                  <a:gd name="connsiteY21" fmla="*/ 4172 h 10000"/>
                  <a:gd name="connsiteX22" fmla="*/ 1044 w 10099"/>
                  <a:gd name="connsiteY22" fmla="*/ 4673 h 10000"/>
                  <a:gd name="connsiteX23" fmla="*/ 584 w 10099"/>
                  <a:gd name="connsiteY23" fmla="*/ 5847 h 10000"/>
                  <a:gd name="connsiteX24" fmla="*/ 391 w 10099"/>
                  <a:gd name="connsiteY24" fmla="*/ 6520 h 10000"/>
                  <a:gd name="connsiteX25" fmla="*/ 6 w 10099"/>
                  <a:gd name="connsiteY25" fmla="*/ 8151 h 10000"/>
                  <a:gd name="connsiteX26" fmla="*/ 122 w 10099"/>
                  <a:gd name="connsiteY26" fmla="*/ 8978 h 10000"/>
                  <a:gd name="connsiteX27" fmla="*/ 161 w 10099"/>
                  <a:gd name="connsiteY27" fmla="*/ 8956 h 10000"/>
                  <a:gd name="connsiteX28" fmla="*/ 1314 w 10099"/>
                  <a:gd name="connsiteY28" fmla="*/ 8630 h 10000"/>
                  <a:gd name="connsiteX29" fmla="*/ 1506 w 10099"/>
                  <a:gd name="connsiteY29" fmla="*/ 8564 h 10000"/>
                  <a:gd name="connsiteX30" fmla="*/ 1659 w 10099"/>
                  <a:gd name="connsiteY30" fmla="*/ 8260 h 10000"/>
                  <a:gd name="connsiteX31" fmla="*/ 1775 w 10099"/>
                  <a:gd name="connsiteY31" fmla="*/ 8869 h 10000"/>
                  <a:gd name="connsiteX32" fmla="*/ 1698 w 10099"/>
                  <a:gd name="connsiteY32" fmla="*/ 9043 h 10000"/>
                  <a:gd name="connsiteX33" fmla="*/ 1621 w 10099"/>
                  <a:gd name="connsiteY33" fmla="*/ 9521 h 10000"/>
                  <a:gd name="connsiteX34" fmla="*/ 2505 w 10099"/>
                  <a:gd name="connsiteY34" fmla="*/ 10000 h 10000"/>
                  <a:gd name="connsiteX35" fmla="*/ 2505 w 10099"/>
                  <a:gd name="connsiteY35" fmla="*/ 9957 h 10000"/>
                  <a:gd name="connsiteX36" fmla="*/ 2825 w 10099"/>
                  <a:gd name="connsiteY36" fmla="*/ 9913 h 10000"/>
                  <a:gd name="connsiteX37" fmla="*/ 3916 w 10099"/>
                  <a:gd name="connsiteY37" fmla="*/ 9328 h 10000"/>
                  <a:gd name="connsiteX38" fmla="*/ 6655 w 10099"/>
                  <a:gd name="connsiteY38" fmla="*/ 9235 h 10000"/>
                  <a:gd name="connsiteX39" fmla="*/ 9481 w 10099"/>
                  <a:gd name="connsiteY39" fmla="*/ 8713 h 10000"/>
                  <a:gd name="connsiteX40" fmla="*/ 8999 w 10099"/>
                  <a:gd name="connsiteY40" fmla="*/ 8021 h 10000"/>
                  <a:gd name="connsiteX41" fmla="*/ 8500 w 10099"/>
                  <a:gd name="connsiteY41" fmla="*/ 6716 h 10000"/>
                  <a:gd name="connsiteX42" fmla="*/ 9883 w 10099"/>
                  <a:gd name="connsiteY42" fmla="*/ 4216 h 10000"/>
                  <a:gd name="connsiteX0" fmla="*/ 9883 w 10163"/>
                  <a:gd name="connsiteY0" fmla="*/ 4216 h 10000"/>
                  <a:gd name="connsiteX1" fmla="*/ 9961 w 10163"/>
                  <a:gd name="connsiteY1" fmla="*/ 1584 h 10000"/>
                  <a:gd name="connsiteX2" fmla="*/ 9788 w 10163"/>
                  <a:gd name="connsiteY2" fmla="*/ 1153 h 10000"/>
                  <a:gd name="connsiteX3" fmla="*/ 8038 w 10163"/>
                  <a:gd name="connsiteY3" fmla="*/ 21 h 10000"/>
                  <a:gd name="connsiteX4" fmla="*/ 7332 w 10163"/>
                  <a:gd name="connsiteY4" fmla="*/ 488 h 10000"/>
                  <a:gd name="connsiteX5" fmla="*/ 5809 w 10163"/>
                  <a:gd name="connsiteY5" fmla="*/ 1301 h 10000"/>
                  <a:gd name="connsiteX6" fmla="*/ 3850 w 10163"/>
                  <a:gd name="connsiteY6" fmla="*/ 2454 h 10000"/>
                  <a:gd name="connsiteX7" fmla="*/ 3581 w 10163"/>
                  <a:gd name="connsiteY7" fmla="*/ 2628 h 10000"/>
                  <a:gd name="connsiteX8" fmla="*/ 2851 w 10163"/>
                  <a:gd name="connsiteY8" fmla="*/ 3128 h 10000"/>
                  <a:gd name="connsiteX9" fmla="*/ 2005 w 10163"/>
                  <a:gd name="connsiteY9" fmla="*/ 3976 h 10000"/>
                  <a:gd name="connsiteX10" fmla="*/ 1544 w 10163"/>
                  <a:gd name="connsiteY10" fmla="*/ 3084 h 10000"/>
                  <a:gd name="connsiteX11" fmla="*/ 1889 w 10163"/>
                  <a:gd name="connsiteY11" fmla="*/ 2497 h 10000"/>
                  <a:gd name="connsiteX12" fmla="*/ 2044 w 10163"/>
                  <a:gd name="connsiteY12" fmla="*/ 2324 h 10000"/>
                  <a:gd name="connsiteX13" fmla="*/ 2620 w 10163"/>
                  <a:gd name="connsiteY13" fmla="*/ 1823 h 10000"/>
                  <a:gd name="connsiteX14" fmla="*/ 3773 w 10163"/>
                  <a:gd name="connsiteY14" fmla="*/ 867 h 10000"/>
                  <a:gd name="connsiteX15" fmla="*/ 4580 w 10163"/>
                  <a:gd name="connsiteY15" fmla="*/ 497 h 10000"/>
                  <a:gd name="connsiteX16" fmla="*/ 4580 w 10163"/>
                  <a:gd name="connsiteY16" fmla="*/ 432 h 10000"/>
                  <a:gd name="connsiteX17" fmla="*/ 4349 w 10163"/>
                  <a:gd name="connsiteY17" fmla="*/ 410 h 10000"/>
                  <a:gd name="connsiteX18" fmla="*/ 3581 w 10163"/>
                  <a:gd name="connsiteY18" fmla="*/ 540 h 10000"/>
                  <a:gd name="connsiteX19" fmla="*/ 2197 w 10163"/>
                  <a:gd name="connsiteY19" fmla="*/ 1084 h 10000"/>
                  <a:gd name="connsiteX20" fmla="*/ 1544 w 10163"/>
                  <a:gd name="connsiteY20" fmla="*/ 1954 h 10000"/>
                  <a:gd name="connsiteX21" fmla="*/ 1044 w 10163"/>
                  <a:gd name="connsiteY21" fmla="*/ 4172 h 10000"/>
                  <a:gd name="connsiteX22" fmla="*/ 1044 w 10163"/>
                  <a:gd name="connsiteY22" fmla="*/ 4673 h 10000"/>
                  <a:gd name="connsiteX23" fmla="*/ 584 w 10163"/>
                  <a:gd name="connsiteY23" fmla="*/ 5847 h 10000"/>
                  <a:gd name="connsiteX24" fmla="*/ 391 w 10163"/>
                  <a:gd name="connsiteY24" fmla="*/ 6520 h 10000"/>
                  <a:gd name="connsiteX25" fmla="*/ 6 w 10163"/>
                  <a:gd name="connsiteY25" fmla="*/ 8151 h 10000"/>
                  <a:gd name="connsiteX26" fmla="*/ 122 w 10163"/>
                  <a:gd name="connsiteY26" fmla="*/ 8978 h 10000"/>
                  <a:gd name="connsiteX27" fmla="*/ 161 w 10163"/>
                  <a:gd name="connsiteY27" fmla="*/ 8956 h 10000"/>
                  <a:gd name="connsiteX28" fmla="*/ 1314 w 10163"/>
                  <a:gd name="connsiteY28" fmla="*/ 8630 h 10000"/>
                  <a:gd name="connsiteX29" fmla="*/ 1506 w 10163"/>
                  <a:gd name="connsiteY29" fmla="*/ 8564 h 10000"/>
                  <a:gd name="connsiteX30" fmla="*/ 1659 w 10163"/>
                  <a:gd name="connsiteY30" fmla="*/ 8260 h 10000"/>
                  <a:gd name="connsiteX31" fmla="*/ 1775 w 10163"/>
                  <a:gd name="connsiteY31" fmla="*/ 8869 h 10000"/>
                  <a:gd name="connsiteX32" fmla="*/ 1698 w 10163"/>
                  <a:gd name="connsiteY32" fmla="*/ 9043 h 10000"/>
                  <a:gd name="connsiteX33" fmla="*/ 1621 w 10163"/>
                  <a:gd name="connsiteY33" fmla="*/ 9521 h 10000"/>
                  <a:gd name="connsiteX34" fmla="*/ 2505 w 10163"/>
                  <a:gd name="connsiteY34" fmla="*/ 10000 h 10000"/>
                  <a:gd name="connsiteX35" fmla="*/ 2505 w 10163"/>
                  <a:gd name="connsiteY35" fmla="*/ 9957 h 10000"/>
                  <a:gd name="connsiteX36" fmla="*/ 2825 w 10163"/>
                  <a:gd name="connsiteY36" fmla="*/ 9913 h 10000"/>
                  <a:gd name="connsiteX37" fmla="*/ 3916 w 10163"/>
                  <a:gd name="connsiteY37" fmla="*/ 9328 h 10000"/>
                  <a:gd name="connsiteX38" fmla="*/ 6655 w 10163"/>
                  <a:gd name="connsiteY38" fmla="*/ 9235 h 10000"/>
                  <a:gd name="connsiteX39" fmla="*/ 9481 w 10163"/>
                  <a:gd name="connsiteY39" fmla="*/ 8713 h 10000"/>
                  <a:gd name="connsiteX40" fmla="*/ 8999 w 10163"/>
                  <a:gd name="connsiteY40" fmla="*/ 8021 h 10000"/>
                  <a:gd name="connsiteX41" fmla="*/ 8500 w 10163"/>
                  <a:gd name="connsiteY41" fmla="*/ 6716 h 10000"/>
                  <a:gd name="connsiteX42" fmla="*/ 9883 w 10163"/>
                  <a:gd name="connsiteY42" fmla="*/ 421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0163" h="10000">
                    <a:moveTo>
                      <a:pt x="9883" y="4216"/>
                    </a:moveTo>
                    <a:cubicBezTo>
                      <a:pt x="10076" y="3846"/>
                      <a:pt x="10362" y="2137"/>
                      <a:pt x="9961" y="1584"/>
                    </a:cubicBezTo>
                    <a:cubicBezTo>
                      <a:pt x="9428" y="848"/>
                      <a:pt x="9981" y="1371"/>
                      <a:pt x="9788" y="1153"/>
                    </a:cubicBezTo>
                    <a:cubicBezTo>
                      <a:pt x="9468" y="901"/>
                      <a:pt x="8448" y="131"/>
                      <a:pt x="8038" y="21"/>
                    </a:cubicBezTo>
                    <a:cubicBezTo>
                      <a:pt x="7629" y="-90"/>
                      <a:pt x="7703" y="275"/>
                      <a:pt x="7332" y="488"/>
                    </a:cubicBezTo>
                    <a:cubicBezTo>
                      <a:pt x="6960" y="702"/>
                      <a:pt x="6156" y="1063"/>
                      <a:pt x="5809" y="1301"/>
                    </a:cubicBezTo>
                    <a:cubicBezTo>
                      <a:pt x="5502" y="1497"/>
                      <a:pt x="4580" y="2019"/>
                      <a:pt x="3850" y="2454"/>
                    </a:cubicBezTo>
                    <a:cubicBezTo>
                      <a:pt x="3734" y="2520"/>
                      <a:pt x="3658" y="2584"/>
                      <a:pt x="3581" y="2628"/>
                    </a:cubicBezTo>
                    <a:cubicBezTo>
                      <a:pt x="3235" y="2846"/>
                      <a:pt x="2928" y="3020"/>
                      <a:pt x="2851" y="3128"/>
                    </a:cubicBezTo>
                    <a:lnTo>
                      <a:pt x="2005" y="3976"/>
                    </a:lnTo>
                    <a:cubicBezTo>
                      <a:pt x="2005" y="3976"/>
                      <a:pt x="1428" y="3454"/>
                      <a:pt x="1544" y="3084"/>
                    </a:cubicBezTo>
                    <a:cubicBezTo>
                      <a:pt x="1582" y="2933"/>
                      <a:pt x="1698" y="2716"/>
                      <a:pt x="1889" y="2497"/>
                    </a:cubicBezTo>
                    <a:cubicBezTo>
                      <a:pt x="1929" y="2454"/>
                      <a:pt x="1967" y="2389"/>
                      <a:pt x="2044" y="2324"/>
                    </a:cubicBezTo>
                    <a:cubicBezTo>
                      <a:pt x="2197" y="2150"/>
                      <a:pt x="2390" y="1954"/>
                      <a:pt x="2620" y="1823"/>
                    </a:cubicBezTo>
                    <a:cubicBezTo>
                      <a:pt x="3081" y="1519"/>
                      <a:pt x="3695" y="954"/>
                      <a:pt x="3773" y="867"/>
                    </a:cubicBezTo>
                    <a:cubicBezTo>
                      <a:pt x="3850" y="780"/>
                      <a:pt x="4043" y="476"/>
                      <a:pt x="4580" y="497"/>
                    </a:cubicBezTo>
                    <a:lnTo>
                      <a:pt x="4580" y="432"/>
                    </a:lnTo>
                    <a:cubicBezTo>
                      <a:pt x="4580" y="410"/>
                      <a:pt x="4503" y="388"/>
                      <a:pt x="4349" y="410"/>
                    </a:cubicBezTo>
                    <a:cubicBezTo>
                      <a:pt x="4195" y="432"/>
                      <a:pt x="3926" y="476"/>
                      <a:pt x="3581" y="540"/>
                    </a:cubicBezTo>
                    <a:cubicBezTo>
                      <a:pt x="3581" y="540"/>
                      <a:pt x="2851" y="627"/>
                      <a:pt x="2197" y="1084"/>
                    </a:cubicBezTo>
                    <a:cubicBezTo>
                      <a:pt x="1889" y="1280"/>
                      <a:pt x="1889" y="1714"/>
                      <a:pt x="1544" y="1954"/>
                    </a:cubicBezTo>
                    <a:cubicBezTo>
                      <a:pt x="1198" y="2193"/>
                      <a:pt x="-32" y="3411"/>
                      <a:pt x="1044" y="4172"/>
                    </a:cubicBezTo>
                    <a:cubicBezTo>
                      <a:pt x="1044" y="4172"/>
                      <a:pt x="1237" y="4346"/>
                      <a:pt x="1044" y="4673"/>
                    </a:cubicBezTo>
                    <a:cubicBezTo>
                      <a:pt x="852" y="4999"/>
                      <a:pt x="736" y="5737"/>
                      <a:pt x="584" y="5847"/>
                    </a:cubicBezTo>
                    <a:cubicBezTo>
                      <a:pt x="429" y="5956"/>
                      <a:pt x="391" y="6324"/>
                      <a:pt x="391" y="6520"/>
                    </a:cubicBezTo>
                    <a:cubicBezTo>
                      <a:pt x="391" y="6716"/>
                      <a:pt x="45" y="7956"/>
                      <a:pt x="6" y="8151"/>
                    </a:cubicBezTo>
                    <a:cubicBezTo>
                      <a:pt x="-32" y="8347"/>
                      <a:pt x="122" y="8978"/>
                      <a:pt x="122" y="8978"/>
                    </a:cubicBezTo>
                    <a:cubicBezTo>
                      <a:pt x="135" y="8971"/>
                      <a:pt x="147" y="8964"/>
                      <a:pt x="161" y="8956"/>
                    </a:cubicBezTo>
                    <a:cubicBezTo>
                      <a:pt x="314" y="8891"/>
                      <a:pt x="776" y="8696"/>
                      <a:pt x="1314" y="8630"/>
                    </a:cubicBezTo>
                    <a:cubicBezTo>
                      <a:pt x="1314" y="8630"/>
                      <a:pt x="1390" y="8630"/>
                      <a:pt x="1506" y="8564"/>
                    </a:cubicBezTo>
                    <a:cubicBezTo>
                      <a:pt x="1544" y="8521"/>
                      <a:pt x="1621" y="8434"/>
                      <a:pt x="1659" y="8260"/>
                    </a:cubicBezTo>
                    <a:cubicBezTo>
                      <a:pt x="1698" y="7890"/>
                      <a:pt x="1929" y="8696"/>
                      <a:pt x="1775" y="8869"/>
                    </a:cubicBezTo>
                    <a:cubicBezTo>
                      <a:pt x="1775" y="8869"/>
                      <a:pt x="1737" y="8956"/>
                      <a:pt x="1698" y="9043"/>
                    </a:cubicBezTo>
                    <a:cubicBezTo>
                      <a:pt x="1621" y="9217"/>
                      <a:pt x="1544" y="9456"/>
                      <a:pt x="1621" y="9521"/>
                    </a:cubicBezTo>
                    <a:cubicBezTo>
                      <a:pt x="2005" y="9913"/>
                      <a:pt x="2505" y="10000"/>
                      <a:pt x="2505" y="10000"/>
                    </a:cubicBezTo>
                    <a:cubicBezTo>
                      <a:pt x="2505" y="9985"/>
                      <a:pt x="2451" y="9972"/>
                      <a:pt x="2505" y="9957"/>
                    </a:cubicBezTo>
                    <a:cubicBezTo>
                      <a:pt x="2558" y="9942"/>
                      <a:pt x="2786" y="9934"/>
                      <a:pt x="2825" y="9913"/>
                    </a:cubicBezTo>
                    <a:cubicBezTo>
                      <a:pt x="3094" y="9739"/>
                      <a:pt x="3278" y="9440"/>
                      <a:pt x="3916" y="9328"/>
                    </a:cubicBezTo>
                    <a:cubicBezTo>
                      <a:pt x="4554" y="9215"/>
                      <a:pt x="5464" y="9192"/>
                      <a:pt x="6655" y="9235"/>
                    </a:cubicBezTo>
                    <a:cubicBezTo>
                      <a:pt x="7731" y="9300"/>
                      <a:pt x="9174" y="8822"/>
                      <a:pt x="9481" y="8713"/>
                    </a:cubicBezTo>
                    <a:cubicBezTo>
                      <a:pt x="9404" y="8539"/>
                      <a:pt x="9230" y="8260"/>
                      <a:pt x="8999" y="8021"/>
                    </a:cubicBezTo>
                    <a:cubicBezTo>
                      <a:pt x="8385" y="7434"/>
                      <a:pt x="8193" y="7064"/>
                      <a:pt x="8500" y="6716"/>
                    </a:cubicBezTo>
                    <a:cubicBezTo>
                      <a:pt x="8808" y="6369"/>
                      <a:pt x="9691" y="4586"/>
                      <a:pt x="9883" y="421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128">
                <a:extLst>
                  <a:ext uri="{FF2B5EF4-FFF2-40B4-BE49-F238E27FC236}">
                    <a16:creationId xmlns:a16="http://schemas.microsoft.com/office/drawing/2014/main" id="{B2CDA934-71D9-44D3-86C1-72BAD8979C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7638" y="2258276"/>
                <a:ext cx="163322" cy="191975"/>
              </a:xfrm>
              <a:custGeom>
                <a:avLst/>
                <a:gdLst>
                  <a:gd name="T0" fmla="*/ 4 w 72"/>
                  <a:gd name="T1" fmla="*/ 1 h 85"/>
                  <a:gd name="T2" fmla="*/ 31 w 72"/>
                  <a:gd name="T3" fmla="*/ 5 h 85"/>
                  <a:gd name="T4" fmla="*/ 68 w 72"/>
                  <a:gd name="T5" fmla="*/ 8 h 85"/>
                  <a:gd name="T6" fmla="*/ 62 w 72"/>
                  <a:gd name="T7" fmla="*/ 30 h 85"/>
                  <a:gd name="T8" fmla="*/ 50 w 72"/>
                  <a:gd name="T9" fmla="*/ 45 h 85"/>
                  <a:gd name="T10" fmla="*/ 62 w 72"/>
                  <a:gd name="T11" fmla="*/ 76 h 85"/>
                  <a:gd name="T12" fmla="*/ 41 w 72"/>
                  <a:gd name="T13" fmla="*/ 65 h 85"/>
                  <a:gd name="T14" fmla="*/ 26 w 72"/>
                  <a:gd name="T15" fmla="*/ 40 h 85"/>
                  <a:gd name="T16" fmla="*/ 28 w 72"/>
                  <a:gd name="T17" fmla="*/ 21 h 85"/>
                  <a:gd name="T18" fmla="*/ 0 w 72"/>
                  <a:gd name="T19" fmla="*/ 8 h 85"/>
                  <a:gd name="T20" fmla="*/ 4 w 72"/>
                  <a:gd name="T21" fmla="*/ 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85">
                    <a:moveTo>
                      <a:pt x="4" y="1"/>
                    </a:moveTo>
                    <a:cubicBezTo>
                      <a:pt x="4" y="1"/>
                      <a:pt x="16" y="0"/>
                      <a:pt x="31" y="5"/>
                    </a:cubicBezTo>
                    <a:cubicBezTo>
                      <a:pt x="46" y="9"/>
                      <a:pt x="65" y="3"/>
                      <a:pt x="68" y="8"/>
                    </a:cubicBezTo>
                    <a:cubicBezTo>
                      <a:pt x="72" y="13"/>
                      <a:pt x="71" y="23"/>
                      <a:pt x="62" y="30"/>
                    </a:cubicBezTo>
                    <a:cubicBezTo>
                      <a:pt x="54" y="37"/>
                      <a:pt x="50" y="40"/>
                      <a:pt x="50" y="45"/>
                    </a:cubicBezTo>
                    <a:cubicBezTo>
                      <a:pt x="50" y="51"/>
                      <a:pt x="67" y="76"/>
                      <a:pt x="62" y="76"/>
                    </a:cubicBezTo>
                    <a:cubicBezTo>
                      <a:pt x="57" y="76"/>
                      <a:pt x="55" y="85"/>
                      <a:pt x="41" y="65"/>
                    </a:cubicBezTo>
                    <a:cubicBezTo>
                      <a:pt x="41" y="65"/>
                      <a:pt x="24" y="45"/>
                      <a:pt x="26" y="40"/>
                    </a:cubicBezTo>
                    <a:cubicBezTo>
                      <a:pt x="28" y="35"/>
                      <a:pt x="42" y="30"/>
                      <a:pt x="28" y="21"/>
                    </a:cubicBezTo>
                    <a:cubicBezTo>
                      <a:pt x="13" y="11"/>
                      <a:pt x="0" y="8"/>
                      <a:pt x="0" y="8"/>
                    </a:cubicBez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129">
                <a:extLst>
                  <a:ext uri="{FF2B5EF4-FFF2-40B4-BE49-F238E27FC236}">
                    <a16:creationId xmlns:a16="http://schemas.microsoft.com/office/drawing/2014/main" id="{416FE036-B459-498A-9813-E3AD554390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8379" y="2648907"/>
                <a:ext cx="112701" cy="122252"/>
              </a:xfrm>
              <a:custGeom>
                <a:avLst/>
                <a:gdLst>
                  <a:gd name="T0" fmla="*/ 4 w 50"/>
                  <a:gd name="T1" fmla="*/ 0 h 54"/>
                  <a:gd name="T2" fmla="*/ 26 w 50"/>
                  <a:gd name="T3" fmla="*/ 15 h 54"/>
                  <a:gd name="T4" fmla="*/ 50 w 50"/>
                  <a:gd name="T5" fmla="*/ 44 h 54"/>
                  <a:gd name="T6" fmla="*/ 48 w 50"/>
                  <a:gd name="T7" fmla="*/ 54 h 54"/>
                  <a:gd name="T8" fmla="*/ 13 w 50"/>
                  <a:gd name="T9" fmla="*/ 16 h 54"/>
                  <a:gd name="T10" fmla="*/ 4 w 50"/>
                  <a:gd name="T11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54">
                    <a:moveTo>
                      <a:pt x="4" y="0"/>
                    </a:moveTo>
                    <a:cubicBezTo>
                      <a:pt x="4" y="0"/>
                      <a:pt x="22" y="8"/>
                      <a:pt x="26" y="15"/>
                    </a:cubicBezTo>
                    <a:cubicBezTo>
                      <a:pt x="30" y="22"/>
                      <a:pt x="49" y="38"/>
                      <a:pt x="50" y="44"/>
                    </a:cubicBezTo>
                    <a:cubicBezTo>
                      <a:pt x="50" y="50"/>
                      <a:pt x="48" y="54"/>
                      <a:pt x="48" y="54"/>
                    </a:cubicBezTo>
                    <a:cubicBezTo>
                      <a:pt x="48" y="54"/>
                      <a:pt x="26" y="21"/>
                      <a:pt x="13" y="16"/>
                    </a:cubicBezTo>
                    <a:cubicBezTo>
                      <a:pt x="13" y="16"/>
                      <a:pt x="0" y="4"/>
                      <a:pt x="4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130">
                <a:extLst>
                  <a:ext uri="{FF2B5EF4-FFF2-40B4-BE49-F238E27FC236}">
                    <a16:creationId xmlns:a16="http://schemas.microsoft.com/office/drawing/2014/main" id="{37C8F76E-3E0C-4FD0-AD72-734C605079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5963" y="2556266"/>
                <a:ext cx="54441" cy="42980"/>
              </a:xfrm>
              <a:custGeom>
                <a:avLst/>
                <a:gdLst>
                  <a:gd name="T0" fmla="*/ 14 w 24"/>
                  <a:gd name="T1" fmla="*/ 0 h 19"/>
                  <a:gd name="T2" fmla="*/ 1 w 24"/>
                  <a:gd name="T3" fmla="*/ 7 h 19"/>
                  <a:gd name="T4" fmla="*/ 19 w 24"/>
                  <a:gd name="T5" fmla="*/ 12 h 19"/>
                  <a:gd name="T6" fmla="*/ 14 w 2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19">
                    <a:moveTo>
                      <a:pt x="14" y="0"/>
                    </a:moveTo>
                    <a:cubicBezTo>
                      <a:pt x="14" y="0"/>
                      <a:pt x="0" y="3"/>
                      <a:pt x="1" y="7"/>
                    </a:cubicBezTo>
                    <a:cubicBezTo>
                      <a:pt x="1" y="11"/>
                      <a:pt x="2" y="19"/>
                      <a:pt x="19" y="12"/>
                    </a:cubicBezTo>
                    <a:cubicBezTo>
                      <a:pt x="19" y="12"/>
                      <a:pt x="24" y="3"/>
                      <a:pt x="14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131">
                <a:extLst>
                  <a:ext uri="{FF2B5EF4-FFF2-40B4-BE49-F238E27FC236}">
                    <a16:creationId xmlns:a16="http://schemas.microsoft.com/office/drawing/2014/main" id="{C4CF4BD8-2846-46A8-825F-5AF727782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4445" y="2283109"/>
                <a:ext cx="97420" cy="133713"/>
              </a:xfrm>
              <a:custGeom>
                <a:avLst/>
                <a:gdLst>
                  <a:gd name="T0" fmla="*/ 16 w 43"/>
                  <a:gd name="T1" fmla="*/ 0 h 59"/>
                  <a:gd name="T2" fmla="*/ 42 w 43"/>
                  <a:gd name="T3" fmla="*/ 46 h 59"/>
                  <a:gd name="T4" fmla="*/ 25 w 43"/>
                  <a:gd name="T5" fmla="*/ 31 h 59"/>
                  <a:gd name="T6" fmla="*/ 6 w 43"/>
                  <a:gd name="T7" fmla="*/ 8 h 59"/>
                  <a:gd name="T8" fmla="*/ 16 w 43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9">
                    <a:moveTo>
                      <a:pt x="16" y="0"/>
                    </a:moveTo>
                    <a:cubicBezTo>
                      <a:pt x="16" y="0"/>
                      <a:pt x="43" y="34"/>
                      <a:pt x="42" y="46"/>
                    </a:cubicBezTo>
                    <a:cubicBezTo>
                      <a:pt x="40" y="59"/>
                      <a:pt x="34" y="39"/>
                      <a:pt x="25" y="31"/>
                    </a:cubicBezTo>
                    <a:cubicBezTo>
                      <a:pt x="16" y="23"/>
                      <a:pt x="6" y="12"/>
                      <a:pt x="6" y="8"/>
                    </a:cubicBezTo>
                    <a:cubicBezTo>
                      <a:pt x="5" y="4"/>
                      <a:pt x="0" y="0"/>
                      <a:pt x="1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32">
                <a:extLst>
                  <a:ext uri="{FF2B5EF4-FFF2-40B4-BE49-F238E27FC236}">
                    <a16:creationId xmlns:a16="http://schemas.microsoft.com/office/drawing/2014/main" id="{8002E865-95DE-4F69-9C00-BF93B42834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6298" y="2342325"/>
                <a:ext cx="102196" cy="103150"/>
              </a:xfrm>
              <a:custGeom>
                <a:avLst/>
                <a:gdLst>
                  <a:gd name="T0" fmla="*/ 6 w 45"/>
                  <a:gd name="T1" fmla="*/ 0 h 46"/>
                  <a:gd name="T2" fmla="*/ 39 w 45"/>
                  <a:gd name="T3" fmla="*/ 24 h 46"/>
                  <a:gd name="T4" fmla="*/ 42 w 45"/>
                  <a:gd name="T5" fmla="*/ 44 h 46"/>
                  <a:gd name="T6" fmla="*/ 26 w 45"/>
                  <a:gd name="T7" fmla="*/ 22 h 46"/>
                  <a:gd name="T8" fmla="*/ 6 w 45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46">
                    <a:moveTo>
                      <a:pt x="6" y="0"/>
                    </a:moveTo>
                    <a:cubicBezTo>
                      <a:pt x="6" y="0"/>
                      <a:pt x="37" y="13"/>
                      <a:pt x="39" y="24"/>
                    </a:cubicBezTo>
                    <a:cubicBezTo>
                      <a:pt x="41" y="34"/>
                      <a:pt x="45" y="43"/>
                      <a:pt x="42" y="44"/>
                    </a:cubicBezTo>
                    <a:cubicBezTo>
                      <a:pt x="38" y="46"/>
                      <a:pt x="36" y="29"/>
                      <a:pt x="26" y="22"/>
                    </a:cubicBezTo>
                    <a:cubicBezTo>
                      <a:pt x="15" y="14"/>
                      <a:pt x="0" y="8"/>
                      <a:pt x="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33">
                <a:extLst>
                  <a:ext uri="{FF2B5EF4-FFF2-40B4-BE49-F238E27FC236}">
                    <a16:creationId xmlns:a16="http://schemas.microsoft.com/office/drawing/2014/main" id="{97F25213-F423-4413-BE85-BBD6A0FCC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0111" y="2551491"/>
                <a:ext cx="78318" cy="61126"/>
              </a:xfrm>
              <a:custGeom>
                <a:avLst/>
                <a:gdLst>
                  <a:gd name="T0" fmla="*/ 0 w 35"/>
                  <a:gd name="T1" fmla="*/ 23 h 27"/>
                  <a:gd name="T2" fmla="*/ 35 w 35"/>
                  <a:gd name="T3" fmla="*/ 0 h 27"/>
                  <a:gd name="T4" fmla="*/ 10 w 35"/>
                  <a:gd name="T5" fmla="*/ 27 h 27"/>
                  <a:gd name="T6" fmla="*/ 0 w 35"/>
                  <a:gd name="T7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27">
                    <a:moveTo>
                      <a:pt x="0" y="23"/>
                    </a:moveTo>
                    <a:cubicBezTo>
                      <a:pt x="0" y="23"/>
                      <a:pt x="31" y="13"/>
                      <a:pt x="35" y="0"/>
                    </a:cubicBezTo>
                    <a:cubicBezTo>
                      <a:pt x="35" y="0"/>
                      <a:pt x="33" y="19"/>
                      <a:pt x="10" y="27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134">
                <a:extLst>
                  <a:ext uri="{FF2B5EF4-FFF2-40B4-BE49-F238E27FC236}">
                    <a16:creationId xmlns:a16="http://schemas.microsoft.com/office/drawing/2014/main" id="{78C014DD-4460-4F0E-93BA-EFF9FADB7F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22652" y="2507555"/>
                <a:ext cx="71536" cy="170894"/>
              </a:xfrm>
              <a:custGeom>
                <a:avLst/>
                <a:gdLst>
                  <a:gd name="T0" fmla="*/ 18 w 49"/>
                  <a:gd name="T1" fmla="*/ 0 h 83"/>
                  <a:gd name="T2" fmla="*/ 1 w 49"/>
                  <a:gd name="T3" fmla="*/ 26 h 83"/>
                  <a:gd name="T4" fmla="*/ 13 w 49"/>
                  <a:gd name="T5" fmla="*/ 46 h 83"/>
                  <a:gd name="T6" fmla="*/ 32 w 49"/>
                  <a:gd name="T7" fmla="*/ 75 h 83"/>
                  <a:gd name="T8" fmla="*/ 49 w 49"/>
                  <a:gd name="T9" fmla="*/ 83 h 83"/>
                  <a:gd name="T10" fmla="*/ 29 w 49"/>
                  <a:gd name="T11" fmla="*/ 64 h 83"/>
                  <a:gd name="T12" fmla="*/ 23 w 49"/>
                  <a:gd name="T13" fmla="*/ 28 h 83"/>
                  <a:gd name="T14" fmla="*/ 18 w 49"/>
                  <a:gd name="T15" fmla="*/ 0 h 83"/>
                  <a:gd name="connsiteX0" fmla="*/ 3478 w 6513"/>
                  <a:gd name="connsiteY0" fmla="*/ 0 h 9129"/>
                  <a:gd name="connsiteX1" fmla="*/ 9 w 6513"/>
                  <a:gd name="connsiteY1" fmla="*/ 3133 h 9129"/>
                  <a:gd name="connsiteX2" fmla="*/ 2458 w 6513"/>
                  <a:gd name="connsiteY2" fmla="*/ 5542 h 9129"/>
                  <a:gd name="connsiteX3" fmla="*/ 6336 w 6513"/>
                  <a:gd name="connsiteY3" fmla="*/ 9036 h 9129"/>
                  <a:gd name="connsiteX4" fmla="*/ 5723 w 6513"/>
                  <a:gd name="connsiteY4" fmla="*/ 7711 h 9129"/>
                  <a:gd name="connsiteX5" fmla="*/ 4499 w 6513"/>
                  <a:gd name="connsiteY5" fmla="*/ 3373 h 9129"/>
                  <a:gd name="connsiteX6" fmla="*/ 3478 w 6513"/>
                  <a:gd name="connsiteY6" fmla="*/ 0 h 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13" h="9129">
                    <a:moveTo>
                      <a:pt x="3478" y="0"/>
                    </a:moveTo>
                    <a:cubicBezTo>
                      <a:pt x="3478" y="0"/>
                      <a:pt x="-195" y="1446"/>
                      <a:pt x="9" y="3133"/>
                    </a:cubicBezTo>
                    <a:cubicBezTo>
                      <a:pt x="417" y="4819"/>
                      <a:pt x="1846" y="4699"/>
                      <a:pt x="2458" y="5542"/>
                    </a:cubicBezTo>
                    <a:cubicBezTo>
                      <a:pt x="2866" y="6506"/>
                      <a:pt x="5792" y="8675"/>
                      <a:pt x="6336" y="9036"/>
                    </a:cubicBezTo>
                    <a:cubicBezTo>
                      <a:pt x="6880" y="9398"/>
                      <a:pt x="6029" y="8655"/>
                      <a:pt x="5723" y="7711"/>
                    </a:cubicBezTo>
                    <a:cubicBezTo>
                      <a:pt x="4295" y="6747"/>
                      <a:pt x="5315" y="4337"/>
                      <a:pt x="4499" y="3373"/>
                    </a:cubicBezTo>
                    <a:cubicBezTo>
                      <a:pt x="3887" y="2410"/>
                      <a:pt x="2458" y="843"/>
                      <a:pt x="347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135">
                <a:extLst>
                  <a:ext uri="{FF2B5EF4-FFF2-40B4-BE49-F238E27FC236}">
                    <a16:creationId xmlns:a16="http://schemas.microsoft.com/office/drawing/2014/main" id="{14B49CA5-7C68-4A82-A097-52CE96505E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8251" y="2743465"/>
                <a:ext cx="133713" cy="191975"/>
              </a:xfrm>
              <a:custGeom>
                <a:avLst/>
                <a:gdLst>
                  <a:gd name="T0" fmla="*/ 59 w 59"/>
                  <a:gd name="T1" fmla="*/ 6 h 85"/>
                  <a:gd name="T2" fmla="*/ 33 w 59"/>
                  <a:gd name="T3" fmla="*/ 44 h 85"/>
                  <a:gd name="T4" fmla="*/ 5 w 59"/>
                  <a:gd name="T5" fmla="*/ 83 h 85"/>
                  <a:gd name="T6" fmla="*/ 35 w 59"/>
                  <a:gd name="T7" fmla="*/ 32 h 85"/>
                  <a:gd name="T8" fmla="*/ 59 w 59"/>
                  <a:gd name="T9" fmla="*/ 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85">
                    <a:moveTo>
                      <a:pt x="59" y="6"/>
                    </a:moveTo>
                    <a:cubicBezTo>
                      <a:pt x="59" y="6"/>
                      <a:pt x="37" y="40"/>
                      <a:pt x="33" y="44"/>
                    </a:cubicBezTo>
                    <a:cubicBezTo>
                      <a:pt x="28" y="49"/>
                      <a:pt x="9" y="81"/>
                      <a:pt x="5" y="83"/>
                    </a:cubicBezTo>
                    <a:cubicBezTo>
                      <a:pt x="0" y="85"/>
                      <a:pt x="29" y="43"/>
                      <a:pt x="35" y="32"/>
                    </a:cubicBezTo>
                    <a:cubicBezTo>
                      <a:pt x="42" y="20"/>
                      <a:pt x="55" y="0"/>
                      <a:pt x="59" y="6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136">
                <a:extLst>
                  <a:ext uri="{FF2B5EF4-FFF2-40B4-BE49-F238E27FC236}">
                    <a16:creationId xmlns:a16="http://schemas.microsoft.com/office/drawing/2014/main" id="{CEF4C27D-44F3-4BCA-A686-2C1D9B20C9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5336" y="2813187"/>
                <a:ext cx="299900" cy="524348"/>
              </a:xfrm>
              <a:custGeom>
                <a:avLst/>
                <a:gdLst>
                  <a:gd name="T0" fmla="*/ 133 w 133"/>
                  <a:gd name="T1" fmla="*/ 0 h 232"/>
                  <a:gd name="T2" fmla="*/ 84 w 133"/>
                  <a:gd name="T3" fmla="*/ 69 h 232"/>
                  <a:gd name="T4" fmla="*/ 72 w 133"/>
                  <a:gd name="T5" fmla="*/ 192 h 232"/>
                  <a:gd name="T6" fmla="*/ 61 w 133"/>
                  <a:gd name="T7" fmla="*/ 225 h 232"/>
                  <a:gd name="T8" fmla="*/ 42 w 133"/>
                  <a:gd name="T9" fmla="*/ 218 h 232"/>
                  <a:gd name="T10" fmla="*/ 42 w 133"/>
                  <a:gd name="T11" fmla="*/ 195 h 232"/>
                  <a:gd name="T12" fmla="*/ 18 w 133"/>
                  <a:gd name="T13" fmla="*/ 204 h 232"/>
                  <a:gd name="T14" fmla="*/ 29 w 133"/>
                  <a:gd name="T15" fmla="*/ 179 h 232"/>
                  <a:gd name="T16" fmla="*/ 40 w 133"/>
                  <a:gd name="T17" fmla="*/ 119 h 232"/>
                  <a:gd name="T18" fmla="*/ 72 w 133"/>
                  <a:gd name="T19" fmla="*/ 69 h 232"/>
                  <a:gd name="T20" fmla="*/ 133 w 133"/>
                  <a:gd name="T21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232">
                    <a:moveTo>
                      <a:pt x="133" y="0"/>
                    </a:moveTo>
                    <a:cubicBezTo>
                      <a:pt x="133" y="0"/>
                      <a:pt x="88" y="18"/>
                      <a:pt x="84" y="69"/>
                    </a:cubicBezTo>
                    <a:cubicBezTo>
                      <a:pt x="84" y="69"/>
                      <a:pt x="75" y="177"/>
                      <a:pt x="72" y="192"/>
                    </a:cubicBezTo>
                    <a:cubicBezTo>
                      <a:pt x="68" y="207"/>
                      <a:pt x="65" y="217"/>
                      <a:pt x="61" y="225"/>
                    </a:cubicBezTo>
                    <a:cubicBezTo>
                      <a:pt x="57" y="232"/>
                      <a:pt x="44" y="225"/>
                      <a:pt x="42" y="218"/>
                    </a:cubicBezTo>
                    <a:cubicBezTo>
                      <a:pt x="41" y="211"/>
                      <a:pt x="48" y="202"/>
                      <a:pt x="42" y="195"/>
                    </a:cubicBezTo>
                    <a:cubicBezTo>
                      <a:pt x="36" y="189"/>
                      <a:pt x="35" y="194"/>
                      <a:pt x="18" y="204"/>
                    </a:cubicBezTo>
                    <a:cubicBezTo>
                      <a:pt x="0" y="214"/>
                      <a:pt x="24" y="198"/>
                      <a:pt x="29" y="179"/>
                    </a:cubicBezTo>
                    <a:cubicBezTo>
                      <a:pt x="34" y="161"/>
                      <a:pt x="28" y="146"/>
                      <a:pt x="40" y="119"/>
                    </a:cubicBezTo>
                    <a:cubicBezTo>
                      <a:pt x="53" y="91"/>
                      <a:pt x="70" y="79"/>
                      <a:pt x="72" y="69"/>
                    </a:cubicBezTo>
                    <a:cubicBezTo>
                      <a:pt x="74" y="58"/>
                      <a:pt x="92" y="7"/>
                      <a:pt x="133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137">
                <a:extLst>
                  <a:ext uri="{FF2B5EF4-FFF2-40B4-BE49-F238E27FC236}">
                    <a16:creationId xmlns:a16="http://schemas.microsoft.com/office/drawing/2014/main" id="{272A6343-3527-4999-9DBF-0BF3D05DC6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3419" y="3240115"/>
                <a:ext cx="49665" cy="329509"/>
              </a:xfrm>
              <a:custGeom>
                <a:avLst/>
                <a:gdLst>
                  <a:gd name="T0" fmla="*/ 13 w 22"/>
                  <a:gd name="T1" fmla="*/ 7 h 146"/>
                  <a:gd name="T2" fmla="*/ 21 w 22"/>
                  <a:gd name="T3" fmla="*/ 118 h 146"/>
                  <a:gd name="T4" fmla="*/ 18 w 22"/>
                  <a:gd name="T5" fmla="*/ 145 h 146"/>
                  <a:gd name="T6" fmla="*/ 5 w 22"/>
                  <a:gd name="T7" fmla="*/ 141 h 146"/>
                  <a:gd name="T8" fmla="*/ 10 w 22"/>
                  <a:gd name="T9" fmla="*/ 131 h 146"/>
                  <a:gd name="T10" fmla="*/ 4 w 22"/>
                  <a:gd name="T11" fmla="*/ 116 h 146"/>
                  <a:gd name="T12" fmla="*/ 10 w 22"/>
                  <a:gd name="T13" fmla="*/ 103 h 146"/>
                  <a:gd name="T14" fmla="*/ 6 w 22"/>
                  <a:gd name="T15" fmla="*/ 94 h 146"/>
                  <a:gd name="T16" fmla="*/ 12 w 22"/>
                  <a:gd name="T17" fmla="*/ 68 h 146"/>
                  <a:gd name="T18" fmla="*/ 13 w 22"/>
                  <a:gd name="T19" fmla="*/ 7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6">
                    <a:moveTo>
                      <a:pt x="13" y="7"/>
                    </a:moveTo>
                    <a:cubicBezTo>
                      <a:pt x="13" y="7"/>
                      <a:pt x="22" y="107"/>
                      <a:pt x="21" y="118"/>
                    </a:cubicBezTo>
                    <a:cubicBezTo>
                      <a:pt x="20" y="128"/>
                      <a:pt x="21" y="144"/>
                      <a:pt x="18" y="145"/>
                    </a:cubicBezTo>
                    <a:cubicBezTo>
                      <a:pt x="14" y="146"/>
                      <a:pt x="8" y="146"/>
                      <a:pt x="5" y="141"/>
                    </a:cubicBezTo>
                    <a:cubicBezTo>
                      <a:pt x="2" y="136"/>
                      <a:pt x="9" y="138"/>
                      <a:pt x="10" y="131"/>
                    </a:cubicBezTo>
                    <a:cubicBezTo>
                      <a:pt x="10" y="124"/>
                      <a:pt x="3" y="123"/>
                      <a:pt x="4" y="116"/>
                    </a:cubicBezTo>
                    <a:cubicBezTo>
                      <a:pt x="4" y="110"/>
                      <a:pt x="12" y="107"/>
                      <a:pt x="10" y="103"/>
                    </a:cubicBezTo>
                    <a:cubicBezTo>
                      <a:pt x="9" y="99"/>
                      <a:pt x="0" y="108"/>
                      <a:pt x="6" y="94"/>
                    </a:cubicBezTo>
                    <a:cubicBezTo>
                      <a:pt x="13" y="79"/>
                      <a:pt x="12" y="76"/>
                      <a:pt x="12" y="68"/>
                    </a:cubicBezTo>
                    <a:cubicBezTo>
                      <a:pt x="12" y="60"/>
                      <a:pt x="6" y="0"/>
                      <a:pt x="13" y="7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138">
                <a:extLst>
                  <a:ext uri="{FF2B5EF4-FFF2-40B4-BE49-F238E27FC236}">
                    <a16:creationId xmlns:a16="http://schemas.microsoft.com/office/drawing/2014/main" id="{87EB40DE-B1EA-45A7-A5F8-6FA9C9C199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4944" y="2860942"/>
                <a:ext cx="150905" cy="153771"/>
              </a:xfrm>
              <a:custGeom>
                <a:avLst/>
                <a:gdLst>
                  <a:gd name="T0" fmla="*/ 67 w 67"/>
                  <a:gd name="T1" fmla="*/ 0 h 68"/>
                  <a:gd name="T2" fmla="*/ 16 w 67"/>
                  <a:gd name="T3" fmla="*/ 52 h 68"/>
                  <a:gd name="T4" fmla="*/ 17 w 67"/>
                  <a:gd name="T5" fmla="*/ 58 h 68"/>
                  <a:gd name="T6" fmla="*/ 67 w 67"/>
                  <a:gd name="T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68">
                    <a:moveTo>
                      <a:pt x="67" y="0"/>
                    </a:moveTo>
                    <a:cubicBezTo>
                      <a:pt x="67" y="0"/>
                      <a:pt x="32" y="36"/>
                      <a:pt x="16" y="52"/>
                    </a:cubicBezTo>
                    <a:cubicBezTo>
                      <a:pt x="0" y="68"/>
                      <a:pt x="9" y="66"/>
                      <a:pt x="17" y="58"/>
                    </a:cubicBezTo>
                    <a:cubicBezTo>
                      <a:pt x="25" y="50"/>
                      <a:pt x="65" y="10"/>
                      <a:pt x="6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139">
                <a:extLst>
                  <a:ext uri="{FF2B5EF4-FFF2-40B4-BE49-F238E27FC236}">
                    <a16:creationId xmlns:a16="http://schemas.microsoft.com/office/drawing/2014/main" id="{BE8F61FB-7947-4FE2-8052-01E7FC7D9A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7859" y="3041455"/>
                <a:ext cx="112701" cy="250235"/>
              </a:xfrm>
              <a:custGeom>
                <a:avLst/>
                <a:gdLst>
                  <a:gd name="T0" fmla="*/ 50 w 50"/>
                  <a:gd name="T1" fmla="*/ 0 h 111"/>
                  <a:gd name="T2" fmla="*/ 31 w 50"/>
                  <a:gd name="T3" fmla="*/ 34 h 111"/>
                  <a:gd name="T4" fmla="*/ 13 w 50"/>
                  <a:gd name="T5" fmla="*/ 87 h 111"/>
                  <a:gd name="T6" fmla="*/ 5 w 50"/>
                  <a:gd name="T7" fmla="*/ 110 h 111"/>
                  <a:gd name="T8" fmla="*/ 25 w 50"/>
                  <a:gd name="T9" fmla="*/ 79 h 111"/>
                  <a:gd name="T10" fmla="*/ 36 w 50"/>
                  <a:gd name="T11" fmla="*/ 42 h 111"/>
                  <a:gd name="T12" fmla="*/ 50 w 50"/>
                  <a:gd name="T1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11">
                    <a:moveTo>
                      <a:pt x="50" y="0"/>
                    </a:moveTo>
                    <a:cubicBezTo>
                      <a:pt x="50" y="0"/>
                      <a:pt x="34" y="18"/>
                      <a:pt x="31" y="34"/>
                    </a:cubicBezTo>
                    <a:cubicBezTo>
                      <a:pt x="28" y="50"/>
                      <a:pt x="24" y="65"/>
                      <a:pt x="13" y="87"/>
                    </a:cubicBezTo>
                    <a:cubicBezTo>
                      <a:pt x="13" y="87"/>
                      <a:pt x="0" y="108"/>
                      <a:pt x="5" y="110"/>
                    </a:cubicBezTo>
                    <a:cubicBezTo>
                      <a:pt x="10" y="111"/>
                      <a:pt x="14" y="96"/>
                      <a:pt x="25" y="79"/>
                    </a:cubicBezTo>
                    <a:cubicBezTo>
                      <a:pt x="36" y="62"/>
                      <a:pt x="36" y="52"/>
                      <a:pt x="36" y="42"/>
                    </a:cubicBezTo>
                    <a:cubicBezTo>
                      <a:pt x="37" y="31"/>
                      <a:pt x="45" y="4"/>
                      <a:pt x="50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140">
                <a:extLst>
                  <a:ext uri="{FF2B5EF4-FFF2-40B4-BE49-F238E27FC236}">
                    <a16:creationId xmlns:a16="http://schemas.microsoft.com/office/drawing/2014/main" id="{A2889287-60EB-458C-B77A-0B08BD0E88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4602" y="3344220"/>
                <a:ext cx="205346" cy="69722"/>
              </a:xfrm>
              <a:custGeom>
                <a:avLst/>
                <a:gdLst>
                  <a:gd name="T0" fmla="*/ 91 w 91"/>
                  <a:gd name="T1" fmla="*/ 2 h 31"/>
                  <a:gd name="T2" fmla="*/ 65 w 91"/>
                  <a:gd name="T3" fmla="*/ 2 h 31"/>
                  <a:gd name="T4" fmla="*/ 69 w 91"/>
                  <a:gd name="T5" fmla="*/ 8 h 31"/>
                  <a:gd name="T6" fmla="*/ 62 w 91"/>
                  <a:gd name="T7" fmla="*/ 17 h 31"/>
                  <a:gd name="T8" fmla="*/ 21 w 91"/>
                  <a:gd name="T9" fmla="*/ 22 h 31"/>
                  <a:gd name="T10" fmla="*/ 43 w 91"/>
                  <a:gd name="T11" fmla="*/ 31 h 31"/>
                  <a:gd name="T12" fmla="*/ 69 w 91"/>
                  <a:gd name="T13" fmla="*/ 25 h 31"/>
                  <a:gd name="T14" fmla="*/ 91 w 91"/>
                  <a:gd name="T1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31">
                    <a:moveTo>
                      <a:pt x="91" y="2"/>
                    </a:moveTo>
                    <a:cubicBezTo>
                      <a:pt x="91" y="2"/>
                      <a:pt x="78" y="0"/>
                      <a:pt x="65" y="2"/>
                    </a:cubicBezTo>
                    <a:cubicBezTo>
                      <a:pt x="52" y="5"/>
                      <a:pt x="59" y="8"/>
                      <a:pt x="69" y="8"/>
                    </a:cubicBezTo>
                    <a:cubicBezTo>
                      <a:pt x="79" y="8"/>
                      <a:pt x="79" y="14"/>
                      <a:pt x="62" y="17"/>
                    </a:cubicBezTo>
                    <a:cubicBezTo>
                      <a:pt x="44" y="20"/>
                      <a:pt x="42" y="18"/>
                      <a:pt x="21" y="22"/>
                    </a:cubicBezTo>
                    <a:cubicBezTo>
                      <a:pt x="0" y="25"/>
                      <a:pt x="14" y="30"/>
                      <a:pt x="43" y="31"/>
                    </a:cubicBezTo>
                    <a:cubicBezTo>
                      <a:pt x="43" y="31"/>
                      <a:pt x="64" y="25"/>
                      <a:pt x="69" y="25"/>
                    </a:cubicBezTo>
                    <a:cubicBezTo>
                      <a:pt x="74" y="25"/>
                      <a:pt x="90" y="4"/>
                      <a:pt x="91" y="2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41">
                <a:extLst>
                  <a:ext uri="{FF2B5EF4-FFF2-40B4-BE49-F238E27FC236}">
                    <a16:creationId xmlns:a16="http://schemas.microsoft.com/office/drawing/2014/main" id="{656EAF5B-5FEC-4080-B695-58A862295C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7424" y="2820828"/>
                <a:ext cx="196750" cy="554911"/>
              </a:xfrm>
              <a:custGeom>
                <a:avLst/>
                <a:gdLst>
                  <a:gd name="T0" fmla="*/ 18 w 87"/>
                  <a:gd name="T1" fmla="*/ 246 h 246"/>
                  <a:gd name="T2" fmla="*/ 5 w 87"/>
                  <a:gd name="T3" fmla="*/ 228 h 246"/>
                  <a:gd name="T4" fmla="*/ 11 w 87"/>
                  <a:gd name="T5" fmla="*/ 196 h 246"/>
                  <a:gd name="T6" fmla="*/ 22 w 87"/>
                  <a:gd name="T7" fmla="*/ 155 h 246"/>
                  <a:gd name="T8" fmla="*/ 36 w 87"/>
                  <a:gd name="T9" fmla="*/ 85 h 246"/>
                  <a:gd name="T10" fmla="*/ 23 w 87"/>
                  <a:gd name="T11" fmla="*/ 42 h 246"/>
                  <a:gd name="T12" fmla="*/ 59 w 87"/>
                  <a:gd name="T13" fmla="*/ 10 h 246"/>
                  <a:gd name="T14" fmla="*/ 18 w 87"/>
                  <a:gd name="T1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246">
                    <a:moveTo>
                      <a:pt x="18" y="246"/>
                    </a:moveTo>
                    <a:cubicBezTo>
                      <a:pt x="18" y="246"/>
                      <a:pt x="11" y="240"/>
                      <a:pt x="5" y="228"/>
                    </a:cubicBezTo>
                    <a:cubicBezTo>
                      <a:pt x="0" y="215"/>
                      <a:pt x="5" y="212"/>
                      <a:pt x="11" y="196"/>
                    </a:cubicBezTo>
                    <a:cubicBezTo>
                      <a:pt x="17" y="180"/>
                      <a:pt x="19" y="166"/>
                      <a:pt x="22" y="155"/>
                    </a:cubicBezTo>
                    <a:cubicBezTo>
                      <a:pt x="25" y="144"/>
                      <a:pt x="40" y="98"/>
                      <a:pt x="36" y="85"/>
                    </a:cubicBezTo>
                    <a:cubicBezTo>
                      <a:pt x="32" y="72"/>
                      <a:pt x="19" y="59"/>
                      <a:pt x="23" y="42"/>
                    </a:cubicBezTo>
                    <a:cubicBezTo>
                      <a:pt x="28" y="24"/>
                      <a:pt x="40" y="0"/>
                      <a:pt x="59" y="10"/>
                    </a:cubicBezTo>
                    <a:cubicBezTo>
                      <a:pt x="59" y="10"/>
                      <a:pt x="87" y="78"/>
                      <a:pt x="18" y="246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142">
                <a:extLst>
                  <a:ext uri="{FF2B5EF4-FFF2-40B4-BE49-F238E27FC236}">
                    <a16:creationId xmlns:a16="http://schemas.microsoft.com/office/drawing/2014/main" id="{531C0084-F2EA-46BA-B70E-595C11DF1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46968" y="3425404"/>
                <a:ext cx="201526" cy="180513"/>
              </a:xfrm>
              <a:custGeom>
                <a:avLst/>
                <a:gdLst>
                  <a:gd name="T0" fmla="*/ 87 w 89"/>
                  <a:gd name="T1" fmla="*/ 0 h 80"/>
                  <a:gd name="T2" fmla="*/ 20 w 89"/>
                  <a:gd name="T3" fmla="*/ 66 h 80"/>
                  <a:gd name="T4" fmla="*/ 4 w 89"/>
                  <a:gd name="T5" fmla="*/ 78 h 80"/>
                  <a:gd name="T6" fmla="*/ 49 w 89"/>
                  <a:gd name="T7" fmla="*/ 74 h 80"/>
                  <a:gd name="T8" fmla="*/ 85 w 89"/>
                  <a:gd name="T9" fmla="*/ 66 h 80"/>
                  <a:gd name="T10" fmla="*/ 44 w 89"/>
                  <a:gd name="T11" fmla="*/ 68 h 80"/>
                  <a:gd name="T12" fmla="*/ 47 w 89"/>
                  <a:gd name="T13" fmla="*/ 61 h 80"/>
                  <a:gd name="T14" fmla="*/ 82 w 89"/>
                  <a:gd name="T15" fmla="*/ 50 h 80"/>
                  <a:gd name="T16" fmla="*/ 74 w 89"/>
                  <a:gd name="T17" fmla="*/ 46 h 80"/>
                  <a:gd name="T18" fmla="*/ 87 w 89"/>
                  <a:gd name="T1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80">
                    <a:moveTo>
                      <a:pt x="87" y="0"/>
                    </a:moveTo>
                    <a:cubicBezTo>
                      <a:pt x="87" y="0"/>
                      <a:pt x="34" y="53"/>
                      <a:pt x="20" y="66"/>
                    </a:cubicBezTo>
                    <a:cubicBezTo>
                      <a:pt x="20" y="66"/>
                      <a:pt x="8" y="75"/>
                      <a:pt x="4" y="78"/>
                    </a:cubicBezTo>
                    <a:cubicBezTo>
                      <a:pt x="0" y="80"/>
                      <a:pt x="33" y="74"/>
                      <a:pt x="49" y="74"/>
                    </a:cubicBezTo>
                    <a:cubicBezTo>
                      <a:pt x="65" y="74"/>
                      <a:pt x="81" y="68"/>
                      <a:pt x="85" y="66"/>
                    </a:cubicBezTo>
                    <a:cubicBezTo>
                      <a:pt x="89" y="63"/>
                      <a:pt x="61" y="68"/>
                      <a:pt x="44" y="68"/>
                    </a:cubicBezTo>
                    <a:cubicBezTo>
                      <a:pt x="26" y="68"/>
                      <a:pt x="28" y="63"/>
                      <a:pt x="47" y="61"/>
                    </a:cubicBezTo>
                    <a:cubicBezTo>
                      <a:pt x="66" y="59"/>
                      <a:pt x="76" y="54"/>
                      <a:pt x="82" y="50"/>
                    </a:cubicBezTo>
                    <a:cubicBezTo>
                      <a:pt x="88" y="46"/>
                      <a:pt x="76" y="47"/>
                      <a:pt x="74" y="46"/>
                    </a:cubicBezTo>
                    <a:cubicBezTo>
                      <a:pt x="72" y="44"/>
                      <a:pt x="66" y="41"/>
                      <a:pt x="8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143">
                <a:extLst>
                  <a:ext uri="{FF2B5EF4-FFF2-40B4-BE49-F238E27FC236}">
                    <a16:creationId xmlns:a16="http://schemas.microsoft.com/office/drawing/2014/main" id="{E1FB3D5E-E055-456C-92C8-0F7F21D96B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2635" y="3447371"/>
                <a:ext cx="150905" cy="117477"/>
              </a:xfrm>
              <a:custGeom>
                <a:avLst/>
                <a:gdLst>
                  <a:gd name="T0" fmla="*/ 67 w 67"/>
                  <a:gd name="T1" fmla="*/ 0 h 52"/>
                  <a:gd name="T2" fmla="*/ 30 w 67"/>
                  <a:gd name="T3" fmla="*/ 36 h 52"/>
                  <a:gd name="T4" fmla="*/ 11 w 67"/>
                  <a:gd name="T5" fmla="*/ 48 h 52"/>
                  <a:gd name="T6" fmla="*/ 20 w 67"/>
                  <a:gd name="T7" fmla="*/ 32 h 52"/>
                  <a:gd name="T8" fmla="*/ 67 w 67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2">
                    <a:moveTo>
                      <a:pt x="67" y="0"/>
                    </a:moveTo>
                    <a:cubicBezTo>
                      <a:pt x="67" y="0"/>
                      <a:pt x="42" y="28"/>
                      <a:pt x="30" y="36"/>
                    </a:cubicBezTo>
                    <a:cubicBezTo>
                      <a:pt x="17" y="44"/>
                      <a:pt x="16" y="52"/>
                      <a:pt x="11" y="48"/>
                    </a:cubicBezTo>
                    <a:cubicBezTo>
                      <a:pt x="6" y="43"/>
                      <a:pt x="0" y="41"/>
                      <a:pt x="20" y="32"/>
                    </a:cubicBezTo>
                    <a:cubicBezTo>
                      <a:pt x="40" y="24"/>
                      <a:pt x="60" y="4"/>
                      <a:pt x="6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44">
                <a:extLst>
                  <a:ext uri="{FF2B5EF4-FFF2-40B4-BE49-F238E27FC236}">
                    <a16:creationId xmlns:a16="http://schemas.microsoft.com/office/drawing/2014/main" id="{EAE69539-14C7-4269-8316-06B8E58963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377" y="3634570"/>
                <a:ext cx="99330" cy="47755"/>
              </a:xfrm>
              <a:custGeom>
                <a:avLst/>
                <a:gdLst>
                  <a:gd name="T0" fmla="*/ 44 w 44"/>
                  <a:gd name="T1" fmla="*/ 0 h 21"/>
                  <a:gd name="T2" fmla="*/ 24 w 44"/>
                  <a:gd name="T3" fmla="*/ 8 h 21"/>
                  <a:gd name="T4" fmla="*/ 6 w 44"/>
                  <a:gd name="T5" fmla="*/ 11 h 21"/>
                  <a:gd name="T6" fmla="*/ 20 w 44"/>
                  <a:gd name="T7" fmla="*/ 21 h 21"/>
                  <a:gd name="T8" fmla="*/ 44 w 4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1">
                    <a:moveTo>
                      <a:pt x="44" y="0"/>
                    </a:moveTo>
                    <a:cubicBezTo>
                      <a:pt x="44" y="0"/>
                      <a:pt x="38" y="8"/>
                      <a:pt x="24" y="8"/>
                    </a:cubicBezTo>
                    <a:cubicBezTo>
                      <a:pt x="10" y="8"/>
                      <a:pt x="0" y="5"/>
                      <a:pt x="6" y="11"/>
                    </a:cubicBezTo>
                    <a:cubicBezTo>
                      <a:pt x="11" y="17"/>
                      <a:pt x="20" y="21"/>
                      <a:pt x="20" y="21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45">
                <a:extLst>
                  <a:ext uri="{FF2B5EF4-FFF2-40B4-BE49-F238E27FC236}">
                    <a16:creationId xmlns:a16="http://schemas.microsoft.com/office/drawing/2014/main" id="{FB31A258-55A0-4127-9622-217A688C19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9769" y="3609738"/>
                <a:ext cx="357206" cy="271247"/>
              </a:xfrm>
              <a:custGeom>
                <a:avLst/>
                <a:gdLst>
                  <a:gd name="T0" fmla="*/ 4 w 158"/>
                  <a:gd name="T1" fmla="*/ 98 h 120"/>
                  <a:gd name="T2" fmla="*/ 53 w 158"/>
                  <a:gd name="T3" fmla="*/ 119 h 120"/>
                  <a:gd name="T4" fmla="*/ 43 w 158"/>
                  <a:gd name="T5" fmla="*/ 98 h 120"/>
                  <a:gd name="T6" fmla="*/ 42 w 158"/>
                  <a:gd name="T7" fmla="*/ 84 h 120"/>
                  <a:gd name="T8" fmla="*/ 77 w 158"/>
                  <a:gd name="T9" fmla="*/ 89 h 120"/>
                  <a:gd name="T10" fmla="*/ 60 w 158"/>
                  <a:gd name="T11" fmla="*/ 65 h 120"/>
                  <a:gd name="T12" fmla="*/ 64 w 158"/>
                  <a:gd name="T13" fmla="*/ 52 h 120"/>
                  <a:gd name="T14" fmla="*/ 111 w 158"/>
                  <a:gd name="T15" fmla="*/ 36 h 120"/>
                  <a:gd name="T16" fmla="*/ 155 w 158"/>
                  <a:gd name="T17" fmla="*/ 29 h 120"/>
                  <a:gd name="T18" fmla="*/ 94 w 158"/>
                  <a:gd name="T19" fmla="*/ 33 h 120"/>
                  <a:gd name="T20" fmla="*/ 64 w 158"/>
                  <a:gd name="T21" fmla="*/ 38 h 120"/>
                  <a:gd name="T22" fmla="*/ 100 w 158"/>
                  <a:gd name="T23" fmla="*/ 26 h 120"/>
                  <a:gd name="T24" fmla="*/ 65 w 158"/>
                  <a:gd name="T25" fmla="*/ 10 h 120"/>
                  <a:gd name="T26" fmla="*/ 38 w 158"/>
                  <a:gd name="T27" fmla="*/ 28 h 120"/>
                  <a:gd name="T28" fmla="*/ 14 w 158"/>
                  <a:gd name="T29" fmla="*/ 54 h 120"/>
                  <a:gd name="T30" fmla="*/ 12 w 158"/>
                  <a:gd name="T31" fmla="*/ 69 h 120"/>
                  <a:gd name="T32" fmla="*/ 4 w 158"/>
                  <a:gd name="T33" fmla="*/ 76 h 120"/>
                  <a:gd name="T34" fmla="*/ 5 w 158"/>
                  <a:gd name="T35" fmla="*/ 94 h 120"/>
                  <a:gd name="T36" fmla="*/ 4 w 158"/>
                  <a:gd name="T37" fmla="*/ 9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8" h="120">
                    <a:moveTo>
                      <a:pt x="4" y="98"/>
                    </a:moveTo>
                    <a:cubicBezTo>
                      <a:pt x="4" y="98"/>
                      <a:pt x="49" y="120"/>
                      <a:pt x="53" y="119"/>
                    </a:cubicBezTo>
                    <a:cubicBezTo>
                      <a:pt x="57" y="118"/>
                      <a:pt x="65" y="108"/>
                      <a:pt x="43" y="98"/>
                    </a:cubicBezTo>
                    <a:cubicBezTo>
                      <a:pt x="22" y="89"/>
                      <a:pt x="35" y="83"/>
                      <a:pt x="42" y="84"/>
                    </a:cubicBezTo>
                    <a:cubicBezTo>
                      <a:pt x="49" y="84"/>
                      <a:pt x="68" y="89"/>
                      <a:pt x="77" y="89"/>
                    </a:cubicBezTo>
                    <a:cubicBezTo>
                      <a:pt x="87" y="89"/>
                      <a:pt x="85" y="78"/>
                      <a:pt x="60" y="65"/>
                    </a:cubicBezTo>
                    <a:cubicBezTo>
                      <a:pt x="35" y="52"/>
                      <a:pt x="45" y="55"/>
                      <a:pt x="64" y="52"/>
                    </a:cubicBezTo>
                    <a:cubicBezTo>
                      <a:pt x="83" y="48"/>
                      <a:pt x="99" y="37"/>
                      <a:pt x="111" y="36"/>
                    </a:cubicBezTo>
                    <a:cubicBezTo>
                      <a:pt x="124" y="34"/>
                      <a:pt x="151" y="32"/>
                      <a:pt x="155" y="29"/>
                    </a:cubicBezTo>
                    <a:cubicBezTo>
                      <a:pt x="158" y="26"/>
                      <a:pt x="123" y="30"/>
                      <a:pt x="94" y="33"/>
                    </a:cubicBezTo>
                    <a:cubicBezTo>
                      <a:pt x="94" y="33"/>
                      <a:pt x="64" y="40"/>
                      <a:pt x="64" y="38"/>
                    </a:cubicBezTo>
                    <a:cubicBezTo>
                      <a:pt x="64" y="36"/>
                      <a:pt x="88" y="30"/>
                      <a:pt x="100" y="26"/>
                    </a:cubicBezTo>
                    <a:cubicBezTo>
                      <a:pt x="112" y="22"/>
                      <a:pt x="95" y="0"/>
                      <a:pt x="65" y="10"/>
                    </a:cubicBezTo>
                    <a:cubicBezTo>
                      <a:pt x="65" y="10"/>
                      <a:pt x="57" y="8"/>
                      <a:pt x="38" y="28"/>
                    </a:cubicBezTo>
                    <a:cubicBezTo>
                      <a:pt x="38" y="28"/>
                      <a:pt x="25" y="34"/>
                      <a:pt x="14" y="54"/>
                    </a:cubicBezTo>
                    <a:cubicBezTo>
                      <a:pt x="14" y="54"/>
                      <a:pt x="5" y="59"/>
                      <a:pt x="12" y="69"/>
                    </a:cubicBezTo>
                    <a:cubicBezTo>
                      <a:pt x="12" y="69"/>
                      <a:pt x="16" y="79"/>
                      <a:pt x="4" y="76"/>
                    </a:cubicBezTo>
                    <a:cubicBezTo>
                      <a:pt x="4" y="76"/>
                      <a:pt x="8" y="87"/>
                      <a:pt x="5" y="94"/>
                    </a:cubicBezTo>
                    <a:cubicBezTo>
                      <a:pt x="5" y="94"/>
                      <a:pt x="0" y="97"/>
                      <a:pt x="4" y="98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146">
                <a:extLst>
                  <a:ext uri="{FF2B5EF4-FFF2-40B4-BE49-F238E27FC236}">
                    <a16:creationId xmlns:a16="http://schemas.microsoft.com/office/drawing/2014/main" id="{158A1072-964B-485A-960C-AC0CE03DE1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2143" y="3930650"/>
                <a:ext cx="134669" cy="424063"/>
              </a:xfrm>
              <a:custGeom>
                <a:avLst/>
                <a:gdLst>
                  <a:gd name="T0" fmla="*/ 60 w 60"/>
                  <a:gd name="T1" fmla="*/ 0 h 188"/>
                  <a:gd name="T2" fmla="*/ 16 w 60"/>
                  <a:gd name="T3" fmla="*/ 114 h 188"/>
                  <a:gd name="T4" fmla="*/ 13 w 60"/>
                  <a:gd name="T5" fmla="*/ 169 h 188"/>
                  <a:gd name="T6" fmla="*/ 34 w 60"/>
                  <a:gd name="T7" fmla="*/ 148 h 188"/>
                  <a:gd name="T8" fmla="*/ 47 w 60"/>
                  <a:gd name="T9" fmla="*/ 95 h 188"/>
                  <a:gd name="T10" fmla="*/ 56 w 60"/>
                  <a:gd name="T11" fmla="*/ 75 h 188"/>
                  <a:gd name="T12" fmla="*/ 60 w 60"/>
                  <a:gd name="T13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88">
                    <a:moveTo>
                      <a:pt x="60" y="0"/>
                    </a:moveTo>
                    <a:cubicBezTo>
                      <a:pt x="60" y="0"/>
                      <a:pt x="16" y="92"/>
                      <a:pt x="16" y="114"/>
                    </a:cubicBezTo>
                    <a:cubicBezTo>
                      <a:pt x="15" y="136"/>
                      <a:pt x="26" y="150"/>
                      <a:pt x="13" y="169"/>
                    </a:cubicBezTo>
                    <a:cubicBezTo>
                      <a:pt x="0" y="188"/>
                      <a:pt x="30" y="168"/>
                      <a:pt x="34" y="148"/>
                    </a:cubicBezTo>
                    <a:cubicBezTo>
                      <a:pt x="38" y="128"/>
                      <a:pt x="41" y="106"/>
                      <a:pt x="47" y="95"/>
                    </a:cubicBezTo>
                    <a:cubicBezTo>
                      <a:pt x="53" y="84"/>
                      <a:pt x="56" y="75"/>
                      <a:pt x="56" y="75"/>
                    </a:cubicBezTo>
                    <a:cubicBezTo>
                      <a:pt x="56" y="75"/>
                      <a:pt x="56" y="5"/>
                      <a:pt x="60" y="0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47">
                <a:extLst>
                  <a:ext uri="{FF2B5EF4-FFF2-40B4-BE49-F238E27FC236}">
                    <a16:creationId xmlns:a16="http://schemas.microsoft.com/office/drawing/2014/main" id="{1F0061AA-60C9-4BC8-B920-0CC3AF9188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9663" y="4237236"/>
                <a:ext cx="135624" cy="268382"/>
              </a:xfrm>
              <a:custGeom>
                <a:avLst/>
                <a:gdLst>
                  <a:gd name="T0" fmla="*/ 0 w 60"/>
                  <a:gd name="T1" fmla="*/ 104 h 119"/>
                  <a:gd name="T2" fmla="*/ 26 w 60"/>
                  <a:gd name="T3" fmla="*/ 50 h 119"/>
                  <a:gd name="T4" fmla="*/ 52 w 60"/>
                  <a:gd name="T5" fmla="*/ 6 h 119"/>
                  <a:gd name="T6" fmla="*/ 43 w 60"/>
                  <a:gd name="T7" fmla="*/ 59 h 119"/>
                  <a:gd name="T8" fmla="*/ 27 w 60"/>
                  <a:gd name="T9" fmla="*/ 99 h 119"/>
                  <a:gd name="T10" fmla="*/ 22 w 60"/>
                  <a:gd name="T11" fmla="*/ 119 h 119"/>
                  <a:gd name="T12" fmla="*/ 0 w 60"/>
                  <a:gd name="T13" fmla="*/ 10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19">
                    <a:moveTo>
                      <a:pt x="0" y="104"/>
                    </a:moveTo>
                    <a:cubicBezTo>
                      <a:pt x="0" y="104"/>
                      <a:pt x="2" y="79"/>
                      <a:pt x="26" y="50"/>
                    </a:cubicBezTo>
                    <a:cubicBezTo>
                      <a:pt x="51" y="22"/>
                      <a:pt x="52" y="13"/>
                      <a:pt x="52" y="6"/>
                    </a:cubicBezTo>
                    <a:cubicBezTo>
                      <a:pt x="52" y="0"/>
                      <a:pt x="60" y="34"/>
                      <a:pt x="43" y="59"/>
                    </a:cubicBezTo>
                    <a:cubicBezTo>
                      <a:pt x="26" y="84"/>
                      <a:pt x="24" y="90"/>
                      <a:pt x="27" y="99"/>
                    </a:cubicBezTo>
                    <a:cubicBezTo>
                      <a:pt x="30" y="108"/>
                      <a:pt x="30" y="119"/>
                      <a:pt x="22" y="119"/>
                    </a:cubicBezTo>
                    <a:cubicBezTo>
                      <a:pt x="14" y="119"/>
                      <a:pt x="2" y="114"/>
                      <a:pt x="0" y="104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148">
                <a:extLst>
                  <a:ext uri="{FF2B5EF4-FFF2-40B4-BE49-F238E27FC236}">
                    <a16:creationId xmlns:a16="http://schemas.microsoft.com/office/drawing/2014/main" id="{EB53C510-6E8D-4AD8-81CF-1BEC2D74FA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1074" y="4798832"/>
                <a:ext cx="41069" cy="128938"/>
              </a:xfrm>
              <a:custGeom>
                <a:avLst/>
                <a:gdLst>
                  <a:gd name="T0" fmla="*/ 18 w 18"/>
                  <a:gd name="T1" fmla="*/ 0 h 57"/>
                  <a:gd name="T2" fmla="*/ 4 w 18"/>
                  <a:gd name="T3" fmla="*/ 49 h 57"/>
                  <a:gd name="T4" fmla="*/ 17 w 18"/>
                  <a:gd name="T5" fmla="*/ 32 h 57"/>
                  <a:gd name="T6" fmla="*/ 18 w 18"/>
                  <a:gd name="T7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57">
                    <a:moveTo>
                      <a:pt x="18" y="0"/>
                    </a:moveTo>
                    <a:cubicBezTo>
                      <a:pt x="18" y="0"/>
                      <a:pt x="8" y="40"/>
                      <a:pt x="4" y="49"/>
                    </a:cubicBezTo>
                    <a:cubicBezTo>
                      <a:pt x="0" y="57"/>
                      <a:pt x="16" y="41"/>
                      <a:pt x="17" y="32"/>
                    </a:cubicBezTo>
                    <a:cubicBezTo>
                      <a:pt x="18" y="23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149">
                <a:extLst>
                  <a:ext uri="{FF2B5EF4-FFF2-40B4-BE49-F238E27FC236}">
                    <a16:creationId xmlns:a16="http://schemas.microsoft.com/office/drawing/2014/main" id="{56FFA615-5109-4ACD-85C4-2B404941F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5963" y="4494156"/>
                <a:ext cx="59216" cy="244505"/>
              </a:xfrm>
              <a:custGeom>
                <a:avLst/>
                <a:gdLst>
                  <a:gd name="T0" fmla="*/ 8 w 26"/>
                  <a:gd name="T1" fmla="*/ 2 h 108"/>
                  <a:gd name="T2" fmla="*/ 6 w 26"/>
                  <a:gd name="T3" fmla="*/ 68 h 108"/>
                  <a:gd name="T4" fmla="*/ 6 w 26"/>
                  <a:gd name="T5" fmla="*/ 108 h 108"/>
                  <a:gd name="T6" fmla="*/ 16 w 26"/>
                  <a:gd name="T7" fmla="*/ 0 h 108"/>
                  <a:gd name="T8" fmla="*/ 8 w 26"/>
                  <a:gd name="T9" fmla="*/ 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08">
                    <a:moveTo>
                      <a:pt x="8" y="2"/>
                    </a:moveTo>
                    <a:cubicBezTo>
                      <a:pt x="8" y="2"/>
                      <a:pt x="10" y="50"/>
                      <a:pt x="6" y="68"/>
                    </a:cubicBezTo>
                    <a:cubicBezTo>
                      <a:pt x="2" y="87"/>
                      <a:pt x="0" y="100"/>
                      <a:pt x="6" y="108"/>
                    </a:cubicBezTo>
                    <a:cubicBezTo>
                      <a:pt x="6" y="108"/>
                      <a:pt x="26" y="27"/>
                      <a:pt x="16" y="0"/>
                    </a:cubicBez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150">
                <a:extLst>
                  <a:ext uri="{FF2B5EF4-FFF2-40B4-BE49-F238E27FC236}">
                    <a16:creationId xmlns:a16="http://schemas.microsoft.com/office/drawing/2014/main" id="{15CC603F-4009-4013-9850-E2EE59803E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6854" y="4950692"/>
                <a:ext cx="40114" cy="148995"/>
              </a:xfrm>
              <a:custGeom>
                <a:avLst/>
                <a:gdLst>
                  <a:gd name="T0" fmla="*/ 12 w 18"/>
                  <a:gd name="T1" fmla="*/ 18 h 66"/>
                  <a:gd name="T2" fmla="*/ 2 w 18"/>
                  <a:gd name="T3" fmla="*/ 62 h 66"/>
                  <a:gd name="T4" fmla="*/ 17 w 18"/>
                  <a:gd name="T5" fmla="*/ 20 h 66"/>
                  <a:gd name="T6" fmla="*/ 18 w 18"/>
                  <a:gd name="T7" fmla="*/ 0 h 66"/>
                  <a:gd name="T8" fmla="*/ 12 w 18"/>
                  <a:gd name="T9" fmla="*/ 1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66">
                    <a:moveTo>
                      <a:pt x="12" y="18"/>
                    </a:moveTo>
                    <a:cubicBezTo>
                      <a:pt x="12" y="18"/>
                      <a:pt x="4" y="58"/>
                      <a:pt x="2" y="62"/>
                    </a:cubicBezTo>
                    <a:cubicBezTo>
                      <a:pt x="0" y="66"/>
                      <a:pt x="13" y="56"/>
                      <a:pt x="17" y="20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12" y="18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151">
                <a:extLst>
                  <a:ext uri="{FF2B5EF4-FFF2-40B4-BE49-F238E27FC236}">
                    <a16:creationId xmlns:a16="http://schemas.microsoft.com/office/drawing/2014/main" id="{3E42FC65-6B69-4943-A01D-6AFA90D724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9099" y="5166544"/>
                <a:ext cx="153771" cy="127028"/>
              </a:xfrm>
              <a:custGeom>
                <a:avLst/>
                <a:gdLst>
                  <a:gd name="T0" fmla="*/ 68 w 68"/>
                  <a:gd name="T1" fmla="*/ 0 h 56"/>
                  <a:gd name="T2" fmla="*/ 37 w 68"/>
                  <a:gd name="T3" fmla="*/ 23 h 56"/>
                  <a:gd name="T4" fmla="*/ 8 w 68"/>
                  <a:gd name="T5" fmla="*/ 26 h 56"/>
                  <a:gd name="T6" fmla="*/ 9 w 68"/>
                  <a:gd name="T7" fmla="*/ 38 h 56"/>
                  <a:gd name="T8" fmla="*/ 68 w 68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56">
                    <a:moveTo>
                      <a:pt x="68" y="0"/>
                    </a:moveTo>
                    <a:cubicBezTo>
                      <a:pt x="68" y="0"/>
                      <a:pt x="57" y="18"/>
                      <a:pt x="37" y="23"/>
                    </a:cubicBezTo>
                    <a:cubicBezTo>
                      <a:pt x="16" y="28"/>
                      <a:pt x="9" y="29"/>
                      <a:pt x="8" y="26"/>
                    </a:cubicBezTo>
                    <a:cubicBezTo>
                      <a:pt x="7" y="22"/>
                      <a:pt x="0" y="29"/>
                      <a:pt x="9" y="38"/>
                    </a:cubicBezTo>
                    <a:cubicBezTo>
                      <a:pt x="9" y="38"/>
                      <a:pt x="35" y="56"/>
                      <a:pt x="6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152">
                <a:extLst>
                  <a:ext uri="{FF2B5EF4-FFF2-40B4-BE49-F238E27FC236}">
                    <a16:creationId xmlns:a16="http://schemas.microsoft.com/office/drawing/2014/main" id="{5078FC03-399A-4909-8ADD-20FDF9BA1F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0895" y="5275425"/>
                <a:ext cx="99330" cy="49665"/>
              </a:xfrm>
              <a:custGeom>
                <a:avLst/>
                <a:gdLst>
                  <a:gd name="T0" fmla="*/ 39 w 44"/>
                  <a:gd name="T1" fmla="*/ 7 h 22"/>
                  <a:gd name="T2" fmla="*/ 22 w 44"/>
                  <a:gd name="T3" fmla="*/ 3 h 22"/>
                  <a:gd name="T4" fmla="*/ 4 w 44"/>
                  <a:gd name="T5" fmla="*/ 4 h 22"/>
                  <a:gd name="T6" fmla="*/ 17 w 44"/>
                  <a:gd name="T7" fmla="*/ 9 h 22"/>
                  <a:gd name="T8" fmla="*/ 8 w 44"/>
                  <a:gd name="T9" fmla="*/ 15 h 22"/>
                  <a:gd name="T10" fmla="*/ 24 w 44"/>
                  <a:gd name="T11" fmla="*/ 14 h 22"/>
                  <a:gd name="T12" fmla="*/ 24 w 44"/>
                  <a:gd name="T13" fmla="*/ 8 h 22"/>
                  <a:gd name="T14" fmla="*/ 39 w 44"/>
                  <a:gd name="T15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22">
                    <a:moveTo>
                      <a:pt x="39" y="7"/>
                    </a:moveTo>
                    <a:cubicBezTo>
                      <a:pt x="39" y="7"/>
                      <a:pt x="32" y="6"/>
                      <a:pt x="22" y="3"/>
                    </a:cubicBezTo>
                    <a:cubicBezTo>
                      <a:pt x="12" y="0"/>
                      <a:pt x="0" y="1"/>
                      <a:pt x="4" y="4"/>
                    </a:cubicBezTo>
                    <a:cubicBezTo>
                      <a:pt x="7" y="6"/>
                      <a:pt x="18" y="6"/>
                      <a:pt x="17" y="9"/>
                    </a:cubicBezTo>
                    <a:cubicBezTo>
                      <a:pt x="16" y="12"/>
                      <a:pt x="1" y="8"/>
                      <a:pt x="8" y="15"/>
                    </a:cubicBezTo>
                    <a:cubicBezTo>
                      <a:pt x="14" y="22"/>
                      <a:pt x="23" y="20"/>
                      <a:pt x="24" y="1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44" y="19"/>
                      <a:pt x="39" y="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53">
                <a:extLst>
                  <a:ext uri="{FF2B5EF4-FFF2-40B4-BE49-F238E27FC236}">
                    <a16:creationId xmlns:a16="http://schemas.microsoft.com/office/drawing/2014/main" id="{377E8BA5-D79A-4823-91FC-6BF87C29C8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7524" y="5099687"/>
                <a:ext cx="76408" cy="24833"/>
              </a:xfrm>
              <a:custGeom>
                <a:avLst/>
                <a:gdLst>
                  <a:gd name="T0" fmla="*/ 5 w 34"/>
                  <a:gd name="T1" fmla="*/ 8 h 11"/>
                  <a:gd name="T2" fmla="*/ 18 w 34"/>
                  <a:gd name="T3" fmla="*/ 5 h 11"/>
                  <a:gd name="T4" fmla="*/ 31 w 34"/>
                  <a:gd name="T5" fmla="*/ 3 h 11"/>
                  <a:gd name="T6" fmla="*/ 26 w 34"/>
                  <a:gd name="T7" fmla="*/ 10 h 11"/>
                  <a:gd name="T8" fmla="*/ 9 w 34"/>
                  <a:gd name="T9" fmla="*/ 9 h 11"/>
                  <a:gd name="T10" fmla="*/ 5 w 3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1">
                    <a:moveTo>
                      <a:pt x="5" y="8"/>
                    </a:moveTo>
                    <a:cubicBezTo>
                      <a:pt x="5" y="8"/>
                      <a:pt x="11" y="4"/>
                      <a:pt x="18" y="5"/>
                    </a:cubicBezTo>
                    <a:cubicBezTo>
                      <a:pt x="24" y="6"/>
                      <a:pt x="28" y="6"/>
                      <a:pt x="31" y="3"/>
                    </a:cubicBezTo>
                    <a:cubicBezTo>
                      <a:pt x="34" y="0"/>
                      <a:pt x="33" y="10"/>
                      <a:pt x="26" y="10"/>
                    </a:cubicBezTo>
                    <a:cubicBezTo>
                      <a:pt x="18" y="11"/>
                      <a:pt x="13" y="8"/>
                      <a:pt x="9" y="9"/>
                    </a:cubicBezTo>
                    <a:cubicBezTo>
                      <a:pt x="5" y="10"/>
                      <a:pt x="0" y="11"/>
                      <a:pt x="5" y="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54">
                <a:extLst>
                  <a:ext uri="{FF2B5EF4-FFF2-40B4-BE49-F238E27FC236}">
                    <a16:creationId xmlns:a16="http://schemas.microsoft.com/office/drawing/2014/main" id="{A67752B1-5985-4AEF-8074-2ED9100254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849" y="4968840"/>
                <a:ext cx="74498" cy="56351"/>
              </a:xfrm>
              <a:custGeom>
                <a:avLst/>
                <a:gdLst>
                  <a:gd name="T0" fmla="*/ 26 w 33"/>
                  <a:gd name="T1" fmla="*/ 0 h 25"/>
                  <a:gd name="T2" fmla="*/ 28 w 33"/>
                  <a:gd name="T3" fmla="*/ 10 h 25"/>
                  <a:gd name="T4" fmla="*/ 16 w 33"/>
                  <a:gd name="T5" fmla="*/ 22 h 25"/>
                  <a:gd name="T6" fmla="*/ 3 w 33"/>
                  <a:gd name="T7" fmla="*/ 24 h 25"/>
                  <a:gd name="T8" fmla="*/ 11 w 33"/>
                  <a:gd name="T9" fmla="*/ 14 h 25"/>
                  <a:gd name="T10" fmla="*/ 22 w 33"/>
                  <a:gd name="T11" fmla="*/ 6 h 25"/>
                  <a:gd name="T12" fmla="*/ 26 w 33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5">
                    <a:moveTo>
                      <a:pt x="26" y="0"/>
                    </a:moveTo>
                    <a:cubicBezTo>
                      <a:pt x="26" y="0"/>
                      <a:pt x="33" y="2"/>
                      <a:pt x="28" y="10"/>
                    </a:cubicBezTo>
                    <a:cubicBezTo>
                      <a:pt x="24" y="18"/>
                      <a:pt x="23" y="25"/>
                      <a:pt x="16" y="22"/>
                    </a:cubicBezTo>
                    <a:cubicBezTo>
                      <a:pt x="10" y="20"/>
                      <a:pt x="3" y="24"/>
                      <a:pt x="3" y="24"/>
                    </a:cubicBezTo>
                    <a:cubicBezTo>
                      <a:pt x="3" y="24"/>
                      <a:pt x="0" y="18"/>
                      <a:pt x="11" y="14"/>
                    </a:cubicBezTo>
                    <a:cubicBezTo>
                      <a:pt x="22" y="10"/>
                      <a:pt x="22" y="9"/>
                      <a:pt x="22" y="6"/>
                    </a:cubicBezTo>
                    <a:cubicBezTo>
                      <a:pt x="23" y="4"/>
                      <a:pt x="22" y="0"/>
                      <a:pt x="26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55">
                <a:extLst>
                  <a:ext uri="{FF2B5EF4-FFF2-40B4-BE49-F238E27FC236}">
                    <a16:creationId xmlns:a16="http://schemas.microsoft.com/office/drawing/2014/main" id="{8DE5D2B9-CFB7-4E6C-A2CF-90E300720F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3419" y="3630749"/>
                <a:ext cx="67812" cy="114612"/>
              </a:xfrm>
              <a:custGeom>
                <a:avLst/>
                <a:gdLst>
                  <a:gd name="T0" fmla="*/ 18 w 30"/>
                  <a:gd name="T1" fmla="*/ 11 h 51"/>
                  <a:gd name="T2" fmla="*/ 8 w 30"/>
                  <a:gd name="T3" fmla="*/ 21 h 51"/>
                  <a:gd name="T4" fmla="*/ 4 w 30"/>
                  <a:gd name="T5" fmla="*/ 6 h 51"/>
                  <a:gd name="T6" fmla="*/ 30 w 30"/>
                  <a:gd name="T7" fmla="*/ 51 h 51"/>
                  <a:gd name="T8" fmla="*/ 13 w 30"/>
                  <a:gd name="T9" fmla="*/ 28 h 51"/>
                  <a:gd name="T10" fmla="*/ 18 w 30"/>
                  <a:gd name="T11" fmla="*/ 1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1">
                    <a:moveTo>
                      <a:pt x="18" y="11"/>
                    </a:moveTo>
                    <a:cubicBezTo>
                      <a:pt x="18" y="11"/>
                      <a:pt x="18" y="25"/>
                      <a:pt x="8" y="21"/>
                    </a:cubicBezTo>
                    <a:cubicBezTo>
                      <a:pt x="8" y="21"/>
                      <a:pt x="4" y="12"/>
                      <a:pt x="4" y="6"/>
                    </a:cubicBezTo>
                    <a:cubicBezTo>
                      <a:pt x="4" y="0"/>
                      <a:pt x="0" y="47"/>
                      <a:pt x="30" y="51"/>
                    </a:cubicBezTo>
                    <a:cubicBezTo>
                      <a:pt x="30" y="51"/>
                      <a:pt x="15" y="42"/>
                      <a:pt x="13" y="28"/>
                    </a:cubicBezTo>
                    <a:cubicBezTo>
                      <a:pt x="13" y="28"/>
                      <a:pt x="22" y="25"/>
                      <a:pt x="18" y="11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56">
                <a:extLst>
                  <a:ext uri="{FF2B5EF4-FFF2-40B4-BE49-F238E27FC236}">
                    <a16:creationId xmlns:a16="http://schemas.microsoft.com/office/drawing/2014/main" id="{031E958B-3223-43B9-B5CB-509648CF6D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3084" y="3768283"/>
                <a:ext cx="34383" cy="61126"/>
              </a:xfrm>
              <a:custGeom>
                <a:avLst/>
                <a:gdLst>
                  <a:gd name="T0" fmla="*/ 15 w 15"/>
                  <a:gd name="T1" fmla="*/ 4 h 27"/>
                  <a:gd name="T2" fmla="*/ 7 w 15"/>
                  <a:gd name="T3" fmla="*/ 0 h 27"/>
                  <a:gd name="T4" fmla="*/ 2 w 15"/>
                  <a:gd name="T5" fmla="*/ 15 h 27"/>
                  <a:gd name="T6" fmla="*/ 8 w 15"/>
                  <a:gd name="T7" fmla="*/ 24 h 27"/>
                  <a:gd name="T8" fmla="*/ 7 w 15"/>
                  <a:gd name="T9" fmla="*/ 6 h 27"/>
                  <a:gd name="T10" fmla="*/ 15 w 15"/>
                  <a:gd name="T11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4"/>
                    </a:moveTo>
                    <a:cubicBezTo>
                      <a:pt x="15" y="4"/>
                      <a:pt x="11" y="0"/>
                      <a:pt x="7" y="0"/>
                    </a:cubicBezTo>
                    <a:cubicBezTo>
                      <a:pt x="3" y="0"/>
                      <a:pt x="0" y="2"/>
                      <a:pt x="2" y="1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4"/>
                      <a:pt x="12" y="27"/>
                      <a:pt x="7" y="6"/>
                    </a:cubicBezTo>
                    <a:cubicBezTo>
                      <a:pt x="7" y="6"/>
                      <a:pt x="14" y="9"/>
                      <a:pt x="15" y="4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" name="Rechteck 169">
              <a:extLst>
                <a:ext uri="{FF2B5EF4-FFF2-40B4-BE49-F238E27FC236}">
                  <a16:creationId xmlns:a16="http://schemas.microsoft.com/office/drawing/2014/main" id="{B9A95EA9-C359-4AA4-A7DD-62E415F6A397}"/>
                </a:ext>
              </a:extLst>
            </p:cNvPr>
            <p:cNvSpPr/>
            <p:nvPr/>
          </p:nvSpPr>
          <p:spPr bwMode="gray">
            <a:xfrm>
              <a:off x="904210" y="5753699"/>
              <a:ext cx="1098991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C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sp>
          <p:nvSpPr>
            <p:cNvPr id="6" name="Rechteck 170">
              <a:extLst>
                <a:ext uri="{FF2B5EF4-FFF2-40B4-BE49-F238E27FC236}">
                  <a16:creationId xmlns:a16="http://schemas.microsoft.com/office/drawing/2014/main" id="{F855CFB7-3751-406B-857D-18DE29ED5392}"/>
                </a:ext>
              </a:extLst>
            </p:cNvPr>
            <p:cNvSpPr/>
            <p:nvPr/>
          </p:nvSpPr>
          <p:spPr bwMode="gray">
            <a:xfrm>
              <a:off x="2205134" y="1635025"/>
              <a:ext cx="1103557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A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sp>
          <p:nvSpPr>
            <p:cNvPr id="7" name="Rechteck 171">
              <a:extLst>
                <a:ext uri="{FF2B5EF4-FFF2-40B4-BE49-F238E27FC236}">
                  <a16:creationId xmlns:a16="http://schemas.microsoft.com/office/drawing/2014/main" id="{1888886B-E85B-42D0-9AAF-8959BB8D3B61}"/>
                </a:ext>
              </a:extLst>
            </p:cNvPr>
            <p:cNvSpPr/>
            <p:nvPr/>
          </p:nvSpPr>
          <p:spPr bwMode="gray">
            <a:xfrm>
              <a:off x="3010887" y="5753699"/>
              <a:ext cx="1103557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B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grpSp>
          <p:nvGrpSpPr>
            <p:cNvPr id="8" name="Gruppieren 172">
              <a:extLst>
                <a:ext uri="{FF2B5EF4-FFF2-40B4-BE49-F238E27FC236}">
                  <a16:creationId xmlns:a16="http://schemas.microsoft.com/office/drawing/2014/main" id="{44DF7691-C37E-4EB1-B1DC-FDA78649BA80}"/>
                </a:ext>
              </a:extLst>
            </p:cNvPr>
            <p:cNvGrpSpPr/>
            <p:nvPr/>
          </p:nvGrpSpPr>
          <p:grpSpPr bwMode="gray">
            <a:xfrm>
              <a:off x="1911702" y="1971675"/>
              <a:ext cx="1307524" cy="3519942"/>
              <a:chOff x="1981413" y="2021412"/>
              <a:chExt cx="1166879" cy="3141313"/>
            </a:xfrm>
          </p:grpSpPr>
          <p:sp>
            <p:nvSpPr>
              <p:cNvPr id="58" name="Ellipse 30">
                <a:extLst>
                  <a:ext uri="{FF2B5EF4-FFF2-40B4-BE49-F238E27FC236}">
                    <a16:creationId xmlns:a16="http://schemas.microsoft.com/office/drawing/2014/main" id="{BEB5348F-3972-4DB0-A4A2-768711406DED}"/>
                  </a:ext>
                </a:extLst>
              </p:cNvPr>
              <p:cNvSpPr/>
              <p:nvPr/>
            </p:nvSpPr>
            <p:spPr bwMode="gray">
              <a:xfrm>
                <a:off x="1981413" y="4683212"/>
                <a:ext cx="1166879" cy="39130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59" name="Gruppieren 223">
                <a:extLst>
                  <a:ext uri="{FF2B5EF4-FFF2-40B4-BE49-F238E27FC236}">
                    <a16:creationId xmlns:a16="http://schemas.microsoft.com/office/drawing/2014/main" id="{8F822272-5034-4591-A088-8FC1E489A5E3}"/>
                  </a:ext>
                </a:extLst>
              </p:cNvPr>
              <p:cNvGrpSpPr/>
              <p:nvPr/>
            </p:nvGrpSpPr>
            <p:grpSpPr bwMode="gray">
              <a:xfrm>
                <a:off x="1998770" y="2021412"/>
                <a:ext cx="1088770" cy="3141313"/>
                <a:chOff x="1998770" y="2021412"/>
                <a:chExt cx="1088770" cy="3141313"/>
              </a:xfrm>
            </p:grpSpPr>
            <p:sp>
              <p:nvSpPr>
                <p:cNvPr id="60" name="Freeform 31">
                  <a:extLst>
                    <a:ext uri="{FF2B5EF4-FFF2-40B4-BE49-F238E27FC236}">
                      <a16:creationId xmlns:a16="http://schemas.microsoft.com/office/drawing/2014/main" id="{861B0778-52A5-4786-B50A-24D7878621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98770" y="2450250"/>
                  <a:ext cx="1088770" cy="1330910"/>
                </a:xfrm>
                <a:custGeom>
                  <a:avLst/>
                  <a:gdLst>
                    <a:gd name="T0" fmla="*/ 466 w 483"/>
                    <a:gd name="T1" fmla="*/ 92 h 582"/>
                    <a:gd name="T2" fmla="*/ 363 w 483"/>
                    <a:gd name="T3" fmla="*/ 22 h 582"/>
                    <a:gd name="T4" fmla="*/ 346 w 483"/>
                    <a:gd name="T5" fmla="*/ 12 h 582"/>
                    <a:gd name="T6" fmla="*/ 338 w 483"/>
                    <a:gd name="T7" fmla="*/ 70 h 582"/>
                    <a:gd name="T8" fmla="*/ 311 w 483"/>
                    <a:gd name="T9" fmla="*/ 139 h 582"/>
                    <a:gd name="T10" fmla="*/ 273 w 483"/>
                    <a:gd name="T11" fmla="*/ 218 h 582"/>
                    <a:gd name="T12" fmla="*/ 258 w 483"/>
                    <a:gd name="T13" fmla="*/ 180 h 582"/>
                    <a:gd name="T14" fmla="*/ 242 w 483"/>
                    <a:gd name="T15" fmla="*/ 60 h 582"/>
                    <a:gd name="T16" fmla="*/ 248 w 483"/>
                    <a:gd name="T17" fmla="*/ 0 h 582"/>
                    <a:gd name="T18" fmla="*/ 199 w 483"/>
                    <a:gd name="T19" fmla="*/ 15 h 582"/>
                    <a:gd name="T20" fmla="*/ 108 w 483"/>
                    <a:gd name="T21" fmla="*/ 79 h 582"/>
                    <a:gd name="T22" fmla="*/ 78 w 483"/>
                    <a:gd name="T23" fmla="*/ 127 h 582"/>
                    <a:gd name="T24" fmla="*/ 7 w 483"/>
                    <a:gd name="T25" fmla="*/ 225 h 582"/>
                    <a:gd name="T26" fmla="*/ 74 w 483"/>
                    <a:gd name="T27" fmla="*/ 265 h 582"/>
                    <a:gd name="T28" fmla="*/ 101 w 483"/>
                    <a:gd name="T29" fmla="*/ 235 h 582"/>
                    <a:gd name="T30" fmla="*/ 141 w 483"/>
                    <a:gd name="T31" fmla="*/ 243 h 582"/>
                    <a:gd name="T32" fmla="*/ 144 w 483"/>
                    <a:gd name="T33" fmla="*/ 255 h 582"/>
                    <a:gd name="T34" fmla="*/ 152 w 483"/>
                    <a:gd name="T35" fmla="*/ 282 h 582"/>
                    <a:gd name="T36" fmla="*/ 172 w 483"/>
                    <a:gd name="T37" fmla="*/ 290 h 582"/>
                    <a:gd name="T38" fmla="*/ 159 w 483"/>
                    <a:gd name="T39" fmla="*/ 326 h 582"/>
                    <a:gd name="T40" fmla="*/ 160 w 483"/>
                    <a:gd name="T41" fmla="*/ 356 h 582"/>
                    <a:gd name="T42" fmla="*/ 203 w 483"/>
                    <a:gd name="T43" fmla="*/ 359 h 582"/>
                    <a:gd name="T44" fmla="*/ 233 w 483"/>
                    <a:gd name="T45" fmla="*/ 385 h 582"/>
                    <a:gd name="T46" fmla="*/ 195 w 483"/>
                    <a:gd name="T47" fmla="*/ 374 h 582"/>
                    <a:gd name="T48" fmla="*/ 236 w 483"/>
                    <a:gd name="T49" fmla="*/ 412 h 582"/>
                    <a:gd name="T50" fmla="*/ 196 w 483"/>
                    <a:gd name="T51" fmla="*/ 388 h 582"/>
                    <a:gd name="T52" fmla="*/ 219 w 483"/>
                    <a:gd name="T53" fmla="*/ 429 h 582"/>
                    <a:gd name="T54" fmla="*/ 174 w 483"/>
                    <a:gd name="T55" fmla="*/ 401 h 582"/>
                    <a:gd name="T56" fmla="*/ 186 w 483"/>
                    <a:gd name="T57" fmla="*/ 433 h 582"/>
                    <a:gd name="T58" fmla="*/ 152 w 483"/>
                    <a:gd name="T59" fmla="*/ 404 h 582"/>
                    <a:gd name="T60" fmla="*/ 158 w 483"/>
                    <a:gd name="T61" fmla="*/ 548 h 582"/>
                    <a:gd name="T62" fmla="*/ 258 w 483"/>
                    <a:gd name="T63" fmla="*/ 484 h 582"/>
                    <a:gd name="T64" fmla="*/ 353 w 483"/>
                    <a:gd name="T65" fmla="*/ 580 h 582"/>
                    <a:gd name="T66" fmla="*/ 401 w 483"/>
                    <a:gd name="T67" fmla="*/ 572 h 582"/>
                    <a:gd name="T68" fmla="*/ 416 w 483"/>
                    <a:gd name="T69" fmla="*/ 382 h 582"/>
                    <a:gd name="T70" fmla="*/ 434 w 483"/>
                    <a:gd name="T71" fmla="*/ 369 h 582"/>
                    <a:gd name="T72" fmla="*/ 481 w 483"/>
                    <a:gd name="T73" fmla="*/ 313 h 582"/>
                    <a:gd name="connsiteX0" fmla="*/ 9788 w 9951"/>
                    <a:gd name="connsiteY0" fmla="*/ 3540 h 9966"/>
                    <a:gd name="connsiteX1" fmla="*/ 9622 w 9951"/>
                    <a:gd name="connsiteY1" fmla="*/ 1581 h 9966"/>
                    <a:gd name="connsiteX2" fmla="*/ 9104 w 9951"/>
                    <a:gd name="connsiteY2" fmla="*/ 1100 h 9966"/>
                    <a:gd name="connsiteX3" fmla="*/ 7490 w 9951"/>
                    <a:gd name="connsiteY3" fmla="*/ 378 h 9966"/>
                    <a:gd name="connsiteX4" fmla="*/ 7117 w 9951"/>
                    <a:gd name="connsiteY4" fmla="*/ 34 h 9966"/>
                    <a:gd name="connsiteX5" fmla="*/ 7138 w 9951"/>
                    <a:gd name="connsiteY5" fmla="*/ 206 h 9966"/>
                    <a:gd name="connsiteX6" fmla="*/ 7034 w 9951"/>
                    <a:gd name="connsiteY6" fmla="*/ 1014 h 9966"/>
                    <a:gd name="connsiteX7" fmla="*/ 6972 w 9951"/>
                    <a:gd name="connsiteY7" fmla="*/ 1203 h 9966"/>
                    <a:gd name="connsiteX8" fmla="*/ 6951 w 9951"/>
                    <a:gd name="connsiteY8" fmla="*/ 1220 h 9966"/>
                    <a:gd name="connsiteX9" fmla="*/ 6413 w 9951"/>
                    <a:gd name="connsiteY9" fmla="*/ 2388 h 9966"/>
                    <a:gd name="connsiteX10" fmla="*/ 5895 w 9951"/>
                    <a:gd name="connsiteY10" fmla="*/ 3316 h 9966"/>
                    <a:gd name="connsiteX11" fmla="*/ 5626 w 9951"/>
                    <a:gd name="connsiteY11" fmla="*/ 3746 h 9966"/>
                    <a:gd name="connsiteX12" fmla="*/ 5398 w 9951"/>
                    <a:gd name="connsiteY12" fmla="*/ 3265 h 9966"/>
                    <a:gd name="connsiteX13" fmla="*/ 5316 w 9951"/>
                    <a:gd name="connsiteY13" fmla="*/ 3093 h 9966"/>
                    <a:gd name="connsiteX14" fmla="*/ 5005 w 9951"/>
                    <a:gd name="connsiteY14" fmla="*/ 1873 h 9966"/>
                    <a:gd name="connsiteX15" fmla="*/ 4984 w 9951"/>
                    <a:gd name="connsiteY15" fmla="*/ 1031 h 9966"/>
                    <a:gd name="connsiteX16" fmla="*/ 4984 w 9951"/>
                    <a:gd name="connsiteY16" fmla="*/ 876 h 9966"/>
                    <a:gd name="connsiteX17" fmla="*/ 5109 w 9951"/>
                    <a:gd name="connsiteY17" fmla="*/ 0 h 9966"/>
                    <a:gd name="connsiteX18" fmla="*/ 5046 w 9951"/>
                    <a:gd name="connsiteY18" fmla="*/ 17 h 9966"/>
                    <a:gd name="connsiteX19" fmla="*/ 4094 w 9951"/>
                    <a:gd name="connsiteY19" fmla="*/ 258 h 9966"/>
                    <a:gd name="connsiteX20" fmla="*/ 2562 w 9951"/>
                    <a:gd name="connsiteY20" fmla="*/ 704 h 9966"/>
                    <a:gd name="connsiteX21" fmla="*/ 2210 w 9951"/>
                    <a:gd name="connsiteY21" fmla="*/ 1357 h 9966"/>
                    <a:gd name="connsiteX22" fmla="*/ 1899 w 9951"/>
                    <a:gd name="connsiteY22" fmla="*/ 1873 h 9966"/>
                    <a:gd name="connsiteX23" fmla="*/ 1589 w 9951"/>
                    <a:gd name="connsiteY23" fmla="*/ 2182 h 9966"/>
                    <a:gd name="connsiteX24" fmla="*/ 740 w 9951"/>
                    <a:gd name="connsiteY24" fmla="*/ 3196 h 9966"/>
                    <a:gd name="connsiteX25" fmla="*/ 119 w 9951"/>
                    <a:gd name="connsiteY25" fmla="*/ 3866 h 9966"/>
                    <a:gd name="connsiteX26" fmla="*/ 0 w 9951"/>
                    <a:gd name="connsiteY26" fmla="*/ 4343 h 9966"/>
                    <a:gd name="connsiteX27" fmla="*/ 1506 w 9951"/>
                    <a:gd name="connsiteY27" fmla="*/ 4553 h 9966"/>
                    <a:gd name="connsiteX28" fmla="*/ 1837 w 9951"/>
                    <a:gd name="connsiteY28" fmla="*/ 4467 h 9966"/>
                    <a:gd name="connsiteX29" fmla="*/ 2065 w 9951"/>
                    <a:gd name="connsiteY29" fmla="*/ 4038 h 9966"/>
                    <a:gd name="connsiteX30" fmla="*/ 2686 w 9951"/>
                    <a:gd name="connsiteY30" fmla="*/ 3454 h 9966"/>
                    <a:gd name="connsiteX31" fmla="*/ 2893 w 9951"/>
                    <a:gd name="connsiteY31" fmla="*/ 4175 h 9966"/>
                    <a:gd name="connsiteX32" fmla="*/ 3204 w 9951"/>
                    <a:gd name="connsiteY32" fmla="*/ 4210 h 9966"/>
                    <a:gd name="connsiteX33" fmla="*/ 2955 w 9951"/>
                    <a:gd name="connsiteY33" fmla="*/ 4381 h 9966"/>
                    <a:gd name="connsiteX34" fmla="*/ 3080 w 9951"/>
                    <a:gd name="connsiteY34" fmla="*/ 4674 h 9966"/>
                    <a:gd name="connsiteX35" fmla="*/ 3121 w 9951"/>
                    <a:gd name="connsiteY35" fmla="*/ 4845 h 9966"/>
                    <a:gd name="connsiteX36" fmla="*/ 3369 w 9951"/>
                    <a:gd name="connsiteY36" fmla="*/ 4794 h 9966"/>
                    <a:gd name="connsiteX37" fmla="*/ 3535 w 9951"/>
                    <a:gd name="connsiteY37" fmla="*/ 4983 h 9966"/>
                    <a:gd name="connsiteX38" fmla="*/ 3162 w 9951"/>
                    <a:gd name="connsiteY38" fmla="*/ 5069 h 9966"/>
                    <a:gd name="connsiteX39" fmla="*/ 3266 w 9951"/>
                    <a:gd name="connsiteY39" fmla="*/ 5601 h 9966"/>
                    <a:gd name="connsiteX40" fmla="*/ 3328 w 9951"/>
                    <a:gd name="connsiteY40" fmla="*/ 5997 h 9966"/>
                    <a:gd name="connsiteX41" fmla="*/ 3287 w 9951"/>
                    <a:gd name="connsiteY41" fmla="*/ 6117 h 9966"/>
                    <a:gd name="connsiteX42" fmla="*/ 3576 w 9951"/>
                    <a:gd name="connsiteY42" fmla="*/ 6117 h 9966"/>
                    <a:gd name="connsiteX43" fmla="*/ 4177 w 9951"/>
                    <a:gd name="connsiteY43" fmla="*/ 6168 h 9966"/>
                    <a:gd name="connsiteX44" fmla="*/ 4674 w 9951"/>
                    <a:gd name="connsiteY44" fmla="*/ 6340 h 9966"/>
                    <a:gd name="connsiteX45" fmla="*/ 4798 w 9951"/>
                    <a:gd name="connsiteY45" fmla="*/ 6615 h 9966"/>
                    <a:gd name="connsiteX46" fmla="*/ 4343 w 9951"/>
                    <a:gd name="connsiteY46" fmla="*/ 6426 h 9966"/>
                    <a:gd name="connsiteX47" fmla="*/ 4011 w 9951"/>
                    <a:gd name="connsiteY47" fmla="*/ 6426 h 9966"/>
                    <a:gd name="connsiteX48" fmla="*/ 4260 w 9951"/>
                    <a:gd name="connsiteY48" fmla="*/ 6529 h 9966"/>
                    <a:gd name="connsiteX49" fmla="*/ 4860 w 9951"/>
                    <a:gd name="connsiteY49" fmla="*/ 7079 h 9966"/>
                    <a:gd name="connsiteX50" fmla="*/ 4529 w 9951"/>
                    <a:gd name="connsiteY50" fmla="*/ 7027 h 9966"/>
                    <a:gd name="connsiteX51" fmla="*/ 4032 w 9951"/>
                    <a:gd name="connsiteY51" fmla="*/ 6667 h 9966"/>
                    <a:gd name="connsiteX52" fmla="*/ 3970 w 9951"/>
                    <a:gd name="connsiteY52" fmla="*/ 6821 h 9966"/>
                    <a:gd name="connsiteX53" fmla="*/ 4508 w 9951"/>
                    <a:gd name="connsiteY53" fmla="*/ 7371 h 9966"/>
                    <a:gd name="connsiteX54" fmla="*/ 4156 w 9951"/>
                    <a:gd name="connsiteY54" fmla="*/ 7354 h 9966"/>
                    <a:gd name="connsiteX55" fmla="*/ 3576 w 9951"/>
                    <a:gd name="connsiteY55" fmla="*/ 6890 h 9966"/>
                    <a:gd name="connsiteX56" fmla="*/ 3597 w 9951"/>
                    <a:gd name="connsiteY56" fmla="*/ 7045 h 9966"/>
                    <a:gd name="connsiteX57" fmla="*/ 3825 w 9951"/>
                    <a:gd name="connsiteY57" fmla="*/ 7440 h 9966"/>
                    <a:gd name="connsiteX58" fmla="*/ 3452 w 9951"/>
                    <a:gd name="connsiteY58" fmla="*/ 7148 h 9966"/>
                    <a:gd name="connsiteX59" fmla="*/ 3121 w 9951"/>
                    <a:gd name="connsiteY59" fmla="*/ 6942 h 9966"/>
                    <a:gd name="connsiteX60" fmla="*/ 3038 w 9951"/>
                    <a:gd name="connsiteY60" fmla="*/ 7577 h 9966"/>
                    <a:gd name="connsiteX61" fmla="*/ 3245 w 9951"/>
                    <a:gd name="connsiteY61" fmla="*/ 9416 h 9966"/>
                    <a:gd name="connsiteX62" fmla="*/ 4156 w 9951"/>
                    <a:gd name="connsiteY62" fmla="*/ 9639 h 9966"/>
                    <a:gd name="connsiteX63" fmla="*/ 5316 w 9951"/>
                    <a:gd name="connsiteY63" fmla="*/ 8316 h 9966"/>
                    <a:gd name="connsiteX64" fmla="*/ 6020 w 9951"/>
                    <a:gd name="connsiteY64" fmla="*/ 9622 h 9966"/>
                    <a:gd name="connsiteX65" fmla="*/ 7282 w 9951"/>
                    <a:gd name="connsiteY65" fmla="*/ 9966 h 9966"/>
                    <a:gd name="connsiteX66" fmla="*/ 8297 w 9951"/>
                    <a:gd name="connsiteY66" fmla="*/ 9725 h 9966"/>
                    <a:gd name="connsiteX67" fmla="*/ 8276 w 9951"/>
                    <a:gd name="connsiteY67" fmla="*/ 9828 h 9966"/>
                    <a:gd name="connsiteX68" fmla="*/ 8545 w 9951"/>
                    <a:gd name="connsiteY68" fmla="*/ 8230 h 9966"/>
                    <a:gd name="connsiteX69" fmla="*/ 8587 w 9951"/>
                    <a:gd name="connsiteY69" fmla="*/ 6564 h 9966"/>
                    <a:gd name="connsiteX70" fmla="*/ 8566 w 9951"/>
                    <a:gd name="connsiteY70" fmla="*/ 6460 h 9966"/>
                    <a:gd name="connsiteX71" fmla="*/ 8960 w 9951"/>
                    <a:gd name="connsiteY71" fmla="*/ 6340 h 9966"/>
                    <a:gd name="connsiteX72" fmla="*/ 9498 w 9951"/>
                    <a:gd name="connsiteY72" fmla="*/ 5876 h 9966"/>
                    <a:gd name="connsiteX73" fmla="*/ 9933 w 9951"/>
                    <a:gd name="connsiteY73" fmla="*/ 5378 h 9966"/>
                    <a:gd name="connsiteX74" fmla="*/ 9788 w 9951"/>
                    <a:gd name="connsiteY74" fmla="*/ 3540 h 9966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44 w 10132"/>
                    <a:gd name="connsiteY36" fmla="*/ 4832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757 w 9921"/>
                    <a:gd name="connsiteY0" fmla="*/ 3552 h 10000"/>
                    <a:gd name="connsiteX1" fmla="*/ 9590 w 9921"/>
                    <a:gd name="connsiteY1" fmla="*/ 1586 h 10000"/>
                    <a:gd name="connsiteX2" fmla="*/ 9070 w 9921"/>
                    <a:gd name="connsiteY2" fmla="*/ 1104 h 10000"/>
                    <a:gd name="connsiteX3" fmla="*/ 7448 w 9921"/>
                    <a:gd name="connsiteY3" fmla="*/ 379 h 10000"/>
                    <a:gd name="connsiteX4" fmla="*/ 7073 w 9921"/>
                    <a:gd name="connsiteY4" fmla="*/ 34 h 10000"/>
                    <a:gd name="connsiteX5" fmla="*/ 7094 w 9921"/>
                    <a:gd name="connsiteY5" fmla="*/ 207 h 10000"/>
                    <a:gd name="connsiteX6" fmla="*/ 6990 w 9921"/>
                    <a:gd name="connsiteY6" fmla="*/ 1017 h 10000"/>
                    <a:gd name="connsiteX7" fmla="*/ 6927 w 9921"/>
                    <a:gd name="connsiteY7" fmla="*/ 1207 h 10000"/>
                    <a:gd name="connsiteX8" fmla="*/ 6906 w 9921"/>
                    <a:gd name="connsiteY8" fmla="*/ 1224 h 10000"/>
                    <a:gd name="connsiteX9" fmla="*/ 6366 w 9921"/>
                    <a:gd name="connsiteY9" fmla="*/ 2396 h 10000"/>
                    <a:gd name="connsiteX10" fmla="*/ 5845 w 9921"/>
                    <a:gd name="connsiteY10" fmla="*/ 3327 h 10000"/>
                    <a:gd name="connsiteX11" fmla="*/ 5575 w 9921"/>
                    <a:gd name="connsiteY11" fmla="*/ 3759 h 10000"/>
                    <a:gd name="connsiteX12" fmla="*/ 5346 w 9921"/>
                    <a:gd name="connsiteY12" fmla="*/ 3276 h 10000"/>
                    <a:gd name="connsiteX13" fmla="*/ 5263 w 9921"/>
                    <a:gd name="connsiteY13" fmla="*/ 3104 h 10000"/>
                    <a:gd name="connsiteX14" fmla="*/ 4951 w 9921"/>
                    <a:gd name="connsiteY14" fmla="*/ 1879 h 10000"/>
                    <a:gd name="connsiteX15" fmla="*/ 4930 w 9921"/>
                    <a:gd name="connsiteY15" fmla="*/ 1035 h 10000"/>
                    <a:gd name="connsiteX16" fmla="*/ 4930 w 9921"/>
                    <a:gd name="connsiteY16" fmla="*/ 879 h 10000"/>
                    <a:gd name="connsiteX17" fmla="*/ 5055 w 9921"/>
                    <a:gd name="connsiteY17" fmla="*/ 0 h 10000"/>
                    <a:gd name="connsiteX18" fmla="*/ 4992 w 9921"/>
                    <a:gd name="connsiteY18" fmla="*/ 17 h 10000"/>
                    <a:gd name="connsiteX19" fmla="*/ 4035 w 9921"/>
                    <a:gd name="connsiteY19" fmla="*/ 259 h 10000"/>
                    <a:gd name="connsiteX20" fmla="*/ 2496 w 9921"/>
                    <a:gd name="connsiteY20" fmla="*/ 706 h 10000"/>
                    <a:gd name="connsiteX21" fmla="*/ 2142 w 9921"/>
                    <a:gd name="connsiteY21" fmla="*/ 1362 h 10000"/>
                    <a:gd name="connsiteX22" fmla="*/ 1829 w 9921"/>
                    <a:gd name="connsiteY22" fmla="*/ 1879 h 10000"/>
                    <a:gd name="connsiteX23" fmla="*/ 1518 w 9921"/>
                    <a:gd name="connsiteY23" fmla="*/ 2189 h 10000"/>
                    <a:gd name="connsiteX24" fmla="*/ 665 w 9921"/>
                    <a:gd name="connsiteY24" fmla="*/ 3207 h 10000"/>
                    <a:gd name="connsiteX25" fmla="*/ 41 w 9921"/>
                    <a:gd name="connsiteY25" fmla="*/ 3879 h 10000"/>
                    <a:gd name="connsiteX26" fmla="*/ 0 w 9921"/>
                    <a:gd name="connsiteY26" fmla="*/ 4292 h 10000"/>
                    <a:gd name="connsiteX27" fmla="*/ 1434 w 9921"/>
                    <a:gd name="connsiteY27" fmla="*/ 4569 h 10000"/>
                    <a:gd name="connsiteX28" fmla="*/ 1767 w 9921"/>
                    <a:gd name="connsiteY28" fmla="*/ 4482 h 10000"/>
                    <a:gd name="connsiteX29" fmla="*/ 1996 w 9921"/>
                    <a:gd name="connsiteY29" fmla="*/ 4052 h 10000"/>
                    <a:gd name="connsiteX30" fmla="*/ 2620 w 9921"/>
                    <a:gd name="connsiteY30" fmla="*/ 3466 h 10000"/>
                    <a:gd name="connsiteX31" fmla="*/ 2828 w 9921"/>
                    <a:gd name="connsiteY31" fmla="*/ 4189 h 10000"/>
                    <a:gd name="connsiteX32" fmla="*/ 3141 w 9921"/>
                    <a:gd name="connsiteY32" fmla="*/ 4224 h 10000"/>
                    <a:gd name="connsiteX33" fmla="*/ 2891 w 9921"/>
                    <a:gd name="connsiteY33" fmla="*/ 4396 h 10000"/>
                    <a:gd name="connsiteX34" fmla="*/ 3016 w 9921"/>
                    <a:gd name="connsiteY34" fmla="*/ 4690 h 10000"/>
                    <a:gd name="connsiteX35" fmla="*/ 3057 w 9921"/>
                    <a:gd name="connsiteY35" fmla="*/ 4862 h 10000"/>
                    <a:gd name="connsiteX36" fmla="*/ 3333 w 9921"/>
                    <a:gd name="connsiteY36" fmla="*/ 4832 h 10000"/>
                    <a:gd name="connsiteX37" fmla="*/ 3473 w 9921"/>
                    <a:gd name="connsiteY37" fmla="*/ 5000 h 10000"/>
                    <a:gd name="connsiteX38" fmla="*/ 3099 w 9921"/>
                    <a:gd name="connsiteY38" fmla="*/ 5086 h 10000"/>
                    <a:gd name="connsiteX39" fmla="*/ 3203 w 9921"/>
                    <a:gd name="connsiteY39" fmla="*/ 5620 h 10000"/>
                    <a:gd name="connsiteX40" fmla="*/ 3265 w 9921"/>
                    <a:gd name="connsiteY40" fmla="*/ 6017 h 10000"/>
                    <a:gd name="connsiteX41" fmla="*/ 3224 w 9921"/>
                    <a:gd name="connsiteY41" fmla="*/ 6138 h 10000"/>
                    <a:gd name="connsiteX42" fmla="*/ 3515 w 9921"/>
                    <a:gd name="connsiteY42" fmla="*/ 6138 h 10000"/>
                    <a:gd name="connsiteX43" fmla="*/ 4119 w 9921"/>
                    <a:gd name="connsiteY43" fmla="*/ 6189 h 10000"/>
                    <a:gd name="connsiteX44" fmla="*/ 4618 w 9921"/>
                    <a:gd name="connsiteY44" fmla="*/ 6362 h 10000"/>
                    <a:gd name="connsiteX45" fmla="*/ 4743 w 9921"/>
                    <a:gd name="connsiteY45" fmla="*/ 6638 h 10000"/>
                    <a:gd name="connsiteX46" fmla="*/ 4285 w 9921"/>
                    <a:gd name="connsiteY46" fmla="*/ 6448 h 10000"/>
                    <a:gd name="connsiteX47" fmla="*/ 3952 w 9921"/>
                    <a:gd name="connsiteY47" fmla="*/ 6448 h 10000"/>
                    <a:gd name="connsiteX48" fmla="*/ 4202 w 9921"/>
                    <a:gd name="connsiteY48" fmla="*/ 6551 h 10000"/>
                    <a:gd name="connsiteX49" fmla="*/ 4805 w 9921"/>
                    <a:gd name="connsiteY49" fmla="*/ 7103 h 10000"/>
                    <a:gd name="connsiteX50" fmla="*/ 4472 w 9921"/>
                    <a:gd name="connsiteY50" fmla="*/ 7051 h 10000"/>
                    <a:gd name="connsiteX51" fmla="*/ 3973 w 9921"/>
                    <a:gd name="connsiteY51" fmla="*/ 6690 h 10000"/>
                    <a:gd name="connsiteX52" fmla="*/ 3911 w 9921"/>
                    <a:gd name="connsiteY52" fmla="*/ 6844 h 10000"/>
                    <a:gd name="connsiteX53" fmla="*/ 4451 w 9921"/>
                    <a:gd name="connsiteY53" fmla="*/ 7396 h 10000"/>
                    <a:gd name="connsiteX54" fmla="*/ 4097 w 9921"/>
                    <a:gd name="connsiteY54" fmla="*/ 7379 h 10000"/>
                    <a:gd name="connsiteX55" fmla="*/ 3515 w 9921"/>
                    <a:gd name="connsiteY55" fmla="*/ 6914 h 10000"/>
                    <a:gd name="connsiteX56" fmla="*/ 3536 w 9921"/>
                    <a:gd name="connsiteY56" fmla="*/ 7069 h 10000"/>
                    <a:gd name="connsiteX57" fmla="*/ 3765 w 9921"/>
                    <a:gd name="connsiteY57" fmla="*/ 7465 h 10000"/>
                    <a:gd name="connsiteX58" fmla="*/ 3390 w 9921"/>
                    <a:gd name="connsiteY58" fmla="*/ 7172 h 10000"/>
                    <a:gd name="connsiteX59" fmla="*/ 3057 w 9921"/>
                    <a:gd name="connsiteY59" fmla="*/ 6966 h 10000"/>
                    <a:gd name="connsiteX60" fmla="*/ 2974 w 9921"/>
                    <a:gd name="connsiteY60" fmla="*/ 7603 h 10000"/>
                    <a:gd name="connsiteX61" fmla="*/ 3182 w 9921"/>
                    <a:gd name="connsiteY61" fmla="*/ 9448 h 10000"/>
                    <a:gd name="connsiteX62" fmla="*/ 4097 w 9921"/>
                    <a:gd name="connsiteY62" fmla="*/ 9672 h 10000"/>
                    <a:gd name="connsiteX63" fmla="*/ 5263 w 9921"/>
                    <a:gd name="connsiteY63" fmla="*/ 8344 h 10000"/>
                    <a:gd name="connsiteX64" fmla="*/ 5971 w 9921"/>
                    <a:gd name="connsiteY64" fmla="*/ 9655 h 10000"/>
                    <a:gd name="connsiteX65" fmla="*/ 7239 w 9921"/>
                    <a:gd name="connsiteY65" fmla="*/ 10000 h 10000"/>
                    <a:gd name="connsiteX66" fmla="*/ 8259 w 9921"/>
                    <a:gd name="connsiteY66" fmla="*/ 9758 h 10000"/>
                    <a:gd name="connsiteX67" fmla="*/ 8238 w 9921"/>
                    <a:gd name="connsiteY67" fmla="*/ 9862 h 10000"/>
                    <a:gd name="connsiteX68" fmla="*/ 8508 w 9921"/>
                    <a:gd name="connsiteY68" fmla="*/ 8258 h 10000"/>
                    <a:gd name="connsiteX69" fmla="*/ 8550 w 9921"/>
                    <a:gd name="connsiteY69" fmla="*/ 6586 h 10000"/>
                    <a:gd name="connsiteX70" fmla="*/ 8529 w 9921"/>
                    <a:gd name="connsiteY70" fmla="*/ 6482 h 10000"/>
                    <a:gd name="connsiteX71" fmla="*/ 8925 w 9921"/>
                    <a:gd name="connsiteY71" fmla="*/ 6362 h 10000"/>
                    <a:gd name="connsiteX72" fmla="*/ 9466 w 9921"/>
                    <a:gd name="connsiteY72" fmla="*/ 5896 h 10000"/>
                    <a:gd name="connsiteX73" fmla="*/ 9903 w 9921"/>
                    <a:gd name="connsiteY73" fmla="*/ 5396 h 10000"/>
                    <a:gd name="connsiteX74" fmla="*/ 9757 w 9921"/>
                    <a:gd name="connsiteY74" fmla="*/ 3552 h 10000"/>
                    <a:gd name="connsiteX0" fmla="*/ 9897 w 10062"/>
                    <a:gd name="connsiteY0" fmla="*/ 3552 h 10000"/>
                    <a:gd name="connsiteX1" fmla="*/ 9728 w 10062"/>
                    <a:gd name="connsiteY1" fmla="*/ 1586 h 10000"/>
                    <a:gd name="connsiteX2" fmla="*/ 9204 w 10062"/>
                    <a:gd name="connsiteY2" fmla="*/ 1104 h 10000"/>
                    <a:gd name="connsiteX3" fmla="*/ 7569 w 10062"/>
                    <a:gd name="connsiteY3" fmla="*/ 379 h 10000"/>
                    <a:gd name="connsiteX4" fmla="*/ 7191 w 10062"/>
                    <a:gd name="connsiteY4" fmla="*/ 34 h 10000"/>
                    <a:gd name="connsiteX5" fmla="*/ 7212 w 10062"/>
                    <a:gd name="connsiteY5" fmla="*/ 207 h 10000"/>
                    <a:gd name="connsiteX6" fmla="*/ 7108 w 10062"/>
                    <a:gd name="connsiteY6" fmla="*/ 1017 h 10000"/>
                    <a:gd name="connsiteX7" fmla="*/ 7044 w 10062"/>
                    <a:gd name="connsiteY7" fmla="*/ 1207 h 10000"/>
                    <a:gd name="connsiteX8" fmla="*/ 7023 w 10062"/>
                    <a:gd name="connsiteY8" fmla="*/ 1224 h 10000"/>
                    <a:gd name="connsiteX9" fmla="*/ 6479 w 10062"/>
                    <a:gd name="connsiteY9" fmla="*/ 2396 h 10000"/>
                    <a:gd name="connsiteX10" fmla="*/ 5954 w 10062"/>
                    <a:gd name="connsiteY10" fmla="*/ 3327 h 10000"/>
                    <a:gd name="connsiteX11" fmla="*/ 5681 w 10062"/>
                    <a:gd name="connsiteY11" fmla="*/ 3759 h 10000"/>
                    <a:gd name="connsiteX12" fmla="*/ 5451 w 10062"/>
                    <a:gd name="connsiteY12" fmla="*/ 3276 h 10000"/>
                    <a:gd name="connsiteX13" fmla="*/ 5367 w 10062"/>
                    <a:gd name="connsiteY13" fmla="*/ 3104 h 10000"/>
                    <a:gd name="connsiteX14" fmla="*/ 5052 w 10062"/>
                    <a:gd name="connsiteY14" fmla="*/ 1879 h 10000"/>
                    <a:gd name="connsiteX15" fmla="*/ 5031 w 10062"/>
                    <a:gd name="connsiteY15" fmla="*/ 1035 h 10000"/>
                    <a:gd name="connsiteX16" fmla="*/ 5031 w 10062"/>
                    <a:gd name="connsiteY16" fmla="*/ 879 h 10000"/>
                    <a:gd name="connsiteX17" fmla="*/ 5157 w 10062"/>
                    <a:gd name="connsiteY17" fmla="*/ 0 h 10000"/>
                    <a:gd name="connsiteX18" fmla="*/ 5094 w 10062"/>
                    <a:gd name="connsiteY18" fmla="*/ 17 h 10000"/>
                    <a:gd name="connsiteX19" fmla="*/ 4129 w 10062"/>
                    <a:gd name="connsiteY19" fmla="*/ 259 h 10000"/>
                    <a:gd name="connsiteX20" fmla="*/ 2578 w 10062"/>
                    <a:gd name="connsiteY20" fmla="*/ 706 h 10000"/>
                    <a:gd name="connsiteX21" fmla="*/ 2221 w 10062"/>
                    <a:gd name="connsiteY21" fmla="*/ 1362 h 10000"/>
                    <a:gd name="connsiteX22" fmla="*/ 1906 w 10062"/>
                    <a:gd name="connsiteY22" fmla="*/ 1879 h 10000"/>
                    <a:gd name="connsiteX23" fmla="*/ 1592 w 10062"/>
                    <a:gd name="connsiteY23" fmla="*/ 2189 h 10000"/>
                    <a:gd name="connsiteX24" fmla="*/ 732 w 10062"/>
                    <a:gd name="connsiteY24" fmla="*/ 3207 h 10000"/>
                    <a:gd name="connsiteX25" fmla="*/ 263 w 10062"/>
                    <a:gd name="connsiteY25" fmla="*/ 3835 h 10000"/>
                    <a:gd name="connsiteX26" fmla="*/ 62 w 10062"/>
                    <a:gd name="connsiteY26" fmla="*/ 4292 h 10000"/>
                    <a:gd name="connsiteX27" fmla="*/ 1507 w 10062"/>
                    <a:gd name="connsiteY27" fmla="*/ 4569 h 10000"/>
                    <a:gd name="connsiteX28" fmla="*/ 1843 w 10062"/>
                    <a:gd name="connsiteY28" fmla="*/ 4482 h 10000"/>
                    <a:gd name="connsiteX29" fmla="*/ 2074 w 10062"/>
                    <a:gd name="connsiteY29" fmla="*/ 4052 h 10000"/>
                    <a:gd name="connsiteX30" fmla="*/ 2703 w 10062"/>
                    <a:gd name="connsiteY30" fmla="*/ 3466 h 10000"/>
                    <a:gd name="connsiteX31" fmla="*/ 2913 w 10062"/>
                    <a:gd name="connsiteY31" fmla="*/ 4189 h 10000"/>
                    <a:gd name="connsiteX32" fmla="*/ 3228 w 10062"/>
                    <a:gd name="connsiteY32" fmla="*/ 4224 h 10000"/>
                    <a:gd name="connsiteX33" fmla="*/ 2976 w 10062"/>
                    <a:gd name="connsiteY33" fmla="*/ 4396 h 10000"/>
                    <a:gd name="connsiteX34" fmla="*/ 3102 w 10062"/>
                    <a:gd name="connsiteY34" fmla="*/ 4690 h 10000"/>
                    <a:gd name="connsiteX35" fmla="*/ 3143 w 10062"/>
                    <a:gd name="connsiteY35" fmla="*/ 4862 h 10000"/>
                    <a:gd name="connsiteX36" fmla="*/ 3422 w 10062"/>
                    <a:gd name="connsiteY36" fmla="*/ 4832 h 10000"/>
                    <a:gd name="connsiteX37" fmla="*/ 3563 w 10062"/>
                    <a:gd name="connsiteY37" fmla="*/ 5000 h 10000"/>
                    <a:gd name="connsiteX38" fmla="*/ 3186 w 10062"/>
                    <a:gd name="connsiteY38" fmla="*/ 5086 h 10000"/>
                    <a:gd name="connsiteX39" fmla="*/ 3291 w 10062"/>
                    <a:gd name="connsiteY39" fmla="*/ 5620 h 10000"/>
                    <a:gd name="connsiteX40" fmla="*/ 3353 w 10062"/>
                    <a:gd name="connsiteY40" fmla="*/ 6017 h 10000"/>
                    <a:gd name="connsiteX41" fmla="*/ 3312 w 10062"/>
                    <a:gd name="connsiteY41" fmla="*/ 6138 h 10000"/>
                    <a:gd name="connsiteX42" fmla="*/ 3605 w 10062"/>
                    <a:gd name="connsiteY42" fmla="*/ 6138 h 10000"/>
                    <a:gd name="connsiteX43" fmla="*/ 4214 w 10062"/>
                    <a:gd name="connsiteY43" fmla="*/ 6189 h 10000"/>
                    <a:gd name="connsiteX44" fmla="*/ 4717 w 10062"/>
                    <a:gd name="connsiteY44" fmla="*/ 6362 h 10000"/>
                    <a:gd name="connsiteX45" fmla="*/ 4843 w 10062"/>
                    <a:gd name="connsiteY45" fmla="*/ 6638 h 10000"/>
                    <a:gd name="connsiteX46" fmla="*/ 4381 w 10062"/>
                    <a:gd name="connsiteY46" fmla="*/ 6448 h 10000"/>
                    <a:gd name="connsiteX47" fmla="*/ 4045 w 10062"/>
                    <a:gd name="connsiteY47" fmla="*/ 6448 h 10000"/>
                    <a:gd name="connsiteX48" fmla="*/ 4297 w 10062"/>
                    <a:gd name="connsiteY48" fmla="*/ 6551 h 10000"/>
                    <a:gd name="connsiteX49" fmla="*/ 4905 w 10062"/>
                    <a:gd name="connsiteY49" fmla="*/ 7103 h 10000"/>
                    <a:gd name="connsiteX50" fmla="*/ 4570 w 10062"/>
                    <a:gd name="connsiteY50" fmla="*/ 7051 h 10000"/>
                    <a:gd name="connsiteX51" fmla="*/ 4067 w 10062"/>
                    <a:gd name="connsiteY51" fmla="*/ 6690 h 10000"/>
                    <a:gd name="connsiteX52" fmla="*/ 4004 w 10062"/>
                    <a:gd name="connsiteY52" fmla="*/ 6844 h 10000"/>
                    <a:gd name="connsiteX53" fmla="*/ 4548 w 10062"/>
                    <a:gd name="connsiteY53" fmla="*/ 7396 h 10000"/>
                    <a:gd name="connsiteX54" fmla="*/ 4192 w 10062"/>
                    <a:gd name="connsiteY54" fmla="*/ 7379 h 10000"/>
                    <a:gd name="connsiteX55" fmla="*/ 3605 w 10062"/>
                    <a:gd name="connsiteY55" fmla="*/ 6914 h 10000"/>
                    <a:gd name="connsiteX56" fmla="*/ 3626 w 10062"/>
                    <a:gd name="connsiteY56" fmla="*/ 7069 h 10000"/>
                    <a:gd name="connsiteX57" fmla="*/ 3857 w 10062"/>
                    <a:gd name="connsiteY57" fmla="*/ 7465 h 10000"/>
                    <a:gd name="connsiteX58" fmla="*/ 3479 w 10062"/>
                    <a:gd name="connsiteY58" fmla="*/ 7172 h 10000"/>
                    <a:gd name="connsiteX59" fmla="*/ 3143 w 10062"/>
                    <a:gd name="connsiteY59" fmla="*/ 6966 h 10000"/>
                    <a:gd name="connsiteX60" fmla="*/ 3060 w 10062"/>
                    <a:gd name="connsiteY60" fmla="*/ 7603 h 10000"/>
                    <a:gd name="connsiteX61" fmla="*/ 3269 w 10062"/>
                    <a:gd name="connsiteY61" fmla="*/ 9448 h 10000"/>
                    <a:gd name="connsiteX62" fmla="*/ 4192 w 10062"/>
                    <a:gd name="connsiteY62" fmla="*/ 9672 h 10000"/>
                    <a:gd name="connsiteX63" fmla="*/ 5367 w 10062"/>
                    <a:gd name="connsiteY63" fmla="*/ 8344 h 10000"/>
                    <a:gd name="connsiteX64" fmla="*/ 6081 w 10062"/>
                    <a:gd name="connsiteY64" fmla="*/ 9655 h 10000"/>
                    <a:gd name="connsiteX65" fmla="*/ 7359 w 10062"/>
                    <a:gd name="connsiteY65" fmla="*/ 10000 h 10000"/>
                    <a:gd name="connsiteX66" fmla="*/ 8387 w 10062"/>
                    <a:gd name="connsiteY66" fmla="*/ 9758 h 10000"/>
                    <a:gd name="connsiteX67" fmla="*/ 8366 w 10062"/>
                    <a:gd name="connsiteY67" fmla="*/ 9862 h 10000"/>
                    <a:gd name="connsiteX68" fmla="*/ 8638 w 10062"/>
                    <a:gd name="connsiteY68" fmla="*/ 8258 h 10000"/>
                    <a:gd name="connsiteX69" fmla="*/ 8680 w 10062"/>
                    <a:gd name="connsiteY69" fmla="*/ 6586 h 10000"/>
                    <a:gd name="connsiteX70" fmla="*/ 8659 w 10062"/>
                    <a:gd name="connsiteY70" fmla="*/ 6482 h 10000"/>
                    <a:gd name="connsiteX71" fmla="*/ 9058 w 10062"/>
                    <a:gd name="connsiteY71" fmla="*/ 6362 h 10000"/>
                    <a:gd name="connsiteX72" fmla="*/ 9603 w 10062"/>
                    <a:gd name="connsiteY72" fmla="*/ 5896 h 10000"/>
                    <a:gd name="connsiteX73" fmla="*/ 10044 w 10062"/>
                    <a:gd name="connsiteY73" fmla="*/ 5396 h 10000"/>
                    <a:gd name="connsiteX74" fmla="*/ 9897 w 10062"/>
                    <a:gd name="connsiteY74" fmla="*/ 3552 h 10000"/>
                    <a:gd name="connsiteX0" fmla="*/ 9944 w 10109"/>
                    <a:gd name="connsiteY0" fmla="*/ 3552 h 10000"/>
                    <a:gd name="connsiteX1" fmla="*/ 9775 w 10109"/>
                    <a:gd name="connsiteY1" fmla="*/ 1586 h 10000"/>
                    <a:gd name="connsiteX2" fmla="*/ 9251 w 10109"/>
                    <a:gd name="connsiteY2" fmla="*/ 1104 h 10000"/>
                    <a:gd name="connsiteX3" fmla="*/ 7616 w 10109"/>
                    <a:gd name="connsiteY3" fmla="*/ 379 h 10000"/>
                    <a:gd name="connsiteX4" fmla="*/ 7238 w 10109"/>
                    <a:gd name="connsiteY4" fmla="*/ 34 h 10000"/>
                    <a:gd name="connsiteX5" fmla="*/ 7259 w 10109"/>
                    <a:gd name="connsiteY5" fmla="*/ 207 h 10000"/>
                    <a:gd name="connsiteX6" fmla="*/ 7155 w 10109"/>
                    <a:gd name="connsiteY6" fmla="*/ 1017 h 10000"/>
                    <a:gd name="connsiteX7" fmla="*/ 7091 w 10109"/>
                    <a:gd name="connsiteY7" fmla="*/ 1207 h 10000"/>
                    <a:gd name="connsiteX8" fmla="*/ 7070 w 10109"/>
                    <a:gd name="connsiteY8" fmla="*/ 1224 h 10000"/>
                    <a:gd name="connsiteX9" fmla="*/ 6526 w 10109"/>
                    <a:gd name="connsiteY9" fmla="*/ 2396 h 10000"/>
                    <a:gd name="connsiteX10" fmla="*/ 6001 w 10109"/>
                    <a:gd name="connsiteY10" fmla="*/ 3327 h 10000"/>
                    <a:gd name="connsiteX11" fmla="*/ 5728 w 10109"/>
                    <a:gd name="connsiteY11" fmla="*/ 3759 h 10000"/>
                    <a:gd name="connsiteX12" fmla="*/ 5498 w 10109"/>
                    <a:gd name="connsiteY12" fmla="*/ 3276 h 10000"/>
                    <a:gd name="connsiteX13" fmla="*/ 5414 w 10109"/>
                    <a:gd name="connsiteY13" fmla="*/ 3104 h 10000"/>
                    <a:gd name="connsiteX14" fmla="*/ 5099 w 10109"/>
                    <a:gd name="connsiteY14" fmla="*/ 1879 h 10000"/>
                    <a:gd name="connsiteX15" fmla="*/ 5078 w 10109"/>
                    <a:gd name="connsiteY15" fmla="*/ 1035 h 10000"/>
                    <a:gd name="connsiteX16" fmla="*/ 5078 w 10109"/>
                    <a:gd name="connsiteY16" fmla="*/ 879 h 10000"/>
                    <a:gd name="connsiteX17" fmla="*/ 5204 w 10109"/>
                    <a:gd name="connsiteY17" fmla="*/ 0 h 10000"/>
                    <a:gd name="connsiteX18" fmla="*/ 5141 w 10109"/>
                    <a:gd name="connsiteY18" fmla="*/ 17 h 10000"/>
                    <a:gd name="connsiteX19" fmla="*/ 4176 w 10109"/>
                    <a:gd name="connsiteY19" fmla="*/ 259 h 10000"/>
                    <a:gd name="connsiteX20" fmla="*/ 2625 w 10109"/>
                    <a:gd name="connsiteY20" fmla="*/ 706 h 10000"/>
                    <a:gd name="connsiteX21" fmla="*/ 2268 w 10109"/>
                    <a:gd name="connsiteY21" fmla="*/ 1362 h 10000"/>
                    <a:gd name="connsiteX22" fmla="*/ 1953 w 10109"/>
                    <a:gd name="connsiteY22" fmla="*/ 1879 h 10000"/>
                    <a:gd name="connsiteX23" fmla="*/ 1639 w 10109"/>
                    <a:gd name="connsiteY23" fmla="*/ 2189 h 10000"/>
                    <a:gd name="connsiteX24" fmla="*/ 779 w 10109"/>
                    <a:gd name="connsiteY24" fmla="*/ 3207 h 10000"/>
                    <a:gd name="connsiteX25" fmla="*/ 310 w 10109"/>
                    <a:gd name="connsiteY25" fmla="*/ 3835 h 10000"/>
                    <a:gd name="connsiteX26" fmla="*/ 56 w 10109"/>
                    <a:gd name="connsiteY26" fmla="*/ 4358 h 10000"/>
                    <a:gd name="connsiteX27" fmla="*/ 1554 w 10109"/>
                    <a:gd name="connsiteY27" fmla="*/ 4569 h 10000"/>
                    <a:gd name="connsiteX28" fmla="*/ 1890 w 10109"/>
                    <a:gd name="connsiteY28" fmla="*/ 4482 h 10000"/>
                    <a:gd name="connsiteX29" fmla="*/ 2121 w 10109"/>
                    <a:gd name="connsiteY29" fmla="*/ 4052 h 10000"/>
                    <a:gd name="connsiteX30" fmla="*/ 2750 w 10109"/>
                    <a:gd name="connsiteY30" fmla="*/ 3466 h 10000"/>
                    <a:gd name="connsiteX31" fmla="*/ 2960 w 10109"/>
                    <a:gd name="connsiteY31" fmla="*/ 4189 h 10000"/>
                    <a:gd name="connsiteX32" fmla="*/ 3275 w 10109"/>
                    <a:gd name="connsiteY32" fmla="*/ 4224 h 10000"/>
                    <a:gd name="connsiteX33" fmla="*/ 3023 w 10109"/>
                    <a:gd name="connsiteY33" fmla="*/ 4396 h 10000"/>
                    <a:gd name="connsiteX34" fmla="*/ 3149 w 10109"/>
                    <a:gd name="connsiteY34" fmla="*/ 4690 h 10000"/>
                    <a:gd name="connsiteX35" fmla="*/ 3190 w 10109"/>
                    <a:gd name="connsiteY35" fmla="*/ 4862 h 10000"/>
                    <a:gd name="connsiteX36" fmla="*/ 3469 w 10109"/>
                    <a:gd name="connsiteY36" fmla="*/ 4832 h 10000"/>
                    <a:gd name="connsiteX37" fmla="*/ 3610 w 10109"/>
                    <a:gd name="connsiteY37" fmla="*/ 5000 h 10000"/>
                    <a:gd name="connsiteX38" fmla="*/ 3233 w 10109"/>
                    <a:gd name="connsiteY38" fmla="*/ 5086 h 10000"/>
                    <a:gd name="connsiteX39" fmla="*/ 3338 w 10109"/>
                    <a:gd name="connsiteY39" fmla="*/ 5620 h 10000"/>
                    <a:gd name="connsiteX40" fmla="*/ 3400 w 10109"/>
                    <a:gd name="connsiteY40" fmla="*/ 6017 h 10000"/>
                    <a:gd name="connsiteX41" fmla="*/ 3359 w 10109"/>
                    <a:gd name="connsiteY41" fmla="*/ 6138 h 10000"/>
                    <a:gd name="connsiteX42" fmla="*/ 3652 w 10109"/>
                    <a:gd name="connsiteY42" fmla="*/ 6138 h 10000"/>
                    <a:gd name="connsiteX43" fmla="*/ 4261 w 10109"/>
                    <a:gd name="connsiteY43" fmla="*/ 6189 h 10000"/>
                    <a:gd name="connsiteX44" fmla="*/ 4764 w 10109"/>
                    <a:gd name="connsiteY44" fmla="*/ 6362 h 10000"/>
                    <a:gd name="connsiteX45" fmla="*/ 4890 w 10109"/>
                    <a:gd name="connsiteY45" fmla="*/ 6638 h 10000"/>
                    <a:gd name="connsiteX46" fmla="*/ 4428 w 10109"/>
                    <a:gd name="connsiteY46" fmla="*/ 6448 h 10000"/>
                    <a:gd name="connsiteX47" fmla="*/ 4092 w 10109"/>
                    <a:gd name="connsiteY47" fmla="*/ 6448 h 10000"/>
                    <a:gd name="connsiteX48" fmla="*/ 4344 w 10109"/>
                    <a:gd name="connsiteY48" fmla="*/ 6551 h 10000"/>
                    <a:gd name="connsiteX49" fmla="*/ 4952 w 10109"/>
                    <a:gd name="connsiteY49" fmla="*/ 7103 h 10000"/>
                    <a:gd name="connsiteX50" fmla="*/ 4617 w 10109"/>
                    <a:gd name="connsiteY50" fmla="*/ 7051 h 10000"/>
                    <a:gd name="connsiteX51" fmla="*/ 4114 w 10109"/>
                    <a:gd name="connsiteY51" fmla="*/ 6690 h 10000"/>
                    <a:gd name="connsiteX52" fmla="*/ 4051 w 10109"/>
                    <a:gd name="connsiteY52" fmla="*/ 6844 h 10000"/>
                    <a:gd name="connsiteX53" fmla="*/ 4595 w 10109"/>
                    <a:gd name="connsiteY53" fmla="*/ 7396 h 10000"/>
                    <a:gd name="connsiteX54" fmla="*/ 4239 w 10109"/>
                    <a:gd name="connsiteY54" fmla="*/ 7379 h 10000"/>
                    <a:gd name="connsiteX55" fmla="*/ 3652 w 10109"/>
                    <a:gd name="connsiteY55" fmla="*/ 6914 h 10000"/>
                    <a:gd name="connsiteX56" fmla="*/ 3673 w 10109"/>
                    <a:gd name="connsiteY56" fmla="*/ 7069 h 10000"/>
                    <a:gd name="connsiteX57" fmla="*/ 3904 w 10109"/>
                    <a:gd name="connsiteY57" fmla="*/ 7465 h 10000"/>
                    <a:gd name="connsiteX58" fmla="*/ 3526 w 10109"/>
                    <a:gd name="connsiteY58" fmla="*/ 7172 h 10000"/>
                    <a:gd name="connsiteX59" fmla="*/ 3190 w 10109"/>
                    <a:gd name="connsiteY59" fmla="*/ 6966 h 10000"/>
                    <a:gd name="connsiteX60" fmla="*/ 3107 w 10109"/>
                    <a:gd name="connsiteY60" fmla="*/ 7603 h 10000"/>
                    <a:gd name="connsiteX61" fmla="*/ 3316 w 10109"/>
                    <a:gd name="connsiteY61" fmla="*/ 9448 h 10000"/>
                    <a:gd name="connsiteX62" fmla="*/ 4239 w 10109"/>
                    <a:gd name="connsiteY62" fmla="*/ 9672 h 10000"/>
                    <a:gd name="connsiteX63" fmla="*/ 5414 w 10109"/>
                    <a:gd name="connsiteY63" fmla="*/ 8344 h 10000"/>
                    <a:gd name="connsiteX64" fmla="*/ 6128 w 10109"/>
                    <a:gd name="connsiteY64" fmla="*/ 9655 h 10000"/>
                    <a:gd name="connsiteX65" fmla="*/ 7406 w 10109"/>
                    <a:gd name="connsiteY65" fmla="*/ 10000 h 10000"/>
                    <a:gd name="connsiteX66" fmla="*/ 8434 w 10109"/>
                    <a:gd name="connsiteY66" fmla="*/ 9758 h 10000"/>
                    <a:gd name="connsiteX67" fmla="*/ 8413 w 10109"/>
                    <a:gd name="connsiteY67" fmla="*/ 9862 h 10000"/>
                    <a:gd name="connsiteX68" fmla="*/ 8685 w 10109"/>
                    <a:gd name="connsiteY68" fmla="*/ 8258 h 10000"/>
                    <a:gd name="connsiteX69" fmla="*/ 8727 w 10109"/>
                    <a:gd name="connsiteY69" fmla="*/ 6586 h 10000"/>
                    <a:gd name="connsiteX70" fmla="*/ 8706 w 10109"/>
                    <a:gd name="connsiteY70" fmla="*/ 6482 h 10000"/>
                    <a:gd name="connsiteX71" fmla="*/ 9105 w 10109"/>
                    <a:gd name="connsiteY71" fmla="*/ 6362 h 10000"/>
                    <a:gd name="connsiteX72" fmla="*/ 9650 w 10109"/>
                    <a:gd name="connsiteY72" fmla="*/ 5896 h 10000"/>
                    <a:gd name="connsiteX73" fmla="*/ 10091 w 10109"/>
                    <a:gd name="connsiteY73" fmla="*/ 5396 h 10000"/>
                    <a:gd name="connsiteX74" fmla="*/ 9944 w 10109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32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646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646 h 10000"/>
                    <a:gd name="connsiteX64" fmla="*/ 5984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146"/>
                    <a:gd name="connsiteX1" fmla="*/ 9786 w 10120"/>
                    <a:gd name="connsiteY1" fmla="*/ 1586 h 10146"/>
                    <a:gd name="connsiteX2" fmla="*/ 9262 w 10120"/>
                    <a:gd name="connsiteY2" fmla="*/ 1104 h 10146"/>
                    <a:gd name="connsiteX3" fmla="*/ 7627 w 10120"/>
                    <a:gd name="connsiteY3" fmla="*/ 379 h 10146"/>
                    <a:gd name="connsiteX4" fmla="*/ 7249 w 10120"/>
                    <a:gd name="connsiteY4" fmla="*/ 34 h 10146"/>
                    <a:gd name="connsiteX5" fmla="*/ 7270 w 10120"/>
                    <a:gd name="connsiteY5" fmla="*/ 207 h 10146"/>
                    <a:gd name="connsiteX6" fmla="*/ 7166 w 10120"/>
                    <a:gd name="connsiteY6" fmla="*/ 1017 h 10146"/>
                    <a:gd name="connsiteX7" fmla="*/ 7102 w 10120"/>
                    <a:gd name="connsiteY7" fmla="*/ 1207 h 10146"/>
                    <a:gd name="connsiteX8" fmla="*/ 7081 w 10120"/>
                    <a:gd name="connsiteY8" fmla="*/ 1224 h 10146"/>
                    <a:gd name="connsiteX9" fmla="*/ 6537 w 10120"/>
                    <a:gd name="connsiteY9" fmla="*/ 2396 h 10146"/>
                    <a:gd name="connsiteX10" fmla="*/ 6012 w 10120"/>
                    <a:gd name="connsiteY10" fmla="*/ 3327 h 10146"/>
                    <a:gd name="connsiteX11" fmla="*/ 5739 w 10120"/>
                    <a:gd name="connsiteY11" fmla="*/ 3759 h 10146"/>
                    <a:gd name="connsiteX12" fmla="*/ 5509 w 10120"/>
                    <a:gd name="connsiteY12" fmla="*/ 3276 h 10146"/>
                    <a:gd name="connsiteX13" fmla="*/ 5425 w 10120"/>
                    <a:gd name="connsiteY13" fmla="*/ 3104 h 10146"/>
                    <a:gd name="connsiteX14" fmla="*/ 5110 w 10120"/>
                    <a:gd name="connsiteY14" fmla="*/ 1879 h 10146"/>
                    <a:gd name="connsiteX15" fmla="*/ 5089 w 10120"/>
                    <a:gd name="connsiteY15" fmla="*/ 1035 h 10146"/>
                    <a:gd name="connsiteX16" fmla="*/ 5089 w 10120"/>
                    <a:gd name="connsiteY16" fmla="*/ 879 h 10146"/>
                    <a:gd name="connsiteX17" fmla="*/ 5215 w 10120"/>
                    <a:gd name="connsiteY17" fmla="*/ 0 h 10146"/>
                    <a:gd name="connsiteX18" fmla="*/ 5152 w 10120"/>
                    <a:gd name="connsiteY18" fmla="*/ 17 h 10146"/>
                    <a:gd name="connsiteX19" fmla="*/ 4187 w 10120"/>
                    <a:gd name="connsiteY19" fmla="*/ 259 h 10146"/>
                    <a:gd name="connsiteX20" fmla="*/ 2636 w 10120"/>
                    <a:gd name="connsiteY20" fmla="*/ 706 h 10146"/>
                    <a:gd name="connsiteX21" fmla="*/ 2279 w 10120"/>
                    <a:gd name="connsiteY21" fmla="*/ 1362 h 10146"/>
                    <a:gd name="connsiteX22" fmla="*/ 1964 w 10120"/>
                    <a:gd name="connsiteY22" fmla="*/ 1879 h 10146"/>
                    <a:gd name="connsiteX23" fmla="*/ 1650 w 10120"/>
                    <a:gd name="connsiteY23" fmla="*/ 2189 h 10146"/>
                    <a:gd name="connsiteX24" fmla="*/ 790 w 10120"/>
                    <a:gd name="connsiteY24" fmla="*/ 3207 h 10146"/>
                    <a:gd name="connsiteX25" fmla="*/ 321 w 10120"/>
                    <a:gd name="connsiteY25" fmla="*/ 3835 h 10146"/>
                    <a:gd name="connsiteX26" fmla="*/ 67 w 10120"/>
                    <a:gd name="connsiteY26" fmla="*/ 4358 h 10146"/>
                    <a:gd name="connsiteX27" fmla="*/ 1565 w 10120"/>
                    <a:gd name="connsiteY27" fmla="*/ 4569 h 10146"/>
                    <a:gd name="connsiteX28" fmla="*/ 1901 w 10120"/>
                    <a:gd name="connsiteY28" fmla="*/ 4482 h 10146"/>
                    <a:gd name="connsiteX29" fmla="*/ 2132 w 10120"/>
                    <a:gd name="connsiteY29" fmla="*/ 4052 h 10146"/>
                    <a:gd name="connsiteX30" fmla="*/ 2761 w 10120"/>
                    <a:gd name="connsiteY30" fmla="*/ 3466 h 10146"/>
                    <a:gd name="connsiteX31" fmla="*/ 2971 w 10120"/>
                    <a:gd name="connsiteY31" fmla="*/ 4189 h 10146"/>
                    <a:gd name="connsiteX32" fmla="*/ 3286 w 10120"/>
                    <a:gd name="connsiteY32" fmla="*/ 4224 h 10146"/>
                    <a:gd name="connsiteX33" fmla="*/ 3034 w 10120"/>
                    <a:gd name="connsiteY33" fmla="*/ 4396 h 10146"/>
                    <a:gd name="connsiteX34" fmla="*/ 3160 w 10120"/>
                    <a:gd name="connsiteY34" fmla="*/ 4690 h 10146"/>
                    <a:gd name="connsiteX35" fmla="*/ 3201 w 10120"/>
                    <a:gd name="connsiteY35" fmla="*/ 4862 h 10146"/>
                    <a:gd name="connsiteX36" fmla="*/ 3480 w 10120"/>
                    <a:gd name="connsiteY36" fmla="*/ 4832 h 10146"/>
                    <a:gd name="connsiteX37" fmla="*/ 3621 w 10120"/>
                    <a:gd name="connsiteY37" fmla="*/ 5000 h 10146"/>
                    <a:gd name="connsiteX38" fmla="*/ 3244 w 10120"/>
                    <a:gd name="connsiteY38" fmla="*/ 5086 h 10146"/>
                    <a:gd name="connsiteX39" fmla="*/ 3349 w 10120"/>
                    <a:gd name="connsiteY39" fmla="*/ 5620 h 10146"/>
                    <a:gd name="connsiteX40" fmla="*/ 3411 w 10120"/>
                    <a:gd name="connsiteY40" fmla="*/ 6017 h 10146"/>
                    <a:gd name="connsiteX41" fmla="*/ 3370 w 10120"/>
                    <a:gd name="connsiteY41" fmla="*/ 6138 h 10146"/>
                    <a:gd name="connsiteX42" fmla="*/ 3663 w 10120"/>
                    <a:gd name="connsiteY42" fmla="*/ 6138 h 10146"/>
                    <a:gd name="connsiteX43" fmla="*/ 4272 w 10120"/>
                    <a:gd name="connsiteY43" fmla="*/ 6189 h 10146"/>
                    <a:gd name="connsiteX44" fmla="*/ 4775 w 10120"/>
                    <a:gd name="connsiteY44" fmla="*/ 6362 h 10146"/>
                    <a:gd name="connsiteX45" fmla="*/ 4901 w 10120"/>
                    <a:gd name="connsiteY45" fmla="*/ 6638 h 10146"/>
                    <a:gd name="connsiteX46" fmla="*/ 4439 w 10120"/>
                    <a:gd name="connsiteY46" fmla="*/ 6448 h 10146"/>
                    <a:gd name="connsiteX47" fmla="*/ 4103 w 10120"/>
                    <a:gd name="connsiteY47" fmla="*/ 6448 h 10146"/>
                    <a:gd name="connsiteX48" fmla="*/ 4355 w 10120"/>
                    <a:gd name="connsiteY48" fmla="*/ 6551 h 10146"/>
                    <a:gd name="connsiteX49" fmla="*/ 4963 w 10120"/>
                    <a:gd name="connsiteY49" fmla="*/ 7103 h 10146"/>
                    <a:gd name="connsiteX50" fmla="*/ 4628 w 10120"/>
                    <a:gd name="connsiteY50" fmla="*/ 7051 h 10146"/>
                    <a:gd name="connsiteX51" fmla="*/ 4125 w 10120"/>
                    <a:gd name="connsiteY51" fmla="*/ 6690 h 10146"/>
                    <a:gd name="connsiteX52" fmla="*/ 4062 w 10120"/>
                    <a:gd name="connsiteY52" fmla="*/ 6844 h 10146"/>
                    <a:gd name="connsiteX53" fmla="*/ 4606 w 10120"/>
                    <a:gd name="connsiteY53" fmla="*/ 7396 h 10146"/>
                    <a:gd name="connsiteX54" fmla="*/ 4250 w 10120"/>
                    <a:gd name="connsiteY54" fmla="*/ 7379 h 10146"/>
                    <a:gd name="connsiteX55" fmla="*/ 3663 w 10120"/>
                    <a:gd name="connsiteY55" fmla="*/ 6914 h 10146"/>
                    <a:gd name="connsiteX56" fmla="*/ 3684 w 10120"/>
                    <a:gd name="connsiteY56" fmla="*/ 7069 h 10146"/>
                    <a:gd name="connsiteX57" fmla="*/ 3915 w 10120"/>
                    <a:gd name="connsiteY57" fmla="*/ 7465 h 10146"/>
                    <a:gd name="connsiteX58" fmla="*/ 3537 w 10120"/>
                    <a:gd name="connsiteY58" fmla="*/ 7172 h 10146"/>
                    <a:gd name="connsiteX59" fmla="*/ 3201 w 10120"/>
                    <a:gd name="connsiteY59" fmla="*/ 6966 h 10146"/>
                    <a:gd name="connsiteX60" fmla="*/ 3118 w 10120"/>
                    <a:gd name="connsiteY60" fmla="*/ 7603 h 10146"/>
                    <a:gd name="connsiteX61" fmla="*/ 3247 w 10120"/>
                    <a:gd name="connsiteY61" fmla="*/ 9448 h 10146"/>
                    <a:gd name="connsiteX62" fmla="*/ 4702 w 10120"/>
                    <a:gd name="connsiteY62" fmla="*/ 9712 h 10146"/>
                    <a:gd name="connsiteX63" fmla="*/ 5425 w 10120"/>
                    <a:gd name="connsiteY63" fmla="*/ 8646 h 10146"/>
                    <a:gd name="connsiteX64" fmla="*/ 5984 w 10120"/>
                    <a:gd name="connsiteY64" fmla="*/ 9655 h 10146"/>
                    <a:gd name="connsiteX65" fmla="*/ 7447 w 10120"/>
                    <a:gd name="connsiteY65" fmla="*/ 10146 h 10146"/>
                    <a:gd name="connsiteX66" fmla="*/ 8445 w 10120"/>
                    <a:gd name="connsiteY66" fmla="*/ 9758 h 10146"/>
                    <a:gd name="connsiteX67" fmla="*/ 8424 w 10120"/>
                    <a:gd name="connsiteY67" fmla="*/ 9862 h 10146"/>
                    <a:gd name="connsiteX68" fmla="*/ 8696 w 10120"/>
                    <a:gd name="connsiteY68" fmla="*/ 8258 h 10146"/>
                    <a:gd name="connsiteX69" fmla="*/ 8738 w 10120"/>
                    <a:gd name="connsiteY69" fmla="*/ 6586 h 10146"/>
                    <a:gd name="connsiteX70" fmla="*/ 8717 w 10120"/>
                    <a:gd name="connsiteY70" fmla="*/ 6482 h 10146"/>
                    <a:gd name="connsiteX71" fmla="*/ 9116 w 10120"/>
                    <a:gd name="connsiteY71" fmla="*/ 6362 h 10146"/>
                    <a:gd name="connsiteX72" fmla="*/ 9661 w 10120"/>
                    <a:gd name="connsiteY72" fmla="*/ 5896 h 10146"/>
                    <a:gd name="connsiteX73" fmla="*/ 10102 w 10120"/>
                    <a:gd name="connsiteY73" fmla="*/ 5396 h 10146"/>
                    <a:gd name="connsiteX74" fmla="*/ 9955 w 10120"/>
                    <a:gd name="connsiteY74" fmla="*/ 3552 h 10146"/>
                    <a:gd name="connsiteX0" fmla="*/ 9955 w 10120"/>
                    <a:gd name="connsiteY0" fmla="*/ 3552 h 10146"/>
                    <a:gd name="connsiteX1" fmla="*/ 9786 w 10120"/>
                    <a:gd name="connsiteY1" fmla="*/ 1586 h 10146"/>
                    <a:gd name="connsiteX2" fmla="*/ 9262 w 10120"/>
                    <a:gd name="connsiteY2" fmla="*/ 1104 h 10146"/>
                    <a:gd name="connsiteX3" fmla="*/ 7627 w 10120"/>
                    <a:gd name="connsiteY3" fmla="*/ 379 h 10146"/>
                    <a:gd name="connsiteX4" fmla="*/ 7249 w 10120"/>
                    <a:gd name="connsiteY4" fmla="*/ 34 h 10146"/>
                    <a:gd name="connsiteX5" fmla="*/ 7270 w 10120"/>
                    <a:gd name="connsiteY5" fmla="*/ 207 h 10146"/>
                    <a:gd name="connsiteX6" fmla="*/ 7166 w 10120"/>
                    <a:gd name="connsiteY6" fmla="*/ 1017 h 10146"/>
                    <a:gd name="connsiteX7" fmla="*/ 7102 w 10120"/>
                    <a:gd name="connsiteY7" fmla="*/ 1207 h 10146"/>
                    <a:gd name="connsiteX8" fmla="*/ 7081 w 10120"/>
                    <a:gd name="connsiteY8" fmla="*/ 1224 h 10146"/>
                    <a:gd name="connsiteX9" fmla="*/ 6537 w 10120"/>
                    <a:gd name="connsiteY9" fmla="*/ 2396 h 10146"/>
                    <a:gd name="connsiteX10" fmla="*/ 6012 w 10120"/>
                    <a:gd name="connsiteY10" fmla="*/ 3327 h 10146"/>
                    <a:gd name="connsiteX11" fmla="*/ 5739 w 10120"/>
                    <a:gd name="connsiteY11" fmla="*/ 3759 h 10146"/>
                    <a:gd name="connsiteX12" fmla="*/ 5509 w 10120"/>
                    <a:gd name="connsiteY12" fmla="*/ 3276 h 10146"/>
                    <a:gd name="connsiteX13" fmla="*/ 5425 w 10120"/>
                    <a:gd name="connsiteY13" fmla="*/ 3104 h 10146"/>
                    <a:gd name="connsiteX14" fmla="*/ 5110 w 10120"/>
                    <a:gd name="connsiteY14" fmla="*/ 1879 h 10146"/>
                    <a:gd name="connsiteX15" fmla="*/ 5089 w 10120"/>
                    <a:gd name="connsiteY15" fmla="*/ 1035 h 10146"/>
                    <a:gd name="connsiteX16" fmla="*/ 5089 w 10120"/>
                    <a:gd name="connsiteY16" fmla="*/ 879 h 10146"/>
                    <a:gd name="connsiteX17" fmla="*/ 5215 w 10120"/>
                    <a:gd name="connsiteY17" fmla="*/ 0 h 10146"/>
                    <a:gd name="connsiteX18" fmla="*/ 5152 w 10120"/>
                    <a:gd name="connsiteY18" fmla="*/ 17 h 10146"/>
                    <a:gd name="connsiteX19" fmla="*/ 4187 w 10120"/>
                    <a:gd name="connsiteY19" fmla="*/ 259 h 10146"/>
                    <a:gd name="connsiteX20" fmla="*/ 2636 w 10120"/>
                    <a:gd name="connsiteY20" fmla="*/ 706 h 10146"/>
                    <a:gd name="connsiteX21" fmla="*/ 2279 w 10120"/>
                    <a:gd name="connsiteY21" fmla="*/ 1362 h 10146"/>
                    <a:gd name="connsiteX22" fmla="*/ 1964 w 10120"/>
                    <a:gd name="connsiteY22" fmla="*/ 1879 h 10146"/>
                    <a:gd name="connsiteX23" fmla="*/ 1650 w 10120"/>
                    <a:gd name="connsiteY23" fmla="*/ 2189 h 10146"/>
                    <a:gd name="connsiteX24" fmla="*/ 790 w 10120"/>
                    <a:gd name="connsiteY24" fmla="*/ 3207 h 10146"/>
                    <a:gd name="connsiteX25" fmla="*/ 321 w 10120"/>
                    <a:gd name="connsiteY25" fmla="*/ 3835 h 10146"/>
                    <a:gd name="connsiteX26" fmla="*/ 67 w 10120"/>
                    <a:gd name="connsiteY26" fmla="*/ 4358 h 10146"/>
                    <a:gd name="connsiteX27" fmla="*/ 1565 w 10120"/>
                    <a:gd name="connsiteY27" fmla="*/ 4569 h 10146"/>
                    <a:gd name="connsiteX28" fmla="*/ 1901 w 10120"/>
                    <a:gd name="connsiteY28" fmla="*/ 4482 h 10146"/>
                    <a:gd name="connsiteX29" fmla="*/ 2132 w 10120"/>
                    <a:gd name="connsiteY29" fmla="*/ 4052 h 10146"/>
                    <a:gd name="connsiteX30" fmla="*/ 2761 w 10120"/>
                    <a:gd name="connsiteY30" fmla="*/ 3466 h 10146"/>
                    <a:gd name="connsiteX31" fmla="*/ 2971 w 10120"/>
                    <a:gd name="connsiteY31" fmla="*/ 4189 h 10146"/>
                    <a:gd name="connsiteX32" fmla="*/ 3286 w 10120"/>
                    <a:gd name="connsiteY32" fmla="*/ 4224 h 10146"/>
                    <a:gd name="connsiteX33" fmla="*/ 3034 w 10120"/>
                    <a:gd name="connsiteY33" fmla="*/ 4396 h 10146"/>
                    <a:gd name="connsiteX34" fmla="*/ 3160 w 10120"/>
                    <a:gd name="connsiteY34" fmla="*/ 4690 h 10146"/>
                    <a:gd name="connsiteX35" fmla="*/ 3201 w 10120"/>
                    <a:gd name="connsiteY35" fmla="*/ 4862 h 10146"/>
                    <a:gd name="connsiteX36" fmla="*/ 3480 w 10120"/>
                    <a:gd name="connsiteY36" fmla="*/ 4832 h 10146"/>
                    <a:gd name="connsiteX37" fmla="*/ 3621 w 10120"/>
                    <a:gd name="connsiteY37" fmla="*/ 5000 h 10146"/>
                    <a:gd name="connsiteX38" fmla="*/ 3244 w 10120"/>
                    <a:gd name="connsiteY38" fmla="*/ 5086 h 10146"/>
                    <a:gd name="connsiteX39" fmla="*/ 3349 w 10120"/>
                    <a:gd name="connsiteY39" fmla="*/ 5620 h 10146"/>
                    <a:gd name="connsiteX40" fmla="*/ 3411 w 10120"/>
                    <a:gd name="connsiteY40" fmla="*/ 6017 h 10146"/>
                    <a:gd name="connsiteX41" fmla="*/ 3370 w 10120"/>
                    <a:gd name="connsiteY41" fmla="*/ 6138 h 10146"/>
                    <a:gd name="connsiteX42" fmla="*/ 3663 w 10120"/>
                    <a:gd name="connsiteY42" fmla="*/ 6138 h 10146"/>
                    <a:gd name="connsiteX43" fmla="*/ 4272 w 10120"/>
                    <a:gd name="connsiteY43" fmla="*/ 6189 h 10146"/>
                    <a:gd name="connsiteX44" fmla="*/ 4775 w 10120"/>
                    <a:gd name="connsiteY44" fmla="*/ 6362 h 10146"/>
                    <a:gd name="connsiteX45" fmla="*/ 4901 w 10120"/>
                    <a:gd name="connsiteY45" fmla="*/ 6638 h 10146"/>
                    <a:gd name="connsiteX46" fmla="*/ 4439 w 10120"/>
                    <a:gd name="connsiteY46" fmla="*/ 6448 h 10146"/>
                    <a:gd name="connsiteX47" fmla="*/ 4103 w 10120"/>
                    <a:gd name="connsiteY47" fmla="*/ 6448 h 10146"/>
                    <a:gd name="connsiteX48" fmla="*/ 4355 w 10120"/>
                    <a:gd name="connsiteY48" fmla="*/ 6551 h 10146"/>
                    <a:gd name="connsiteX49" fmla="*/ 4963 w 10120"/>
                    <a:gd name="connsiteY49" fmla="*/ 7103 h 10146"/>
                    <a:gd name="connsiteX50" fmla="*/ 4628 w 10120"/>
                    <a:gd name="connsiteY50" fmla="*/ 7051 h 10146"/>
                    <a:gd name="connsiteX51" fmla="*/ 4125 w 10120"/>
                    <a:gd name="connsiteY51" fmla="*/ 6690 h 10146"/>
                    <a:gd name="connsiteX52" fmla="*/ 4062 w 10120"/>
                    <a:gd name="connsiteY52" fmla="*/ 6844 h 10146"/>
                    <a:gd name="connsiteX53" fmla="*/ 4606 w 10120"/>
                    <a:gd name="connsiteY53" fmla="*/ 7396 h 10146"/>
                    <a:gd name="connsiteX54" fmla="*/ 4250 w 10120"/>
                    <a:gd name="connsiteY54" fmla="*/ 7379 h 10146"/>
                    <a:gd name="connsiteX55" fmla="*/ 3663 w 10120"/>
                    <a:gd name="connsiteY55" fmla="*/ 6914 h 10146"/>
                    <a:gd name="connsiteX56" fmla="*/ 3684 w 10120"/>
                    <a:gd name="connsiteY56" fmla="*/ 7069 h 10146"/>
                    <a:gd name="connsiteX57" fmla="*/ 3915 w 10120"/>
                    <a:gd name="connsiteY57" fmla="*/ 7465 h 10146"/>
                    <a:gd name="connsiteX58" fmla="*/ 3537 w 10120"/>
                    <a:gd name="connsiteY58" fmla="*/ 7172 h 10146"/>
                    <a:gd name="connsiteX59" fmla="*/ 3201 w 10120"/>
                    <a:gd name="connsiteY59" fmla="*/ 6966 h 10146"/>
                    <a:gd name="connsiteX60" fmla="*/ 3118 w 10120"/>
                    <a:gd name="connsiteY60" fmla="*/ 7603 h 10146"/>
                    <a:gd name="connsiteX61" fmla="*/ 3247 w 10120"/>
                    <a:gd name="connsiteY61" fmla="*/ 9448 h 10146"/>
                    <a:gd name="connsiteX62" fmla="*/ 4702 w 10120"/>
                    <a:gd name="connsiteY62" fmla="*/ 9712 h 10146"/>
                    <a:gd name="connsiteX63" fmla="*/ 5425 w 10120"/>
                    <a:gd name="connsiteY63" fmla="*/ 8646 h 10146"/>
                    <a:gd name="connsiteX64" fmla="*/ 5984 w 10120"/>
                    <a:gd name="connsiteY64" fmla="*/ 9655 h 10146"/>
                    <a:gd name="connsiteX65" fmla="*/ 7447 w 10120"/>
                    <a:gd name="connsiteY65" fmla="*/ 10146 h 10146"/>
                    <a:gd name="connsiteX66" fmla="*/ 8445 w 10120"/>
                    <a:gd name="connsiteY66" fmla="*/ 9758 h 10146"/>
                    <a:gd name="connsiteX67" fmla="*/ 8424 w 10120"/>
                    <a:gd name="connsiteY67" fmla="*/ 10032 h 10146"/>
                    <a:gd name="connsiteX68" fmla="*/ 8696 w 10120"/>
                    <a:gd name="connsiteY68" fmla="*/ 8258 h 10146"/>
                    <a:gd name="connsiteX69" fmla="*/ 8738 w 10120"/>
                    <a:gd name="connsiteY69" fmla="*/ 6586 h 10146"/>
                    <a:gd name="connsiteX70" fmla="*/ 8717 w 10120"/>
                    <a:gd name="connsiteY70" fmla="*/ 6482 h 10146"/>
                    <a:gd name="connsiteX71" fmla="*/ 9116 w 10120"/>
                    <a:gd name="connsiteY71" fmla="*/ 6362 h 10146"/>
                    <a:gd name="connsiteX72" fmla="*/ 9661 w 10120"/>
                    <a:gd name="connsiteY72" fmla="*/ 5896 h 10146"/>
                    <a:gd name="connsiteX73" fmla="*/ 10102 w 10120"/>
                    <a:gd name="connsiteY73" fmla="*/ 5396 h 10146"/>
                    <a:gd name="connsiteX74" fmla="*/ 9955 w 10120"/>
                    <a:gd name="connsiteY74" fmla="*/ 3552 h 10146"/>
                    <a:gd name="connsiteX0" fmla="*/ 9955 w 10120"/>
                    <a:gd name="connsiteY0" fmla="*/ 3552 h 10169"/>
                    <a:gd name="connsiteX1" fmla="*/ 9786 w 10120"/>
                    <a:gd name="connsiteY1" fmla="*/ 1586 h 10169"/>
                    <a:gd name="connsiteX2" fmla="*/ 9262 w 10120"/>
                    <a:gd name="connsiteY2" fmla="*/ 1104 h 10169"/>
                    <a:gd name="connsiteX3" fmla="*/ 7627 w 10120"/>
                    <a:gd name="connsiteY3" fmla="*/ 379 h 10169"/>
                    <a:gd name="connsiteX4" fmla="*/ 7249 w 10120"/>
                    <a:gd name="connsiteY4" fmla="*/ 34 h 10169"/>
                    <a:gd name="connsiteX5" fmla="*/ 7270 w 10120"/>
                    <a:gd name="connsiteY5" fmla="*/ 207 h 10169"/>
                    <a:gd name="connsiteX6" fmla="*/ 7166 w 10120"/>
                    <a:gd name="connsiteY6" fmla="*/ 1017 h 10169"/>
                    <a:gd name="connsiteX7" fmla="*/ 7102 w 10120"/>
                    <a:gd name="connsiteY7" fmla="*/ 1207 h 10169"/>
                    <a:gd name="connsiteX8" fmla="*/ 7081 w 10120"/>
                    <a:gd name="connsiteY8" fmla="*/ 1224 h 10169"/>
                    <a:gd name="connsiteX9" fmla="*/ 6537 w 10120"/>
                    <a:gd name="connsiteY9" fmla="*/ 2396 h 10169"/>
                    <a:gd name="connsiteX10" fmla="*/ 6012 w 10120"/>
                    <a:gd name="connsiteY10" fmla="*/ 3327 h 10169"/>
                    <a:gd name="connsiteX11" fmla="*/ 5739 w 10120"/>
                    <a:gd name="connsiteY11" fmla="*/ 3759 h 10169"/>
                    <a:gd name="connsiteX12" fmla="*/ 5509 w 10120"/>
                    <a:gd name="connsiteY12" fmla="*/ 3276 h 10169"/>
                    <a:gd name="connsiteX13" fmla="*/ 5425 w 10120"/>
                    <a:gd name="connsiteY13" fmla="*/ 3104 h 10169"/>
                    <a:gd name="connsiteX14" fmla="*/ 5110 w 10120"/>
                    <a:gd name="connsiteY14" fmla="*/ 1879 h 10169"/>
                    <a:gd name="connsiteX15" fmla="*/ 5089 w 10120"/>
                    <a:gd name="connsiteY15" fmla="*/ 1035 h 10169"/>
                    <a:gd name="connsiteX16" fmla="*/ 5089 w 10120"/>
                    <a:gd name="connsiteY16" fmla="*/ 879 h 10169"/>
                    <a:gd name="connsiteX17" fmla="*/ 5215 w 10120"/>
                    <a:gd name="connsiteY17" fmla="*/ 0 h 10169"/>
                    <a:gd name="connsiteX18" fmla="*/ 5152 w 10120"/>
                    <a:gd name="connsiteY18" fmla="*/ 17 h 10169"/>
                    <a:gd name="connsiteX19" fmla="*/ 4187 w 10120"/>
                    <a:gd name="connsiteY19" fmla="*/ 259 h 10169"/>
                    <a:gd name="connsiteX20" fmla="*/ 2636 w 10120"/>
                    <a:gd name="connsiteY20" fmla="*/ 706 h 10169"/>
                    <a:gd name="connsiteX21" fmla="*/ 2279 w 10120"/>
                    <a:gd name="connsiteY21" fmla="*/ 1362 h 10169"/>
                    <a:gd name="connsiteX22" fmla="*/ 1964 w 10120"/>
                    <a:gd name="connsiteY22" fmla="*/ 1879 h 10169"/>
                    <a:gd name="connsiteX23" fmla="*/ 1650 w 10120"/>
                    <a:gd name="connsiteY23" fmla="*/ 2189 h 10169"/>
                    <a:gd name="connsiteX24" fmla="*/ 790 w 10120"/>
                    <a:gd name="connsiteY24" fmla="*/ 3207 h 10169"/>
                    <a:gd name="connsiteX25" fmla="*/ 321 w 10120"/>
                    <a:gd name="connsiteY25" fmla="*/ 3835 h 10169"/>
                    <a:gd name="connsiteX26" fmla="*/ 67 w 10120"/>
                    <a:gd name="connsiteY26" fmla="*/ 4358 h 10169"/>
                    <a:gd name="connsiteX27" fmla="*/ 1565 w 10120"/>
                    <a:gd name="connsiteY27" fmla="*/ 4569 h 10169"/>
                    <a:gd name="connsiteX28" fmla="*/ 1901 w 10120"/>
                    <a:gd name="connsiteY28" fmla="*/ 4482 h 10169"/>
                    <a:gd name="connsiteX29" fmla="*/ 2132 w 10120"/>
                    <a:gd name="connsiteY29" fmla="*/ 4052 h 10169"/>
                    <a:gd name="connsiteX30" fmla="*/ 2761 w 10120"/>
                    <a:gd name="connsiteY30" fmla="*/ 3466 h 10169"/>
                    <a:gd name="connsiteX31" fmla="*/ 2971 w 10120"/>
                    <a:gd name="connsiteY31" fmla="*/ 4189 h 10169"/>
                    <a:gd name="connsiteX32" fmla="*/ 3286 w 10120"/>
                    <a:gd name="connsiteY32" fmla="*/ 4224 h 10169"/>
                    <a:gd name="connsiteX33" fmla="*/ 3034 w 10120"/>
                    <a:gd name="connsiteY33" fmla="*/ 4396 h 10169"/>
                    <a:gd name="connsiteX34" fmla="*/ 3160 w 10120"/>
                    <a:gd name="connsiteY34" fmla="*/ 4690 h 10169"/>
                    <a:gd name="connsiteX35" fmla="*/ 3201 w 10120"/>
                    <a:gd name="connsiteY35" fmla="*/ 4862 h 10169"/>
                    <a:gd name="connsiteX36" fmla="*/ 3480 w 10120"/>
                    <a:gd name="connsiteY36" fmla="*/ 4832 h 10169"/>
                    <a:gd name="connsiteX37" fmla="*/ 3621 w 10120"/>
                    <a:gd name="connsiteY37" fmla="*/ 5000 h 10169"/>
                    <a:gd name="connsiteX38" fmla="*/ 3244 w 10120"/>
                    <a:gd name="connsiteY38" fmla="*/ 5086 h 10169"/>
                    <a:gd name="connsiteX39" fmla="*/ 3349 w 10120"/>
                    <a:gd name="connsiteY39" fmla="*/ 5620 h 10169"/>
                    <a:gd name="connsiteX40" fmla="*/ 3411 w 10120"/>
                    <a:gd name="connsiteY40" fmla="*/ 6017 h 10169"/>
                    <a:gd name="connsiteX41" fmla="*/ 3370 w 10120"/>
                    <a:gd name="connsiteY41" fmla="*/ 6138 h 10169"/>
                    <a:gd name="connsiteX42" fmla="*/ 3663 w 10120"/>
                    <a:gd name="connsiteY42" fmla="*/ 6138 h 10169"/>
                    <a:gd name="connsiteX43" fmla="*/ 4272 w 10120"/>
                    <a:gd name="connsiteY43" fmla="*/ 6189 h 10169"/>
                    <a:gd name="connsiteX44" fmla="*/ 4775 w 10120"/>
                    <a:gd name="connsiteY44" fmla="*/ 6362 h 10169"/>
                    <a:gd name="connsiteX45" fmla="*/ 4901 w 10120"/>
                    <a:gd name="connsiteY45" fmla="*/ 6638 h 10169"/>
                    <a:gd name="connsiteX46" fmla="*/ 4439 w 10120"/>
                    <a:gd name="connsiteY46" fmla="*/ 6448 h 10169"/>
                    <a:gd name="connsiteX47" fmla="*/ 4103 w 10120"/>
                    <a:gd name="connsiteY47" fmla="*/ 6448 h 10169"/>
                    <a:gd name="connsiteX48" fmla="*/ 4355 w 10120"/>
                    <a:gd name="connsiteY48" fmla="*/ 6551 h 10169"/>
                    <a:gd name="connsiteX49" fmla="*/ 4963 w 10120"/>
                    <a:gd name="connsiteY49" fmla="*/ 7103 h 10169"/>
                    <a:gd name="connsiteX50" fmla="*/ 4628 w 10120"/>
                    <a:gd name="connsiteY50" fmla="*/ 7051 h 10169"/>
                    <a:gd name="connsiteX51" fmla="*/ 4125 w 10120"/>
                    <a:gd name="connsiteY51" fmla="*/ 6690 h 10169"/>
                    <a:gd name="connsiteX52" fmla="*/ 4062 w 10120"/>
                    <a:gd name="connsiteY52" fmla="*/ 6844 h 10169"/>
                    <a:gd name="connsiteX53" fmla="*/ 4606 w 10120"/>
                    <a:gd name="connsiteY53" fmla="*/ 7396 h 10169"/>
                    <a:gd name="connsiteX54" fmla="*/ 4250 w 10120"/>
                    <a:gd name="connsiteY54" fmla="*/ 7379 h 10169"/>
                    <a:gd name="connsiteX55" fmla="*/ 3663 w 10120"/>
                    <a:gd name="connsiteY55" fmla="*/ 6914 h 10169"/>
                    <a:gd name="connsiteX56" fmla="*/ 3684 w 10120"/>
                    <a:gd name="connsiteY56" fmla="*/ 7069 h 10169"/>
                    <a:gd name="connsiteX57" fmla="*/ 3915 w 10120"/>
                    <a:gd name="connsiteY57" fmla="*/ 7465 h 10169"/>
                    <a:gd name="connsiteX58" fmla="*/ 3537 w 10120"/>
                    <a:gd name="connsiteY58" fmla="*/ 7172 h 10169"/>
                    <a:gd name="connsiteX59" fmla="*/ 3201 w 10120"/>
                    <a:gd name="connsiteY59" fmla="*/ 6966 h 10169"/>
                    <a:gd name="connsiteX60" fmla="*/ 3118 w 10120"/>
                    <a:gd name="connsiteY60" fmla="*/ 7603 h 10169"/>
                    <a:gd name="connsiteX61" fmla="*/ 3247 w 10120"/>
                    <a:gd name="connsiteY61" fmla="*/ 9448 h 10169"/>
                    <a:gd name="connsiteX62" fmla="*/ 4702 w 10120"/>
                    <a:gd name="connsiteY62" fmla="*/ 9712 h 10169"/>
                    <a:gd name="connsiteX63" fmla="*/ 5425 w 10120"/>
                    <a:gd name="connsiteY63" fmla="*/ 8646 h 10169"/>
                    <a:gd name="connsiteX64" fmla="*/ 5984 w 10120"/>
                    <a:gd name="connsiteY64" fmla="*/ 9655 h 10169"/>
                    <a:gd name="connsiteX65" fmla="*/ 7447 w 10120"/>
                    <a:gd name="connsiteY65" fmla="*/ 10146 h 10169"/>
                    <a:gd name="connsiteX66" fmla="*/ 8113 w 10120"/>
                    <a:gd name="connsiteY66" fmla="*/ 10085 h 10169"/>
                    <a:gd name="connsiteX67" fmla="*/ 8424 w 10120"/>
                    <a:gd name="connsiteY67" fmla="*/ 10032 h 10169"/>
                    <a:gd name="connsiteX68" fmla="*/ 8696 w 10120"/>
                    <a:gd name="connsiteY68" fmla="*/ 8258 h 10169"/>
                    <a:gd name="connsiteX69" fmla="*/ 8738 w 10120"/>
                    <a:gd name="connsiteY69" fmla="*/ 6586 h 10169"/>
                    <a:gd name="connsiteX70" fmla="*/ 8717 w 10120"/>
                    <a:gd name="connsiteY70" fmla="*/ 6482 h 10169"/>
                    <a:gd name="connsiteX71" fmla="*/ 9116 w 10120"/>
                    <a:gd name="connsiteY71" fmla="*/ 6362 h 10169"/>
                    <a:gd name="connsiteX72" fmla="*/ 9661 w 10120"/>
                    <a:gd name="connsiteY72" fmla="*/ 5896 h 10169"/>
                    <a:gd name="connsiteX73" fmla="*/ 10102 w 10120"/>
                    <a:gd name="connsiteY73" fmla="*/ 5396 h 10169"/>
                    <a:gd name="connsiteX74" fmla="*/ 9955 w 10120"/>
                    <a:gd name="connsiteY74" fmla="*/ 3552 h 10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10120" h="10169">
                      <a:moveTo>
                        <a:pt x="9955" y="3552"/>
                      </a:moveTo>
                      <a:cubicBezTo>
                        <a:pt x="9786" y="3017"/>
                        <a:pt x="9850" y="1741"/>
                        <a:pt x="9786" y="1586"/>
                      </a:cubicBezTo>
                      <a:cubicBezTo>
                        <a:pt x="9724" y="1431"/>
                        <a:pt x="9829" y="1345"/>
                        <a:pt x="9262" y="1104"/>
                      </a:cubicBezTo>
                      <a:cubicBezTo>
                        <a:pt x="8696" y="862"/>
                        <a:pt x="7795" y="603"/>
                        <a:pt x="7627" y="379"/>
                      </a:cubicBezTo>
                      <a:cubicBezTo>
                        <a:pt x="7459" y="156"/>
                        <a:pt x="7249" y="34"/>
                        <a:pt x="7249" y="34"/>
                      </a:cubicBezTo>
                      <a:cubicBezTo>
                        <a:pt x="7249" y="34"/>
                        <a:pt x="7270" y="86"/>
                        <a:pt x="7270" y="207"/>
                      </a:cubicBezTo>
                      <a:cubicBezTo>
                        <a:pt x="7249" y="449"/>
                        <a:pt x="7207" y="862"/>
                        <a:pt x="7166" y="1017"/>
                      </a:cubicBezTo>
                      <a:cubicBezTo>
                        <a:pt x="7144" y="1069"/>
                        <a:pt x="7123" y="1121"/>
                        <a:pt x="7102" y="1207"/>
                      </a:cubicBezTo>
                      <a:cubicBezTo>
                        <a:pt x="7081" y="1207"/>
                        <a:pt x="7081" y="1207"/>
                        <a:pt x="7081" y="1224"/>
                      </a:cubicBezTo>
                      <a:cubicBezTo>
                        <a:pt x="6997" y="1483"/>
                        <a:pt x="6788" y="1914"/>
                        <a:pt x="6537" y="2396"/>
                      </a:cubicBezTo>
                      <a:cubicBezTo>
                        <a:pt x="6390" y="2707"/>
                        <a:pt x="6201" y="3017"/>
                        <a:pt x="6012" y="3327"/>
                      </a:cubicBezTo>
                      <a:lnTo>
                        <a:pt x="5739" y="3759"/>
                      </a:lnTo>
                      <a:cubicBezTo>
                        <a:pt x="5739" y="3759"/>
                        <a:pt x="5676" y="3620"/>
                        <a:pt x="5509" y="3276"/>
                      </a:cubicBezTo>
                      <a:cubicBezTo>
                        <a:pt x="5466" y="3224"/>
                        <a:pt x="5445" y="3173"/>
                        <a:pt x="5425" y="3104"/>
                      </a:cubicBezTo>
                      <a:cubicBezTo>
                        <a:pt x="5278" y="2811"/>
                        <a:pt x="5132" y="2448"/>
                        <a:pt x="5110" y="1879"/>
                      </a:cubicBezTo>
                      <a:cubicBezTo>
                        <a:pt x="5089" y="1621"/>
                        <a:pt x="5089" y="1310"/>
                        <a:pt x="5089" y="1035"/>
                      </a:cubicBezTo>
                      <a:lnTo>
                        <a:pt x="5089" y="879"/>
                      </a:lnTo>
                      <a:cubicBezTo>
                        <a:pt x="5110" y="500"/>
                        <a:pt x="5152" y="156"/>
                        <a:pt x="5215" y="0"/>
                      </a:cubicBezTo>
                      <a:cubicBezTo>
                        <a:pt x="5215" y="0"/>
                        <a:pt x="5194" y="17"/>
                        <a:pt x="5152" y="17"/>
                      </a:cubicBezTo>
                      <a:cubicBezTo>
                        <a:pt x="5006" y="69"/>
                        <a:pt x="4523" y="207"/>
                        <a:pt x="4187" y="259"/>
                      </a:cubicBezTo>
                      <a:cubicBezTo>
                        <a:pt x="3768" y="327"/>
                        <a:pt x="2677" y="621"/>
                        <a:pt x="2636" y="706"/>
                      </a:cubicBezTo>
                      <a:cubicBezTo>
                        <a:pt x="2594" y="793"/>
                        <a:pt x="2342" y="1052"/>
                        <a:pt x="2279" y="1362"/>
                      </a:cubicBezTo>
                      <a:cubicBezTo>
                        <a:pt x="2279" y="1362"/>
                        <a:pt x="2028" y="1569"/>
                        <a:pt x="1964" y="1879"/>
                      </a:cubicBezTo>
                      <a:cubicBezTo>
                        <a:pt x="1964" y="1879"/>
                        <a:pt x="1901" y="1966"/>
                        <a:pt x="1650" y="2189"/>
                      </a:cubicBezTo>
                      <a:cubicBezTo>
                        <a:pt x="1398" y="2413"/>
                        <a:pt x="936" y="3034"/>
                        <a:pt x="790" y="3207"/>
                      </a:cubicBezTo>
                      <a:cubicBezTo>
                        <a:pt x="706" y="3310"/>
                        <a:pt x="572" y="3559"/>
                        <a:pt x="321" y="3835"/>
                      </a:cubicBezTo>
                      <a:cubicBezTo>
                        <a:pt x="283" y="4094"/>
                        <a:pt x="-167" y="4304"/>
                        <a:pt x="67" y="4358"/>
                      </a:cubicBezTo>
                      <a:cubicBezTo>
                        <a:pt x="407" y="4436"/>
                        <a:pt x="1013" y="4477"/>
                        <a:pt x="1565" y="4569"/>
                      </a:cubicBezTo>
                      <a:cubicBezTo>
                        <a:pt x="1671" y="4551"/>
                        <a:pt x="1797" y="4517"/>
                        <a:pt x="1901" y="4482"/>
                      </a:cubicBezTo>
                      <a:cubicBezTo>
                        <a:pt x="1922" y="4362"/>
                        <a:pt x="1985" y="4224"/>
                        <a:pt x="2132" y="4052"/>
                      </a:cubicBezTo>
                      <a:cubicBezTo>
                        <a:pt x="2657" y="3448"/>
                        <a:pt x="2761" y="3466"/>
                        <a:pt x="2761" y="3466"/>
                      </a:cubicBezTo>
                      <a:cubicBezTo>
                        <a:pt x="2761" y="3466"/>
                        <a:pt x="2867" y="3845"/>
                        <a:pt x="2971" y="4189"/>
                      </a:cubicBezTo>
                      <a:cubicBezTo>
                        <a:pt x="3265" y="4086"/>
                        <a:pt x="3286" y="4189"/>
                        <a:pt x="3286" y="4224"/>
                      </a:cubicBezTo>
                      <a:cubicBezTo>
                        <a:pt x="3286" y="4258"/>
                        <a:pt x="3244" y="4311"/>
                        <a:pt x="3034" y="4396"/>
                      </a:cubicBezTo>
                      <a:cubicBezTo>
                        <a:pt x="3097" y="4534"/>
                        <a:pt x="3118" y="4655"/>
                        <a:pt x="3160" y="4690"/>
                      </a:cubicBezTo>
                      <a:cubicBezTo>
                        <a:pt x="3160" y="4741"/>
                        <a:pt x="3180" y="4793"/>
                        <a:pt x="3201" y="4862"/>
                      </a:cubicBezTo>
                      <a:cubicBezTo>
                        <a:pt x="3265" y="4844"/>
                        <a:pt x="3375" y="4849"/>
                        <a:pt x="3480" y="4832"/>
                      </a:cubicBezTo>
                      <a:cubicBezTo>
                        <a:pt x="3962" y="4712"/>
                        <a:pt x="3852" y="4880"/>
                        <a:pt x="3621" y="5000"/>
                      </a:cubicBezTo>
                      <a:cubicBezTo>
                        <a:pt x="3517" y="5051"/>
                        <a:pt x="3370" y="5069"/>
                        <a:pt x="3244" y="5086"/>
                      </a:cubicBezTo>
                      <a:cubicBezTo>
                        <a:pt x="3265" y="5293"/>
                        <a:pt x="3286" y="5517"/>
                        <a:pt x="3349" y="5620"/>
                      </a:cubicBezTo>
                      <a:cubicBezTo>
                        <a:pt x="3432" y="5810"/>
                        <a:pt x="3411" y="6017"/>
                        <a:pt x="3411" y="6017"/>
                      </a:cubicBezTo>
                      <a:cubicBezTo>
                        <a:pt x="3411" y="6017"/>
                        <a:pt x="3390" y="6069"/>
                        <a:pt x="3370" y="6138"/>
                      </a:cubicBezTo>
                      <a:cubicBezTo>
                        <a:pt x="3517" y="6138"/>
                        <a:pt x="3643" y="6155"/>
                        <a:pt x="3663" y="6138"/>
                      </a:cubicBezTo>
                      <a:cubicBezTo>
                        <a:pt x="3663" y="6138"/>
                        <a:pt x="4146" y="6207"/>
                        <a:pt x="4272" y="6189"/>
                      </a:cubicBezTo>
                      <a:cubicBezTo>
                        <a:pt x="4376" y="6172"/>
                        <a:pt x="4565" y="6258"/>
                        <a:pt x="4775" y="6362"/>
                      </a:cubicBezTo>
                      <a:cubicBezTo>
                        <a:pt x="4984" y="6465"/>
                        <a:pt x="5194" y="6655"/>
                        <a:pt x="4901" y="6638"/>
                      </a:cubicBezTo>
                      <a:lnTo>
                        <a:pt x="4439" y="6448"/>
                      </a:lnTo>
                      <a:cubicBezTo>
                        <a:pt x="4355" y="6414"/>
                        <a:pt x="4103" y="6414"/>
                        <a:pt x="4103" y="6448"/>
                      </a:cubicBezTo>
                      <a:cubicBezTo>
                        <a:pt x="4083" y="6482"/>
                        <a:pt x="4272" y="6500"/>
                        <a:pt x="4355" y="6551"/>
                      </a:cubicBezTo>
                      <a:cubicBezTo>
                        <a:pt x="4439" y="6621"/>
                        <a:pt x="4963" y="7017"/>
                        <a:pt x="4963" y="7103"/>
                      </a:cubicBezTo>
                      <a:cubicBezTo>
                        <a:pt x="4963" y="7172"/>
                        <a:pt x="4837" y="7276"/>
                        <a:pt x="4628" y="7051"/>
                      </a:cubicBezTo>
                      <a:cubicBezTo>
                        <a:pt x="4418" y="6827"/>
                        <a:pt x="4125" y="6690"/>
                        <a:pt x="4125" y="6690"/>
                      </a:cubicBezTo>
                      <a:cubicBezTo>
                        <a:pt x="4125" y="6690"/>
                        <a:pt x="3768" y="6621"/>
                        <a:pt x="4062" y="6844"/>
                      </a:cubicBezTo>
                      <a:cubicBezTo>
                        <a:pt x="4062" y="6844"/>
                        <a:pt x="4606" y="7362"/>
                        <a:pt x="4606" y="7396"/>
                      </a:cubicBezTo>
                      <a:cubicBezTo>
                        <a:pt x="4606" y="7430"/>
                        <a:pt x="4523" y="7586"/>
                        <a:pt x="4250" y="7379"/>
                      </a:cubicBezTo>
                      <a:cubicBezTo>
                        <a:pt x="3977" y="7172"/>
                        <a:pt x="3809" y="6966"/>
                        <a:pt x="3663" y="6914"/>
                      </a:cubicBezTo>
                      <a:cubicBezTo>
                        <a:pt x="3517" y="6861"/>
                        <a:pt x="3517" y="6931"/>
                        <a:pt x="3684" y="7069"/>
                      </a:cubicBezTo>
                      <a:cubicBezTo>
                        <a:pt x="3852" y="7207"/>
                        <a:pt x="3999" y="7413"/>
                        <a:pt x="3915" y="7465"/>
                      </a:cubicBezTo>
                      <a:cubicBezTo>
                        <a:pt x="3915" y="7465"/>
                        <a:pt x="3747" y="7396"/>
                        <a:pt x="3537" y="7172"/>
                      </a:cubicBezTo>
                      <a:cubicBezTo>
                        <a:pt x="3432" y="7051"/>
                        <a:pt x="3307" y="7000"/>
                        <a:pt x="3201" y="6966"/>
                      </a:cubicBezTo>
                      <a:cubicBezTo>
                        <a:pt x="3139" y="7241"/>
                        <a:pt x="3110" y="7189"/>
                        <a:pt x="3118" y="7603"/>
                      </a:cubicBezTo>
                      <a:cubicBezTo>
                        <a:pt x="3126" y="8017"/>
                        <a:pt x="2912" y="8793"/>
                        <a:pt x="3247" y="9448"/>
                      </a:cubicBezTo>
                      <a:cubicBezTo>
                        <a:pt x="3688" y="9862"/>
                        <a:pt x="4339" y="9846"/>
                        <a:pt x="4702" y="9712"/>
                      </a:cubicBezTo>
                      <a:cubicBezTo>
                        <a:pt x="5065" y="9578"/>
                        <a:pt x="5211" y="8655"/>
                        <a:pt x="5425" y="8646"/>
                      </a:cubicBezTo>
                      <a:cubicBezTo>
                        <a:pt x="5639" y="8637"/>
                        <a:pt x="5647" y="9405"/>
                        <a:pt x="5984" y="9655"/>
                      </a:cubicBezTo>
                      <a:cubicBezTo>
                        <a:pt x="6321" y="9905"/>
                        <a:pt x="7092" y="10074"/>
                        <a:pt x="7447" y="10146"/>
                      </a:cubicBezTo>
                      <a:cubicBezTo>
                        <a:pt x="7802" y="10218"/>
                        <a:pt x="7950" y="10104"/>
                        <a:pt x="8113" y="10085"/>
                      </a:cubicBezTo>
                      <a:cubicBezTo>
                        <a:pt x="8276" y="10066"/>
                        <a:pt x="8424" y="9980"/>
                        <a:pt x="8424" y="10032"/>
                      </a:cubicBezTo>
                      <a:cubicBezTo>
                        <a:pt x="8550" y="9704"/>
                        <a:pt x="8644" y="8832"/>
                        <a:pt x="8696" y="8258"/>
                      </a:cubicBezTo>
                      <a:cubicBezTo>
                        <a:pt x="8748" y="7684"/>
                        <a:pt x="8759" y="6690"/>
                        <a:pt x="8738" y="6586"/>
                      </a:cubicBezTo>
                      <a:cubicBezTo>
                        <a:pt x="8731" y="6551"/>
                        <a:pt x="8724" y="6517"/>
                        <a:pt x="8717" y="6482"/>
                      </a:cubicBezTo>
                      <a:cubicBezTo>
                        <a:pt x="8717" y="6482"/>
                        <a:pt x="8969" y="6414"/>
                        <a:pt x="9116" y="6362"/>
                      </a:cubicBezTo>
                      <a:cubicBezTo>
                        <a:pt x="9262" y="6310"/>
                        <a:pt x="9493" y="6121"/>
                        <a:pt x="9661" y="5896"/>
                      </a:cubicBezTo>
                      <a:cubicBezTo>
                        <a:pt x="9829" y="5672"/>
                        <a:pt x="10060" y="5534"/>
                        <a:pt x="10102" y="5396"/>
                      </a:cubicBezTo>
                      <a:cubicBezTo>
                        <a:pt x="10143" y="5259"/>
                        <a:pt x="10122" y="4086"/>
                        <a:pt x="9955" y="3552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32">
                  <a:extLst>
                    <a:ext uri="{FF2B5EF4-FFF2-40B4-BE49-F238E27FC236}">
                      <a16:creationId xmlns:a16="http://schemas.microsoft.com/office/drawing/2014/main" id="{89F97F10-6979-40E9-B413-534DFE08C5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29220" y="3174213"/>
                  <a:ext cx="225403" cy="223493"/>
                </a:xfrm>
                <a:custGeom>
                  <a:avLst/>
                  <a:gdLst>
                    <a:gd name="T0" fmla="*/ 98 w 100"/>
                    <a:gd name="T1" fmla="*/ 35 h 99"/>
                    <a:gd name="T2" fmla="*/ 87 w 100"/>
                    <a:gd name="T3" fmla="*/ 22 h 99"/>
                    <a:gd name="T4" fmla="*/ 64 w 100"/>
                    <a:gd name="T5" fmla="*/ 0 h 99"/>
                    <a:gd name="T6" fmla="*/ 51 w 100"/>
                    <a:gd name="T7" fmla="*/ 5 h 99"/>
                    <a:gd name="T8" fmla="*/ 42 w 100"/>
                    <a:gd name="T9" fmla="*/ 12 h 99"/>
                    <a:gd name="T10" fmla="*/ 32 w 100"/>
                    <a:gd name="T11" fmla="*/ 11 h 99"/>
                    <a:gd name="T12" fmla="*/ 34 w 100"/>
                    <a:gd name="T13" fmla="*/ 13 h 99"/>
                    <a:gd name="T14" fmla="*/ 0 w 100"/>
                    <a:gd name="T15" fmla="*/ 33 h 99"/>
                    <a:gd name="T16" fmla="*/ 0 w 100"/>
                    <a:gd name="T17" fmla="*/ 33 h 99"/>
                    <a:gd name="T18" fmla="*/ 26 w 100"/>
                    <a:gd name="T19" fmla="*/ 69 h 99"/>
                    <a:gd name="T20" fmla="*/ 60 w 100"/>
                    <a:gd name="T21" fmla="*/ 83 h 99"/>
                    <a:gd name="T22" fmla="*/ 66 w 100"/>
                    <a:gd name="T23" fmla="*/ 76 h 99"/>
                    <a:gd name="T24" fmla="*/ 66 w 100"/>
                    <a:gd name="T25" fmla="*/ 75 h 99"/>
                    <a:gd name="T26" fmla="*/ 71 w 100"/>
                    <a:gd name="T27" fmla="*/ 54 h 99"/>
                    <a:gd name="T28" fmla="*/ 100 w 100"/>
                    <a:gd name="T29" fmla="*/ 38 h 99"/>
                    <a:gd name="T30" fmla="*/ 98 w 100"/>
                    <a:gd name="T31" fmla="*/ 35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00" h="99">
                      <a:moveTo>
                        <a:pt x="98" y="35"/>
                      </a:moveTo>
                      <a:cubicBezTo>
                        <a:pt x="96" y="32"/>
                        <a:pt x="93" y="28"/>
                        <a:pt x="87" y="22"/>
                      </a:cubicBezTo>
                      <a:cubicBezTo>
                        <a:pt x="80" y="17"/>
                        <a:pt x="72" y="9"/>
                        <a:pt x="64" y="0"/>
                      </a:cubicBezTo>
                      <a:cubicBezTo>
                        <a:pt x="57" y="6"/>
                        <a:pt x="53" y="0"/>
                        <a:pt x="51" y="5"/>
                      </a:cubicBezTo>
                      <a:cubicBezTo>
                        <a:pt x="48" y="9"/>
                        <a:pt x="42" y="12"/>
                        <a:pt x="42" y="12"/>
                      </a:cubicBezTo>
                      <a:cubicBezTo>
                        <a:pt x="39" y="12"/>
                        <a:pt x="36" y="11"/>
                        <a:pt x="32" y="11"/>
                      </a:cubicBezTo>
                      <a:cubicBezTo>
                        <a:pt x="33" y="12"/>
                        <a:pt x="34" y="13"/>
                        <a:pt x="34" y="13"/>
                      </a:cubicBezTo>
                      <a:cubicBezTo>
                        <a:pt x="34" y="13"/>
                        <a:pt x="18" y="36"/>
                        <a:pt x="0" y="33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13" y="51"/>
                        <a:pt x="23" y="65"/>
                        <a:pt x="26" y="69"/>
                      </a:cubicBezTo>
                      <a:cubicBezTo>
                        <a:pt x="33" y="81"/>
                        <a:pt x="44" y="99"/>
                        <a:pt x="60" y="83"/>
                      </a:cubicBezTo>
                      <a:cubicBezTo>
                        <a:pt x="60" y="83"/>
                        <a:pt x="69" y="80"/>
                        <a:pt x="66" y="76"/>
                      </a:cubicBezTo>
                      <a:cubicBezTo>
                        <a:pt x="66" y="76"/>
                        <a:pt x="66" y="75"/>
                        <a:pt x="66" y="75"/>
                      </a:cubicBezTo>
                      <a:cubicBezTo>
                        <a:pt x="62" y="71"/>
                        <a:pt x="59" y="63"/>
                        <a:pt x="71" y="54"/>
                      </a:cubicBezTo>
                      <a:cubicBezTo>
                        <a:pt x="83" y="45"/>
                        <a:pt x="100" y="38"/>
                        <a:pt x="100" y="38"/>
                      </a:cubicBezTo>
                      <a:cubicBezTo>
                        <a:pt x="100" y="38"/>
                        <a:pt x="99" y="37"/>
                        <a:pt x="98" y="35"/>
                      </a:cubicBezTo>
                      <a:close/>
                    </a:path>
                  </a:pathLst>
                </a:custGeom>
                <a:solidFill>
                  <a:srgbClr val="2A343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8562670F-694F-4312-9BBE-B7C3C9302C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1978" y="3253487"/>
                  <a:ext cx="295125" cy="190064"/>
                </a:xfrm>
                <a:custGeom>
                  <a:avLst/>
                  <a:gdLst>
                    <a:gd name="T0" fmla="*/ 95 w 131"/>
                    <a:gd name="T1" fmla="*/ 18 h 84"/>
                    <a:gd name="T2" fmla="*/ 117 w 131"/>
                    <a:gd name="T3" fmla="*/ 29 h 84"/>
                    <a:gd name="T4" fmla="*/ 111 w 131"/>
                    <a:gd name="T5" fmla="*/ 13 h 84"/>
                    <a:gd name="T6" fmla="*/ 87 w 131"/>
                    <a:gd name="T7" fmla="*/ 3 h 84"/>
                    <a:gd name="T8" fmla="*/ 58 w 131"/>
                    <a:gd name="T9" fmla="*/ 0 h 84"/>
                    <a:gd name="T10" fmla="*/ 44 w 131"/>
                    <a:gd name="T11" fmla="*/ 0 h 84"/>
                    <a:gd name="T12" fmla="*/ 39 w 131"/>
                    <a:gd name="T13" fmla="*/ 0 h 84"/>
                    <a:gd name="T14" fmla="*/ 41 w 131"/>
                    <a:gd name="T15" fmla="*/ 3 h 84"/>
                    <a:gd name="T16" fmla="*/ 12 w 131"/>
                    <a:gd name="T17" fmla="*/ 19 h 84"/>
                    <a:gd name="T18" fmla="*/ 7 w 131"/>
                    <a:gd name="T19" fmla="*/ 40 h 84"/>
                    <a:gd name="T20" fmla="*/ 7 w 131"/>
                    <a:gd name="T21" fmla="*/ 41 h 84"/>
                    <a:gd name="T22" fmla="*/ 21 w 131"/>
                    <a:gd name="T23" fmla="*/ 44 h 84"/>
                    <a:gd name="T24" fmla="*/ 36 w 131"/>
                    <a:gd name="T25" fmla="*/ 48 h 84"/>
                    <a:gd name="T26" fmla="*/ 52 w 131"/>
                    <a:gd name="T27" fmla="*/ 60 h 84"/>
                    <a:gd name="T28" fmla="*/ 70 w 131"/>
                    <a:gd name="T29" fmla="*/ 77 h 84"/>
                    <a:gd name="T30" fmla="*/ 59 w 131"/>
                    <a:gd name="T31" fmla="*/ 54 h 84"/>
                    <a:gd name="T32" fmla="*/ 58 w 131"/>
                    <a:gd name="T33" fmla="*/ 45 h 84"/>
                    <a:gd name="T34" fmla="*/ 86 w 131"/>
                    <a:gd name="T35" fmla="*/ 72 h 84"/>
                    <a:gd name="T36" fmla="*/ 103 w 131"/>
                    <a:gd name="T37" fmla="*/ 73 h 84"/>
                    <a:gd name="T38" fmla="*/ 77 w 131"/>
                    <a:gd name="T39" fmla="*/ 41 h 84"/>
                    <a:gd name="T40" fmla="*/ 80 w 131"/>
                    <a:gd name="T41" fmla="*/ 32 h 84"/>
                    <a:gd name="T42" fmla="*/ 104 w 131"/>
                    <a:gd name="T43" fmla="*/ 53 h 84"/>
                    <a:gd name="T44" fmla="*/ 120 w 131"/>
                    <a:gd name="T45" fmla="*/ 56 h 84"/>
                    <a:gd name="T46" fmla="*/ 91 w 131"/>
                    <a:gd name="T47" fmla="*/ 24 h 84"/>
                    <a:gd name="T48" fmla="*/ 79 w 131"/>
                    <a:gd name="T49" fmla="*/ 18 h 84"/>
                    <a:gd name="T50" fmla="*/ 95 w 131"/>
                    <a:gd name="T51" fmla="*/ 1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1" h="84">
                      <a:moveTo>
                        <a:pt x="95" y="18"/>
                      </a:moveTo>
                      <a:cubicBezTo>
                        <a:pt x="99" y="20"/>
                        <a:pt x="117" y="29"/>
                        <a:pt x="117" y="29"/>
                      </a:cubicBezTo>
                      <a:cubicBezTo>
                        <a:pt x="131" y="30"/>
                        <a:pt x="121" y="19"/>
                        <a:pt x="111" y="13"/>
                      </a:cubicBezTo>
                      <a:cubicBezTo>
                        <a:pt x="101" y="7"/>
                        <a:pt x="92" y="2"/>
                        <a:pt x="87" y="3"/>
                      </a:cubicBezTo>
                      <a:cubicBezTo>
                        <a:pt x="81" y="4"/>
                        <a:pt x="58" y="0"/>
                        <a:pt x="58" y="0"/>
                      </a:cubicBezTo>
                      <a:cubicBezTo>
                        <a:pt x="57" y="1"/>
                        <a:pt x="51" y="0"/>
                        <a:pt x="44" y="0"/>
                      </a:cubicBezTo>
                      <a:cubicBezTo>
                        <a:pt x="42" y="0"/>
                        <a:pt x="41" y="0"/>
                        <a:pt x="39" y="0"/>
                      </a:cubicBezTo>
                      <a:cubicBezTo>
                        <a:pt x="40" y="2"/>
                        <a:pt x="41" y="3"/>
                        <a:pt x="41" y="3"/>
                      </a:cubicBezTo>
                      <a:cubicBezTo>
                        <a:pt x="41" y="3"/>
                        <a:pt x="24" y="10"/>
                        <a:pt x="12" y="19"/>
                      </a:cubicBezTo>
                      <a:cubicBezTo>
                        <a:pt x="0" y="28"/>
                        <a:pt x="3" y="36"/>
                        <a:pt x="7" y="40"/>
                      </a:cubicBezTo>
                      <a:cubicBezTo>
                        <a:pt x="7" y="40"/>
                        <a:pt x="7" y="41"/>
                        <a:pt x="7" y="41"/>
                      </a:cubicBezTo>
                      <a:cubicBezTo>
                        <a:pt x="13" y="43"/>
                        <a:pt x="18" y="44"/>
                        <a:pt x="21" y="44"/>
                      </a:cubicBezTo>
                      <a:cubicBezTo>
                        <a:pt x="23" y="45"/>
                        <a:pt x="29" y="45"/>
                        <a:pt x="36" y="48"/>
                      </a:cubicBezTo>
                      <a:cubicBezTo>
                        <a:pt x="41" y="50"/>
                        <a:pt x="47" y="53"/>
                        <a:pt x="52" y="60"/>
                      </a:cubicBezTo>
                      <a:cubicBezTo>
                        <a:pt x="62" y="73"/>
                        <a:pt x="70" y="77"/>
                        <a:pt x="70" y="77"/>
                      </a:cubicBezTo>
                      <a:cubicBezTo>
                        <a:pt x="74" y="74"/>
                        <a:pt x="67" y="62"/>
                        <a:pt x="59" y="54"/>
                      </a:cubicBezTo>
                      <a:cubicBezTo>
                        <a:pt x="51" y="46"/>
                        <a:pt x="51" y="42"/>
                        <a:pt x="58" y="45"/>
                      </a:cubicBezTo>
                      <a:cubicBezTo>
                        <a:pt x="65" y="48"/>
                        <a:pt x="73" y="60"/>
                        <a:pt x="86" y="72"/>
                      </a:cubicBezTo>
                      <a:cubicBezTo>
                        <a:pt x="99" y="84"/>
                        <a:pt x="103" y="75"/>
                        <a:pt x="103" y="73"/>
                      </a:cubicBezTo>
                      <a:cubicBezTo>
                        <a:pt x="103" y="71"/>
                        <a:pt x="77" y="41"/>
                        <a:pt x="77" y="41"/>
                      </a:cubicBezTo>
                      <a:cubicBezTo>
                        <a:pt x="63" y="28"/>
                        <a:pt x="80" y="32"/>
                        <a:pt x="80" y="32"/>
                      </a:cubicBezTo>
                      <a:cubicBezTo>
                        <a:pt x="80" y="32"/>
                        <a:pt x="94" y="40"/>
                        <a:pt x="104" y="53"/>
                      </a:cubicBezTo>
                      <a:cubicBezTo>
                        <a:pt x="114" y="66"/>
                        <a:pt x="120" y="60"/>
                        <a:pt x="120" y="56"/>
                      </a:cubicBezTo>
                      <a:cubicBezTo>
                        <a:pt x="120" y="51"/>
                        <a:pt x="95" y="28"/>
                        <a:pt x="91" y="24"/>
                      </a:cubicBezTo>
                      <a:cubicBezTo>
                        <a:pt x="87" y="21"/>
                        <a:pt x="78" y="20"/>
                        <a:pt x="79" y="18"/>
                      </a:cubicBezTo>
                      <a:cubicBezTo>
                        <a:pt x="79" y="16"/>
                        <a:pt x="91" y="16"/>
                        <a:pt x="95" y="18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35">
                  <a:extLst>
                    <a:ext uri="{FF2B5EF4-FFF2-40B4-BE49-F238E27FC236}">
                      <a16:creationId xmlns:a16="http://schemas.microsoft.com/office/drawing/2014/main" id="{6BC12DDD-6FDA-4E34-BB4F-3948975E7D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53283" y="3192360"/>
                  <a:ext cx="212031" cy="191975"/>
                </a:xfrm>
                <a:custGeom>
                  <a:avLst/>
                  <a:gdLst>
                    <a:gd name="T0" fmla="*/ 76 w 94"/>
                    <a:gd name="T1" fmla="*/ 0 h 85"/>
                    <a:gd name="T2" fmla="*/ 71 w 94"/>
                    <a:gd name="T3" fmla="*/ 0 h 85"/>
                    <a:gd name="T4" fmla="*/ 40 w 94"/>
                    <a:gd name="T5" fmla="*/ 5 h 85"/>
                    <a:gd name="T6" fmla="*/ 14 w 94"/>
                    <a:gd name="T7" fmla="*/ 20 h 85"/>
                    <a:gd name="T8" fmla="*/ 2 w 94"/>
                    <a:gd name="T9" fmla="*/ 35 h 85"/>
                    <a:gd name="T10" fmla="*/ 11 w 94"/>
                    <a:gd name="T11" fmla="*/ 45 h 85"/>
                    <a:gd name="T12" fmla="*/ 14 w 94"/>
                    <a:gd name="T13" fmla="*/ 59 h 85"/>
                    <a:gd name="T14" fmla="*/ 24 w 94"/>
                    <a:gd name="T15" fmla="*/ 70 h 85"/>
                    <a:gd name="T16" fmla="*/ 32 w 94"/>
                    <a:gd name="T17" fmla="*/ 79 h 85"/>
                    <a:gd name="T18" fmla="*/ 40 w 94"/>
                    <a:gd name="T19" fmla="*/ 85 h 85"/>
                    <a:gd name="T20" fmla="*/ 74 w 94"/>
                    <a:gd name="T21" fmla="*/ 65 h 85"/>
                    <a:gd name="T22" fmla="*/ 78 w 94"/>
                    <a:gd name="T23" fmla="*/ 61 h 85"/>
                    <a:gd name="T24" fmla="*/ 91 w 94"/>
                    <a:gd name="T25" fmla="*/ 43 h 85"/>
                    <a:gd name="T26" fmla="*/ 76 w 94"/>
                    <a:gd name="T27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4" h="85">
                      <a:moveTo>
                        <a:pt x="76" y="0"/>
                      </a:moveTo>
                      <a:cubicBezTo>
                        <a:pt x="75" y="0"/>
                        <a:pt x="73" y="0"/>
                        <a:pt x="71" y="0"/>
                      </a:cubicBezTo>
                      <a:cubicBezTo>
                        <a:pt x="60" y="0"/>
                        <a:pt x="45" y="3"/>
                        <a:pt x="40" y="5"/>
                      </a:cubicBezTo>
                      <a:cubicBezTo>
                        <a:pt x="33" y="6"/>
                        <a:pt x="19" y="13"/>
                        <a:pt x="14" y="20"/>
                      </a:cubicBezTo>
                      <a:cubicBezTo>
                        <a:pt x="8" y="27"/>
                        <a:pt x="0" y="27"/>
                        <a:pt x="2" y="35"/>
                      </a:cubicBezTo>
                      <a:cubicBezTo>
                        <a:pt x="3" y="43"/>
                        <a:pt x="11" y="45"/>
                        <a:pt x="11" y="45"/>
                      </a:cubicBezTo>
                      <a:cubicBezTo>
                        <a:pt x="3" y="49"/>
                        <a:pt x="14" y="59"/>
                        <a:pt x="14" y="59"/>
                      </a:cubicBezTo>
                      <a:cubicBezTo>
                        <a:pt x="11" y="65"/>
                        <a:pt x="24" y="70"/>
                        <a:pt x="24" y="70"/>
                      </a:cubicBezTo>
                      <a:cubicBezTo>
                        <a:pt x="22" y="77"/>
                        <a:pt x="32" y="79"/>
                        <a:pt x="32" y="79"/>
                      </a:cubicBezTo>
                      <a:cubicBezTo>
                        <a:pt x="30" y="82"/>
                        <a:pt x="34" y="85"/>
                        <a:pt x="40" y="85"/>
                      </a:cubicBezTo>
                      <a:cubicBezTo>
                        <a:pt x="46" y="85"/>
                        <a:pt x="64" y="73"/>
                        <a:pt x="74" y="65"/>
                      </a:cubicBezTo>
                      <a:cubicBezTo>
                        <a:pt x="76" y="63"/>
                        <a:pt x="77" y="62"/>
                        <a:pt x="78" y="61"/>
                      </a:cubicBezTo>
                      <a:cubicBezTo>
                        <a:pt x="86" y="53"/>
                        <a:pt x="91" y="43"/>
                        <a:pt x="91" y="43"/>
                      </a:cubicBezTo>
                      <a:cubicBezTo>
                        <a:pt x="94" y="16"/>
                        <a:pt x="76" y="0"/>
                        <a:pt x="76" y="0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84">
                  <a:extLst>
                    <a:ext uri="{FF2B5EF4-FFF2-40B4-BE49-F238E27FC236}">
                      <a16:creationId xmlns:a16="http://schemas.microsoft.com/office/drawing/2014/main" id="{CC05DD38-8A0D-429B-BCC4-7198DA422F0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043262" y="2860942"/>
                  <a:ext cx="268382" cy="189109"/>
                </a:xfrm>
                <a:custGeom>
                  <a:avLst/>
                  <a:gdLst>
                    <a:gd name="T0" fmla="*/ 6 w 119"/>
                    <a:gd name="T1" fmla="*/ 70 h 84"/>
                    <a:gd name="T2" fmla="*/ 10 w 119"/>
                    <a:gd name="T3" fmla="*/ 54 h 84"/>
                    <a:gd name="T4" fmla="*/ 29 w 119"/>
                    <a:gd name="T5" fmla="*/ 38 h 84"/>
                    <a:gd name="T6" fmla="*/ 19 w 119"/>
                    <a:gd name="T7" fmla="*/ 30 h 84"/>
                    <a:gd name="T8" fmla="*/ 32 w 119"/>
                    <a:gd name="T9" fmla="*/ 24 h 84"/>
                    <a:gd name="T10" fmla="*/ 51 w 119"/>
                    <a:gd name="T11" fmla="*/ 46 h 84"/>
                    <a:gd name="T12" fmla="*/ 62 w 119"/>
                    <a:gd name="T13" fmla="*/ 42 h 84"/>
                    <a:gd name="T14" fmla="*/ 48 w 119"/>
                    <a:gd name="T15" fmla="*/ 25 h 84"/>
                    <a:gd name="T16" fmla="*/ 79 w 119"/>
                    <a:gd name="T17" fmla="*/ 19 h 84"/>
                    <a:gd name="T18" fmla="*/ 112 w 119"/>
                    <a:gd name="T19" fmla="*/ 3 h 84"/>
                    <a:gd name="T20" fmla="*/ 112 w 119"/>
                    <a:gd name="T21" fmla="*/ 19 h 84"/>
                    <a:gd name="T22" fmla="*/ 70 w 119"/>
                    <a:gd name="T23" fmla="*/ 75 h 84"/>
                    <a:gd name="T24" fmla="*/ 58 w 119"/>
                    <a:gd name="T25" fmla="*/ 84 h 84"/>
                    <a:gd name="T26" fmla="*/ 6 w 119"/>
                    <a:gd name="T27" fmla="*/ 7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84">
                      <a:moveTo>
                        <a:pt x="6" y="70"/>
                      </a:moveTo>
                      <a:cubicBezTo>
                        <a:pt x="6" y="70"/>
                        <a:pt x="0" y="58"/>
                        <a:pt x="10" y="54"/>
                      </a:cubicBezTo>
                      <a:cubicBezTo>
                        <a:pt x="20" y="50"/>
                        <a:pt x="29" y="46"/>
                        <a:pt x="29" y="38"/>
                      </a:cubicBezTo>
                      <a:cubicBezTo>
                        <a:pt x="29" y="31"/>
                        <a:pt x="19" y="30"/>
                        <a:pt x="19" y="30"/>
                      </a:cubicBezTo>
                      <a:cubicBezTo>
                        <a:pt x="19" y="30"/>
                        <a:pt x="20" y="18"/>
                        <a:pt x="32" y="24"/>
                      </a:cubicBezTo>
                      <a:cubicBezTo>
                        <a:pt x="43" y="29"/>
                        <a:pt x="44" y="39"/>
                        <a:pt x="51" y="46"/>
                      </a:cubicBezTo>
                      <a:cubicBezTo>
                        <a:pt x="58" y="52"/>
                        <a:pt x="62" y="50"/>
                        <a:pt x="62" y="42"/>
                      </a:cubicBezTo>
                      <a:cubicBezTo>
                        <a:pt x="61" y="34"/>
                        <a:pt x="47" y="31"/>
                        <a:pt x="48" y="25"/>
                      </a:cubicBezTo>
                      <a:cubicBezTo>
                        <a:pt x="48" y="19"/>
                        <a:pt x="65" y="20"/>
                        <a:pt x="79" y="19"/>
                      </a:cubicBezTo>
                      <a:cubicBezTo>
                        <a:pt x="93" y="18"/>
                        <a:pt x="111" y="6"/>
                        <a:pt x="112" y="3"/>
                      </a:cubicBezTo>
                      <a:cubicBezTo>
                        <a:pt x="114" y="0"/>
                        <a:pt x="119" y="11"/>
                        <a:pt x="112" y="19"/>
                      </a:cubicBezTo>
                      <a:cubicBezTo>
                        <a:pt x="104" y="28"/>
                        <a:pt x="87" y="38"/>
                        <a:pt x="70" y="75"/>
                      </a:cubicBezTo>
                      <a:cubicBezTo>
                        <a:pt x="70" y="75"/>
                        <a:pt x="70" y="76"/>
                        <a:pt x="58" y="84"/>
                      </a:cubicBezTo>
                      <a:cubicBezTo>
                        <a:pt x="58" y="84"/>
                        <a:pt x="12" y="75"/>
                        <a:pt x="6" y="7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85">
                  <a:extLst>
                    <a:ext uri="{FF2B5EF4-FFF2-40B4-BE49-F238E27FC236}">
                      <a16:creationId xmlns:a16="http://schemas.microsoft.com/office/drawing/2014/main" id="{AB56625F-7278-4D55-BED9-E670139F720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2983" y="2558177"/>
                  <a:ext cx="223493" cy="408781"/>
                </a:xfrm>
                <a:custGeom>
                  <a:avLst/>
                  <a:gdLst>
                    <a:gd name="T0" fmla="*/ 79 w 99"/>
                    <a:gd name="T1" fmla="*/ 0 h 181"/>
                    <a:gd name="T2" fmla="*/ 95 w 99"/>
                    <a:gd name="T3" fmla="*/ 50 h 181"/>
                    <a:gd name="T4" fmla="*/ 89 w 99"/>
                    <a:gd name="T5" fmla="*/ 181 h 181"/>
                    <a:gd name="T6" fmla="*/ 81 w 99"/>
                    <a:gd name="T7" fmla="*/ 153 h 181"/>
                    <a:gd name="T8" fmla="*/ 81 w 99"/>
                    <a:gd name="T9" fmla="*/ 137 h 181"/>
                    <a:gd name="T10" fmla="*/ 39 w 99"/>
                    <a:gd name="T11" fmla="*/ 138 h 181"/>
                    <a:gd name="T12" fmla="*/ 9 w 99"/>
                    <a:gd name="T13" fmla="*/ 142 h 181"/>
                    <a:gd name="T14" fmla="*/ 23 w 99"/>
                    <a:gd name="T15" fmla="*/ 132 h 181"/>
                    <a:gd name="T16" fmla="*/ 66 w 99"/>
                    <a:gd name="T17" fmla="*/ 126 h 181"/>
                    <a:gd name="T18" fmla="*/ 86 w 99"/>
                    <a:gd name="T19" fmla="*/ 110 h 181"/>
                    <a:gd name="T20" fmla="*/ 61 w 99"/>
                    <a:gd name="T21" fmla="*/ 90 h 181"/>
                    <a:gd name="T22" fmla="*/ 35 w 99"/>
                    <a:gd name="T23" fmla="*/ 76 h 181"/>
                    <a:gd name="T24" fmla="*/ 65 w 99"/>
                    <a:gd name="T25" fmla="*/ 80 h 181"/>
                    <a:gd name="T26" fmla="*/ 85 w 99"/>
                    <a:gd name="T27" fmla="*/ 74 h 181"/>
                    <a:gd name="T28" fmla="*/ 74 w 99"/>
                    <a:gd name="T29" fmla="*/ 54 h 181"/>
                    <a:gd name="T30" fmla="*/ 49 w 99"/>
                    <a:gd name="T31" fmla="*/ 52 h 181"/>
                    <a:gd name="T32" fmla="*/ 74 w 99"/>
                    <a:gd name="T33" fmla="*/ 46 h 181"/>
                    <a:gd name="T34" fmla="*/ 85 w 99"/>
                    <a:gd name="T35" fmla="*/ 38 h 181"/>
                    <a:gd name="T36" fmla="*/ 79 w 99"/>
                    <a:gd name="T37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9" h="181">
                      <a:moveTo>
                        <a:pt x="79" y="0"/>
                      </a:moveTo>
                      <a:cubicBezTo>
                        <a:pt x="79" y="0"/>
                        <a:pt x="95" y="43"/>
                        <a:pt x="95" y="50"/>
                      </a:cubicBezTo>
                      <a:cubicBezTo>
                        <a:pt x="95" y="58"/>
                        <a:pt x="99" y="167"/>
                        <a:pt x="89" y="181"/>
                      </a:cubicBezTo>
                      <a:cubicBezTo>
                        <a:pt x="81" y="153"/>
                        <a:pt x="81" y="153"/>
                        <a:pt x="81" y="153"/>
                      </a:cubicBezTo>
                      <a:cubicBezTo>
                        <a:pt x="81" y="153"/>
                        <a:pt x="87" y="139"/>
                        <a:pt x="81" y="137"/>
                      </a:cubicBezTo>
                      <a:cubicBezTo>
                        <a:pt x="76" y="135"/>
                        <a:pt x="51" y="136"/>
                        <a:pt x="39" y="138"/>
                      </a:cubicBezTo>
                      <a:cubicBezTo>
                        <a:pt x="27" y="140"/>
                        <a:pt x="17" y="142"/>
                        <a:pt x="9" y="142"/>
                      </a:cubicBezTo>
                      <a:cubicBezTo>
                        <a:pt x="0" y="142"/>
                        <a:pt x="8" y="138"/>
                        <a:pt x="23" y="132"/>
                      </a:cubicBezTo>
                      <a:cubicBezTo>
                        <a:pt x="39" y="127"/>
                        <a:pt x="54" y="133"/>
                        <a:pt x="66" y="126"/>
                      </a:cubicBezTo>
                      <a:cubicBezTo>
                        <a:pt x="78" y="120"/>
                        <a:pt x="87" y="117"/>
                        <a:pt x="86" y="110"/>
                      </a:cubicBezTo>
                      <a:cubicBezTo>
                        <a:pt x="85" y="102"/>
                        <a:pt x="73" y="95"/>
                        <a:pt x="61" y="90"/>
                      </a:cubicBezTo>
                      <a:cubicBezTo>
                        <a:pt x="49" y="84"/>
                        <a:pt x="35" y="78"/>
                        <a:pt x="35" y="76"/>
                      </a:cubicBezTo>
                      <a:cubicBezTo>
                        <a:pt x="35" y="74"/>
                        <a:pt x="55" y="81"/>
                        <a:pt x="65" y="80"/>
                      </a:cubicBezTo>
                      <a:cubicBezTo>
                        <a:pt x="74" y="80"/>
                        <a:pt x="82" y="78"/>
                        <a:pt x="85" y="74"/>
                      </a:cubicBezTo>
                      <a:cubicBezTo>
                        <a:pt x="87" y="69"/>
                        <a:pt x="82" y="60"/>
                        <a:pt x="74" y="54"/>
                      </a:cubicBezTo>
                      <a:cubicBezTo>
                        <a:pt x="66" y="49"/>
                        <a:pt x="49" y="52"/>
                        <a:pt x="49" y="52"/>
                      </a:cubicBezTo>
                      <a:cubicBezTo>
                        <a:pt x="49" y="52"/>
                        <a:pt x="66" y="40"/>
                        <a:pt x="74" y="46"/>
                      </a:cubicBezTo>
                      <a:cubicBezTo>
                        <a:pt x="82" y="52"/>
                        <a:pt x="88" y="46"/>
                        <a:pt x="85" y="38"/>
                      </a:cubicBezTo>
                      <a:cubicBezTo>
                        <a:pt x="81" y="29"/>
                        <a:pt x="73" y="6"/>
                        <a:pt x="79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86">
                  <a:extLst>
                    <a:ext uri="{FF2B5EF4-FFF2-40B4-BE49-F238E27FC236}">
                      <a16:creationId xmlns:a16="http://schemas.microsoft.com/office/drawing/2014/main" id="{67C65F13-26D5-4CA2-9E54-FBA23596B50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9512" y="2475083"/>
                  <a:ext cx="104106" cy="304676"/>
                </a:xfrm>
                <a:custGeom>
                  <a:avLst/>
                  <a:gdLst>
                    <a:gd name="T0" fmla="*/ 46 w 46"/>
                    <a:gd name="T1" fmla="*/ 0 h 135"/>
                    <a:gd name="T2" fmla="*/ 16 w 46"/>
                    <a:gd name="T3" fmla="*/ 39 h 135"/>
                    <a:gd name="T4" fmla="*/ 18 w 46"/>
                    <a:gd name="T5" fmla="*/ 55 h 135"/>
                    <a:gd name="T6" fmla="*/ 26 w 46"/>
                    <a:gd name="T7" fmla="*/ 64 h 135"/>
                    <a:gd name="T8" fmla="*/ 16 w 46"/>
                    <a:gd name="T9" fmla="*/ 76 h 135"/>
                    <a:gd name="T10" fmla="*/ 35 w 46"/>
                    <a:gd name="T11" fmla="*/ 129 h 135"/>
                    <a:gd name="T12" fmla="*/ 9 w 46"/>
                    <a:gd name="T13" fmla="*/ 80 h 135"/>
                    <a:gd name="T14" fmla="*/ 8 w 46"/>
                    <a:gd name="T15" fmla="*/ 59 h 135"/>
                    <a:gd name="T16" fmla="*/ 4 w 46"/>
                    <a:gd name="T17" fmla="*/ 25 h 135"/>
                    <a:gd name="T18" fmla="*/ 46 w 46"/>
                    <a:gd name="T19" fmla="*/ 0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135">
                      <a:moveTo>
                        <a:pt x="46" y="0"/>
                      </a:moveTo>
                      <a:cubicBezTo>
                        <a:pt x="46" y="0"/>
                        <a:pt x="18" y="34"/>
                        <a:pt x="16" y="39"/>
                      </a:cubicBezTo>
                      <a:cubicBezTo>
                        <a:pt x="15" y="43"/>
                        <a:pt x="12" y="52"/>
                        <a:pt x="18" y="55"/>
                      </a:cubicBezTo>
                      <a:cubicBezTo>
                        <a:pt x="25" y="57"/>
                        <a:pt x="26" y="64"/>
                        <a:pt x="26" y="64"/>
                      </a:cubicBezTo>
                      <a:cubicBezTo>
                        <a:pt x="16" y="76"/>
                        <a:pt x="16" y="76"/>
                        <a:pt x="16" y="76"/>
                      </a:cubicBezTo>
                      <a:cubicBezTo>
                        <a:pt x="16" y="76"/>
                        <a:pt x="30" y="123"/>
                        <a:pt x="35" y="129"/>
                      </a:cubicBezTo>
                      <a:cubicBezTo>
                        <a:pt x="40" y="135"/>
                        <a:pt x="11" y="91"/>
                        <a:pt x="9" y="80"/>
                      </a:cubicBezTo>
                      <a:cubicBezTo>
                        <a:pt x="7" y="69"/>
                        <a:pt x="13" y="71"/>
                        <a:pt x="8" y="59"/>
                      </a:cubicBezTo>
                      <a:cubicBezTo>
                        <a:pt x="2" y="48"/>
                        <a:pt x="0" y="31"/>
                        <a:pt x="4" y="25"/>
                      </a:cubicBezTo>
                      <a:cubicBezTo>
                        <a:pt x="9" y="19"/>
                        <a:pt x="3" y="7"/>
                        <a:pt x="4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87">
                  <a:extLst>
                    <a:ext uri="{FF2B5EF4-FFF2-40B4-BE49-F238E27FC236}">
                      <a16:creationId xmlns:a16="http://schemas.microsoft.com/office/drawing/2014/main" id="{5590BFA3-FB14-4101-987C-F2719499E52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76590" y="3097806"/>
                  <a:ext cx="128938" cy="175738"/>
                </a:xfrm>
                <a:custGeom>
                  <a:avLst/>
                  <a:gdLst>
                    <a:gd name="T0" fmla="*/ 40 w 57"/>
                    <a:gd name="T1" fmla="*/ 70 h 78"/>
                    <a:gd name="T2" fmla="*/ 0 w 57"/>
                    <a:gd name="T3" fmla="*/ 7 h 78"/>
                    <a:gd name="T4" fmla="*/ 9 w 57"/>
                    <a:gd name="T5" fmla="*/ 1 h 78"/>
                    <a:gd name="T6" fmla="*/ 57 w 57"/>
                    <a:gd name="T7" fmla="*/ 78 h 78"/>
                    <a:gd name="T8" fmla="*/ 40 w 57"/>
                    <a:gd name="T9" fmla="*/ 7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78">
                      <a:moveTo>
                        <a:pt x="40" y="70"/>
                      </a:moveTo>
                      <a:cubicBezTo>
                        <a:pt x="40" y="70"/>
                        <a:pt x="0" y="13"/>
                        <a:pt x="0" y="7"/>
                      </a:cubicBezTo>
                      <a:cubicBezTo>
                        <a:pt x="0" y="0"/>
                        <a:pt x="0" y="7"/>
                        <a:pt x="9" y="1"/>
                      </a:cubicBezTo>
                      <a:cubicBezTo>
                        <a:pt x="9" y="1"/>
                        <a:pt x="10" y="14"/>
                        <a:pt x="57" y="78"/>
                      </a:cubicBezTo>
                      <a:cubicBezTo>
                        <a:pt x="57" y="78"/>
                        <a:pt x="42" y="71"/>
                        <a:pt x="40" y="7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89">
                  <a:extLst>
                    <a:ext uri="{FF2B5EF4-FFF2-40B4-BE49-F238E27FC236}">
                      <a16:creationId xmlns:a16="http://schemas.microsoft.com/office/drawing/2014/main" id="{A6219F23-3ABC-42BA-9435-3401103C4D4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92727" y="2630764"/>
                  <a:ext cx="347655" cy="546315"/>
                </a:xfrm>
                <a:custGeom>
                  <a:avLst/>
                  <a:gdLst>
                    <a:gd name="T0" fmla="*/ 154 w 154"/>
                    <a:gd name="T1" fmla="*/ 0 h 242"/>
                    <a:gd name="T2" fmla="*/ 121 w 154"/>
                    <a:gd name="T3" fmla="*/ 58 h 242"/>
                    <a:gd name="T4" fmla="*/ 110 w 154"/>
                    <a:gd name="T5" fmla="*/ 134 h 242"/>
                    <a:gd name="T6" fmla="*/ 110 w 154"/>
                    <a:gd name="T7" fmla="*/ 162 h 242"/>
                    <a:gd name="T8" fmla="*/ 112 w 154"/>
                    <a:gd name="T9" fmla="*/ 190 h 242"/>
                    <a:gd name="T10" fmla="*/ 108 w 154"/>
                    <a:gd name="T11" fmla="*/ 200 h 242"/>
                    <a:gd name="T12" fmla="*/ 100 w 154"/>
                    <a:gd name="T13" fmla="*/ 208 h 242"/>
                    <a:gd name="T14" fmla="*/ 84 w 154"/>
                    <a:gd name="T15" fmla="*/ 216 h 242"/>
                    <a:gd name="T16" fmla="*/ 66 w 154"/>
                    <a:gd name="T17" fmla="*/ 227 h 242"/>
                    <a:gd name="T18" fmla="*/ 25 w 154"/>
                    <a:gd name="T19" fmla="*/ 242 h 242"/>
                    <a:gd name="T20" fmla="*/ 20 w 154"/>
                    <a:gd name="T21" fmla="*/ 212 h 242"/>
                    <a:gd name="T22" fmla="*/ 3 w 154"/>
                    <a:gd name="T23" fmla="*/ 204 h 242"/>
                    <a:gd name="T24" fmla="*/ 29 w 154"/>
                    <a:gd name="T25" fmla="*/ 194 h 242"/>
                    <a:gd name="T26" fmla="*/ 84 w 154"/>
                    <a:gd name="T27" fmla="*/ 162 h 242"/>
                    <a:gd name="T28" fmla="*/ 110 w 154"/>
                    <a:gd name="T29" fmla="*/ 66 h 242"/>
                    <a:gd name="T30" fmla="*/ 154 w 154"/>
                    <a:gd name="T31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54" h="242">
                      <a:moveTo>
                        <a:pt x="154" y="0"/>
                      </a:moveTo>
                      <a:cubicBezTo>
                        <a:pt x="154" y="0"/>
                        <a:pt x="122" y="49"/>
                        <a:pt x="121" y="58"/>
                      </a:cubicBezTo>
                      <a:cubicBezTo>
                        <a:pt x="120" y="68"/>
                        <a:pt x="110" y="123"/>
                        <a:pt x="110" y="134"/>
                      </a:cubicBezTo>
                      <a:cubicBezTo>
                        <a:pt x="110" y="144"/>
                        <a:pt x="109" y="156"/>
                        <a:pt x="110" y="162"/>
                      </a:cubicBezTo>
                      <a:cubicBezTo>
                        <a:pt x="112" y="167"/>
                        <a:pt x="109" y="186"/>
                        <a:pt x="112" y="190"/>
                      </a:cubicBezTo>
                      <a:cubicBezTo>
                        <a:pt x="114" y="193"/>
                        <a:pt x="112" y="198"/>
                        <a:pt x="108" y="200"/>
                      </a:cubicBezTo>
                      <a:cubicBezTo>
                        <a:pt x="105" y="202"/>
                        <a:pt x="106" y="205"/>
                        <a:pt x="100" y="208"/>
                      </a:cubicBezTo>
                      <a:cubicBezTo>
                        <a:pt x="93" y="212"/>
                        <a:pt x="90" y="210"/>
                        <a:pt x="84" y="216"/>
                      </a:cubicBezTo>
                      <a:cubicBezTo>
                        <a:pt x="77" y="222"/>
                        <a:pt x="72" y="226"/>
                        <a:pt x="66" y="227"/>
                      </a:cubicBezTo>
                      <a:cubicBezTo>
                        <a:pt x="61" y="228"/>
                        <a:pt x="30" y="236"/>
                        <a:pt x="25" y="242"/>
                      </a:cubicBezTo>
                      <a:cubicBezTo>
                        <a:pt x="25" y="242"/>
                        <a:pt x="16" y="240"/>
                        <a:pt x="20" y="212"/>
                      </a:cubicBezTo>
                      <a:cubicBezTo>
                        <a:pt x="20" y="212"/>
                        <a:pt x="6" y="213"/>
                        <a:pt x="3" y="204"/>
                      </a:cubicBezTo>
                      <a:cubicBezTo>
                        <a:pt x="0" y="196"/>
                        <a:pt x="18" y="199"/>
                        <a:pt x="29" y="194"/>
                      </a:cubicBezTo>
                      <a:cubicBezTo>
                        <a:pt x="40" y="188"/>
                        <a:pt x="80" y="173"/>
                        <a:pt x="84" y="162"/>
                      </a:cubicBezTo>
                      <a:cubicBezTo>
                        <a:pt x="88" y="150"/>
                        <a:pt x="103" y="90"/>
                        <a:pt x="110" y="66"/>
                      </a:cubicBezTo>
                      <a:cubicBezTo>
                        <a:pt x="118" y="42"/>
                        <a:pt x="144" y="4"/>
                        <a:pt x="154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90">
                  <a:extLst>
                    <a:ext uri="{FF2B5EF4-FFF2-40B4-BE49-F238E27FC236}">
                      <a16:creationId xmlns:a16="http://schemas.microsoft.com/office/drawing/2014/main" id="{2252B49A-387E-4988-8CA7-F2AF481587F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932456" y="3014713"/>
                  <a:ext cx="126073" cy="119387"/>
                </a:xfrm>
                <a:custGeom>
                  <a:avLst/>
                  <a:gdLst>
                    <a:gd name="T0" fmla="*/ 27 w 56"/>
                    <a:gd name="T1" fmla="*/ 4 h 53"/>
                    <a:gd name="T2" fmla="*/ 55 w 56"/>
                    <a:gd name="T3" fmla="*/ 21 h 53"/>
                    <a:gd name="T4" fmla="*/ 34 w 56"/>
                    <a:gd name="T5" fmla="*/ 19 h 53"/>
                    <a:gd name="T6" fmla="*/ 38 w 56"/>
                    <a:gd name="T7" fmla="*/ 35 h 53"/>
                    <a:gd name="T8" fmla="*/ 44 w 56"/>
                    <a:gd name="T9" fmla="*/ 50 h 53"/>
                    <a:gd name="T10" fmla="*/ 22 w 56"/>
                    <a:gd name="T11" fmla="*/ 36 h 53"/>
                    <a:gd name="T12" fmla="*/ 2 w 56"/>
                    <a:gd name="T13" fmla="*/ 30 h 53"/>
                    <a:gd name="T14" fmla="*/ 4 w 56"/>
                    <a:gd name="T15" fmla="*/ 5 h 53"/>
                    <a:gd name="T16" fmla="*/ 27 w 56"/>
                    <a:gd name="T17" fmla="*/ 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6" h="53">
                      <a:moveTo>
                        <a:pt x="27" y="4"/>
                      </a:moveTo>
                      <a:cubicBezTo>
                        <a:pt x="27" y="4"/>
                        <a:pt x="54" y="12"/>
                        <a:pt x="55" y="21"/>
                      </a:cubicBezTo>
                      <a:cubicBezTo>
                        <a:pt x="56" y="30"/>
                        <a:pt x="47" y="19"/>
                        <a:pt x="34" y="19"/>
                      </a:cubicBezTo>
                      <a:cubicBezTo>
                        <a:pt x="20" y="19"/>
                        <a:pt x="22" y="21"/>
                        <a:pt x="38" y="35"/>
                      </a:cubicBezTo>
                      <a:cubicBezTo>
                        <a:pt x="38" y="35"/>
                        <a:pt x="47" y="46"/>
                        <a:pt x="44" y="50"/>
                      </a:cubicBezTo>
                      <a:cubicBezTo>
                        <a:pt x="40" y="53"/>
                        <a:pt x="41" y="41"/>
                        <a:pt x="22" y="36"/>
                      </a:cubicBezTo>
                      <a:cubicBezTo>
                        <a:pt x="4" y="32"/>
                        <a:pt x="2" y="30"/>
                        <a:pt x="2" y="30"/>
                      </a:cubicBezTo>
                      <a:cubicBezTo>
                        <a:pt x="2" y="30"/>
                        <a:pt x="0" y="10"/>
                        <a:pt x="4" y="5"/>
                      </a:cubicBezTo>
                      <a:cubicBezTo>
                        <a:pt x="7" y="0"/>
                        <a:pt x="26" y="4"/>
                        <a:pt x="27" y="4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91">
                  <a:extLst>
                    <a:ext uri="{FF2B5EF4-FFF2-40B4-BE49-F238E27FC236}">
                      <a16:creationId xmlns:a16="http://schemas.microsoft.com/office/drawing/2014/main" id="{6AA9911D-A29C-4976-9616-5E6BE4A0ED6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06099" y="3326074"/>
                  <a:ext cx="81183" cy="63036"/>
                </a:xfrm>
                <a:custGeom>
                  <a:avLst/>
                  <a:gdLst>
                    <a:gd name="T0" fmla="*/ 33 w 36"/>
                    <a:gd name="T1" fmla="*/ 0 h 28"/>
                    <a:gd name="T2" fmla="*/ 30 w 36"/>
                    <a:gd name="T3" fmla="*/ 26 h 28"/>
                    <a:gd name="T4" fmla="*/ 0 w 36"/>
                    <a:gd name="T5" fmla="*/ 12 h 28"/>
                    <a:gd name="T6" fmla="*/ 10 w 36"/>
                    <a:gd name="T7" fmla="*/ 2 h 28"/>
                    <a:gd name="T8" fmla="*/ 33 w 36"/>
                    <a:gd name="T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28">
                      <a:moveTo>
                        <a:pt x="33" y="0"/>
                      </a:moveTo>
                      <a:cubicBezTo>
                        <a:pt x="33" y="0"/>
                        <a:pt x="36" y="25"/>
                        <a:pt x="30" y="26"/>
                      </a:cubicBezTo>
                      <a:cubicBezTo>
                        <a:pt x="24" y="28"/>
                        <a:pt x="4" y="22"/>
                        <a:pt x="0" y="12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12" y="4"/>
                        <a:pt x="33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92">
                  <a:extLst>
                    <a:ext uri="{FF2B5EF4-FFF2-40B4-BE49-F238E27FC236}">
                      <a16:creationId xmlns:a16="http://schemas.microsoft.com/office/drawing/2014/main" id="{7CE94C41-487B-411D-B1DA-058842568A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83461" y="3307927"/>
                  <a:ext cx="162366" cy="205346"/>
                </a:xfrm>
                <a:custGeom>
                  <a:avLst/>
                  <a:gdLst>
                    <a:gd name="T0" fmla="*/ 66 w 72"/>
                    <a:gd name="T1" fmla="*/ 0 h 91"/>
                    <a:gd name="T2" fmla="*/ 13 w 72"/>
                    <a:gd name="T3" fmla="*/ 30 h 91"/>
                    <a:gd name="T4" fmla="*/ 16 w 72"/>
                    <a:gd name="T5" fmla="*/ 61 h 91"/>
                    <a:gd name="T6" fmla="*/ 44 w 72"/>
                    <a:gd name="T7" fmla="*/ 62 h 91"/>
                    <a:gd name="T8" fmla="*/ 65 w 72"/>
                    <a:gd name="T9" fmla="*/ 89 h 91"/>
                    <a:gd name="T10" fmla="*/ 66 w 72"/>
                    <a:gd name="T11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2" h="91">
                      <a:moveTo>
                        <a:pt x="66" y="0"/>
                      </a:moveTo>
                      <a:cubicBezTo>
                        <a:pt x="66" y="0"/>
                        <a:pt x="20" y="28"/>
                        <a:pt x="13" y="30"/>
                      </a:cubicBezTo>
                      <a:cubicBezTo>
                        <a:pt x="6" y="32"/>
                        <a:pt x="0" y="59"/>
                        <a:pt x="16" y="61"/>
                      </a:cubicBezTo>
                      <a:cubicBezTo>
                        <a:pt x="16" y="61"/>
                        <a:pt x="38" y="54"/>
                        <a:pt x="44" y="62"/>
                      </a:cubicBezTo>
                      <a:cubicBezTo>
                        <a:pt x="49" y="69"/>
                        <a:pt x="61" y="91"/>
                        <a:pt x="65" y="89"/>
                      </a:cubicBezTo>
                      <a:cubicBezTo>
                        <a:pt x="65" y="89"/>
                        <a:pt x="72" y="15"/>
                        <a:pt x="6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93">
                  <a:extLst>
                    <a:ext uri="{FF2B5EF4-FFF2-40B4-BE49-F238E27FC236}">
                      <a16:creationId xmlns:a16="http://schemas.microsoft.com/office/drawing/2014/main" id="{45F6D2CF-71EB-4209-9E35-5C1FD12753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4801" y="3382424"/>
                  <a:ext cx="268382" cy="182424"/>
                </a:xfrm>
                <a:custGeom>
                  <a:avLst/>
                  <a:gdLst>
                    <a:gd name="T0" fmla="*/ 16 w 119"/>
                    <a:gd name="T1" fmla="*/ 0 h 81"/>
                    <a:gd name="T2" fmla="*/ 0 w 119"/>
                    <a:gd name="T3" fmla="*/ 66 h 81"/>
                    <a:gd name="T4" fmla="*/ 2 w 119"/>
                    <a:gd name="T5" fmla="*/ 81 h 81"/>
                    <a:gd name="T6" fmla="*/ 17 w 119"/>
                    <a:gd name="T7" fmla="*/ 33 h 81"/>
                    <a:gd name="T8" fmla="*/ 62 w 119"/>
                    <a:gd name="T9" fmla="*/ 53 h 81"/>
                    <a:gd name="T10" fmla="*/ 110 w 119"/>
                    <a:gd name="T11" fmla="*/ 66 h 81"/>
                    <a:gd name="T12" fmla="*/ 62 w 119"/>
                    <a:gd name="T13" fmla="*/ 40 h 81"/>
                    <a:gd name="T14" fmla="*/ 28 w 119"/>
                    <a:gd name="T15" fmla="*/ 15 h 81"/>
                    <a:gd name="T16" fmla="*/ 16 w 119"/>
                    <a:gd name="T17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9" h="81">
                      <a:moveTo>
                        <a:pt x="16" y="0"/>
                      </a:moveTo>
                      <a:cubicBezTo>
                        <a:pt x="16" y="0"/>
                        <a:pt x="6" y="56"/>
                        <a:pt x="0" y="66"/>
                      </a:cubicBezTo>
                      <a:cubicBezTo>
                        <a:pt x="2" y="81"/>
                        <a:pt x="2" y="81"/>
                        <a:pt x="2" y="81"/>
                      </a:cubicBezTo>
                      <a:cubicBezTo>
                        <a:pt x="2" y="81"/>
                        <a:pt x="15" y="43"/>
                        <a:pt x="17" y="33"/>
                      </a:cubicBezTo>
                      <a:cubicBezTo>
                        <a:pt x="19" y="24"/>
                        <a:pt x="38" y="42"/>
                        <a:pt x="62" y="53"/>
                      </a:cubicBezTo>
                      <a:cubicBezTo>
                        <a:pt x="85" y="63"/>
                        <a:pt x="100" y="66"/>
                        <a:pt x="110" y="66"/>
                      </a:cubicBezTo>
                      <a:cubicBezTo>
                        <a:pt x="119" y="66"/>
                        <a:pt x="81" y="55"/>
                        <a:pt x="62" y="40"/>
                      </a:cubicBezTo>
                      <a:cubicBezTo>
                        <a:pt x="42" y="25"/>
                        <a:pt x="32" y="21"/>
                        <a:pt x="28" y="15"/>
                      </a:cubicBezTo>
                      <a:cubicBezTo>
                        <a:pt x="25" y="10"/>
                        <a:pt x="26" y="5"/>
                        <a:pt x="1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94">
                  <a:extLst>
                    <a:ext uri="{FF2B5EF4-FFF2-40B4-BE49-F238E27FC236}">
                      <a16:creationId xmlns:a16="http://schemas.microsoft.com/office/drawing/2014/main" id="{F3751570-C479-4E4D-9E63-7CF7CB3ADC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26925" y="3283094"/>
                  <a:ext cx="257876" cy="344790"/>
                </a:xfrm>
                <a:custGeom>
                  <a:avLst/>
                  <a:gdLst>
                    <a:gd name="T0" fmla="*/ 5 w 114"/>
                    <a:gd name="T1" fmla="*/ 67 h 153"/>
                    <a:gd name="T2" fmla="*/ 33 w 114"/>
                    <a:gd name="T3" fmla="*/ 74 h 153"/>
                    <a:gd name="T4" fmla="*/ 26 w 114"/>
                    <a:gd name="T5" fmla="*/ 85 h 153"/>
                    <a:gd name="T6" fmla="*/ 18 w 114"/>
                    <a:gd name="T7" fmla="*/ 108 h 153"/>
                    <a:gd name="T8" fmla="*/ 9 w 114"/>
                    <a:gd name="T9" fmla="*/ 148 h 153"/>
                    <a:gd name="T10" fmla="*/ 36 w 114"/>
                    <a:gd name="T11" fmla="*/ 131 h 153"/>
                    <a:gd name="T12" fmla="*/ 60 w 114"/>
                    <a:gd name="T13" fmla="*/ 85 h 153"/>
                    <a:gd name="T14" fmla="*/ 65 w 114"/>
                    <a:gd name="T15" fmla="*/ 101 h 153"/>
                    <a:gd name="T16" fmla="*/ 60 w 114"/>
                    <a:gd name="T17" fmla="*/ 117 h 153"/>
                    <a:gd name="T18" fmla="*/ 74 w 114"/>
                    <a:gd name="T19" fmla="*/ 99 h 153"/>
                    <a:gd name="T20" fmla="*/ 76 w 114"/>
                    <a:gd name="T21" fmla="*/ 83 h 153"/>
                    <a:gd name="T22" fmla="*/ 90 w 114"/>
                    <a:gd name="T23" fmla="*/ 89 h 153"/>
                    <a:gd name="T24" fmla="*/ 90 w 114"/>
                    <a:gd name="T25" fmla="*/ 130 h 153"/>
                    <a:gd name="T26" fmla="*/ 108 w 114"/>
                    <a:gd name="T27" fmla="*/ 110 h 153"/>
                    <a:gd name="T28" fmla="*/ 104 w 114"/>
                    <a:gd name="T29" fmla="*/ 60 h 153"/>
                    <a:gd name="T30" fmla="*/ 95 w 114"/>
                    <a:gd name="T31" fmla="*/ 9 h 153"/>
                    <a:gd name="T32" fmla="*/ 88 w 114"/>
                    <a:gd name="T33" fmla="*/ 16 h 153"/>
                    <a:gd name="T34" fmla="*/ 52 w 114"/>
                    <a:gd name="T35" fmla="*/ 5 h 153"/>
                    <a:gd name="T36" fmla="*/ 88 w 114"/>
                    <a:gd name="T37" fmla="*/ 35 h 153"/>
                    <a:gd name="T38" fmla="*/ 86 w 114"/>
                    <a:gd name="T39" fmla="*/ 47 h 153"/>
                    <a:gd name="T40" fmla="*/ 48 w 114"/>
                    <a:gd name="T41" fmla="*/ 19 h 153"/>
                    <a:gd name="T42" fmla="*/ 54 w 114"/>
                    <a:gd name="T43" fmla="*/ 34 h 153"/>
                    <a:gd name="T44" fmla="*/ 72 w 114"/>
                    <a:gd name="T45" fmla="*/ 63 h 153"/>
                    <a:gd name="T46" fmla="*/ 48 w 114"/>
                    <a:gd name="T47" fmla="*/ 50 h 153"/>
                    <a:gd name="T48" fmla="*/ 28 w 114"/>
                    <a:gd name="T49" fmla="*/ 34 h 153"/>
                    <a:gd name="T50" fmla="*/ 43 w 114"/>
                    <a:gd name="T51" fmla="*/ 60 h 153"/>
                    <a:gd name="T52" fmla="*/ 26 w 114"/>
                    <a:gd name="T53" fmla="*/ 50 h 153"/>
                    <a:gd name="T54" fmla="*/ 7 w 114"/>
                    <a:gd name="T55" fmla="*/ 35 h 153"/>
                    <a:gd name="T56" fmla="*/ 5 w 114"/>
                    <a:gd name="T57" fmla="*/ 67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4" h="153">
                      <a:moveTo>
                        <a:pt x="5" y="67"/>
                      </a:moveTo>
                      <a:cubicBezTo>
                        <a:pt x="5" y="67"/>
                        <a:pt x="2" y="77"/>
                        <a:pt x="33" y="74"/>
                      </a:cubicBezTo>
                      <a:cubicBezTo>
                        <a:pt x="33" y="74"/>
                        <a:pt x="36" y="73"/>
                        <a:pt x="26" y="85"/>
                      </a:cubicBezTo>
                      <a:cubicBezTo>
                        <a:pt x="17" y="96"/>
                        <a:pt x="18" y="98"/>
                        <a:pt x="18" y="108"/>
                      </a:cubicBezTo>
                      <a:cubicBezTo>
                        <a:pt x="18" y="118"/>
                        <a:pt x="6" y="143"/>
                        <a:pt x="9" y="148"/>
                      </a:cubicBezTo>
                      <a:cubicBezTo>
                        <a:pt x="12" y="153"/>
                        <a:pt x="27" y="144"/>
                        <a:pt x="36" y="131"/>
                      </a:cubicBezTo>
                      <a:cubicBezTo>
                        <a:pt x="44" y="117"/>
                        <a:pt x="56" y="90"/>
                        <a:pt x="60" y="85"/>
                      </a:cubicBezTo>
                      <a:cubicBezTo>
                        <a:pt x="64" y="81"/>
                        <a:pt x="70" y="93"/>
                        <a:pt x="65" y="101"/>
                      </a:cubicBezTo>
                      <a:cubicBezTo>
                        <a:pt x="60" y="109"/>
                        <a:pt x="58" y="117"/>
                        <a:pt x="60" y="117"/>
                      </a:cubicBezTo>
                      <a:cubicBezTo>
                        <a:pt x="62" y="118"/>
                        <a:pt x="72" y="104"/>
                        <a:pt x="74" y="99"/>
                      </a:cubicBezTo>
                      <a:cubicBezTo>
                        <a:pt x="76" y="93"/>
                        <a:pt x="78" y="89"/>
                        <a:pt x="76" y="83"/>
                      </a:cubicBezTo>
                      <a:cubicBezTo>
                        <a:pt x="75" y="77"/>
                        <a:pt x="88" y="82"/>
                        <a:pt x="90" y="89"/>
                      </a:cubicBezTo>
                      <a:cubicBezTo>
                        <a:pt x="92" y="97"/>
                        <a:pt x="104" y="121"/>
                        <a:pt x="90" y="130"/>
                      </a:cubicBezTo>
                      <a:cubicBezTo>
                        <a:pt x="75" y="139"/>
                        <a:pt x="114" y="143"/>
                        <a:pt x="108" y="110"/>
                      </a:cubicBezTo>
                      <a:cubicBezTo>
                        <a:pt x="108" y="110"/>
                        <a:pt x="102" y="76"/>
                        <a:pt x="104" y="60"/>
                      </a:cubicBezTo>
                      <a:cubicBezTo>
                        <a:pt x="107" y="44"/>
                        <a:pt x="113" y="20"/>
                        <a:pt x="95" y="9"/>
                      </a:cubicBezTo>
                      <a:cubicBezTo>
                        <a:pt x="95" y="9"/>
                        <a:pt x="97" y="21"/>
                        <a:pt x="88" y="16"/>
                      </a:cubicBezTo>
                      <a:cubicBezTo>
                        <a:pt x="78" y="11"/>
                        <a:pt x="59" y="0"/>
                        <a:pt x="52" y="5"/>
                      </a:cubicBezTo>
                      <a:cubicBezTo>
                        <a:pt x="52" y="5"/>
                        <a:pt x="69" y="15"/>
                        <a:pt x="88" y="35"/>
                      </a:cubicBezTo>
                      <a:cubicBezTo>
                        <a:pt x="88" y="35"/>
                        <a:pt x="96" y="51"/>
                        <a:pt x="86" y="47"/>
                      </a:cubicBezTo>
                      <a:cubicBezTo>
                        <a:pt x="76" y="43"/>
                        <a:pt x="57" y="18"/>
                        <a:pt x="48" y="19"/>
                      </a:cubicBezTo>
                      <a:cubicBezTo>
                        <a:pt x="48" y="19"/>
                        <a:pt x="33" y="15"/>
                        <a:pt x="54" y="34"/>
                      </a:cubicBezTo>
                      <a:cubicBezTo>
                        <a:pt x="54" y="34"/>
                        <a:pt x="77" y="59"/>
                        <a:pt x="72" y="63"/>
                      </a:cubicBezTo>
                      <a:cubicBezTo>
                        <a:pt x="68" y="66"/>
                        <a:pt x="63" y="67"/>
                        <a:pt x="48" y="50"/>
                      </a:cubicBezTo>
                      <a:cubicBezTo>
                        <a:pt x="48" y="50"/>
                        <a:pt x="28" y="29"/>
                        <a:pt x="28" y="34"/>
                      </a:cubicBezTo>
                      <a:cubicBezTo>
                        <a:pt x="28" y="34"/>
                        <a:pt x="46" y="57"/>
                        <a:pt x="43" y="60"/>
                      </a:cubicBezTo>
                      <a:cubicBezTo>
                        <a:pt x="40" y="63"/>
                        <a:pt x="38" y="65"/>
                        <a:pt x="26" y="50"/>
                      </a:cubicBezTo>
                      <a:cubicBezTo>
                        <a:pt x="13" y="35"/>
                        <a:pt x="7" y="35"/>
                        <a:pt x="7" y="35"/>
                      </a:cubicBezTo>
                      <a:cubicBezTo>
                        <a:pt x="7" y="35"/>
                        <a:pt x="0" y="63"/>
                        <a:pt x="5" y="67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4" name="Freeform 109">
                  <a:extLst>
                    <a:ext uri="{FF2B5EF4-FFF2-40B4-BE49-F238E27FC236}">
                      <a16:creationId xmlns:a16="http://schemas.microsoft.com/office/drawing/2014/main" id="{527EF605-9540-4597-8DFB-F9BED3F3B0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53383" y="3265903"/>
                  <a:ext cx="92645" cy="56351"/>
                </a:xfrm>
                <a:custGeom>
                  <a:avLst/>
                  <a:gdLst>
                    <a:gd name="T0" fmla="*/ 41 w 41"/>
                    <a:gd name="T1" fmla="*/ 2 h 25"/>
                    <a:gd name="T2" fmla="*/ 32 w 41"/>
                    <a:gd name="T3" fmla="*/ 14 h 25"/>
                    <a:gd name="T4" fmla="*/ 18 w 41"/>
                    <a:gd name="T5" fmla="*/ 24 h 25"/>
                    <a:gd name="T6" fmla="*/ 18 w 41"/>
                    <a:gd name="T7" fmla="*/ 12 h 25"/>
                    <a:gd name="T8" fmla="*/ 41 w 41"/>
                    <a:gd name="T9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25">
                      <a:moveTo>
                        <a:pt x="41" y="2"/>
                      </a:moveTo>
                      <a:cubicBezTo>
                        <a:pt x="41" y="2"/>
                        <a:pt x="38" y="12"/>
                        <a:pt x="32" y="14"/>
                      </a:cubicBezTo>
                      <a:cubicBezTo>
                        <a:pt x="27" y="16"/>
                        <a:pt x="24" y="24"/>
                        <a:pt x="18" y="24"/>
                      </a:cubicBezTo>
                      <a:cubicBezTo>
                        <a:pt x="11" y="24"/>
                        <a:pt x="0" y="25"/>
                        <a:pt x="18" y="12"/>
                      </a:cubicBezTo>
                      <a:cubicBezTo>
                        <a:pt x="37" y="0"/>
                        <a:pt x="38" y="4"/>
                        <a:pt x="41" y="2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5" name="Freeform 111">
                  <a:extLst>
                    <a:ext uri="{FF2B5EF4-FFF2-40B4-BE49-F238E27FC236}">
                      <a16:creationId xmlns:a16="http://schemas.microsoft.com/office/drawing/2014/main" id="{25292D49-4E9E-468F-81E1-B8B20420CD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29789" y="3314612"/>
                  <a:ext cx="60171" cy="49665"/>
                </a:xfrm>
                <a:custGeom>
                  <a:avLst/>
                  <a:gdLst>
                    <a:gd name="T0" fmla="*/ 26 w 27"/>
                    <a:gd name="T1" fmla="*/ 17 h 22"/>
                    <a:gd name="T2" fmla="*/ 12 w 27"/>
                    <a:gd name="T3" fmla="*/ 4 h 22"/>
                    <a:gd name="T4" fmla="*/ 22 w 27"/>
                    <a:gd name="T5" fmla="*/ 19 h 22"/>
                    <a:gd name="T6" fmla="*/ 26 w 27"/>
                    <a:gd name="T7" fmla="*/ 1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22">
                      <a:moveTo>
                        <a:pt x="26" y="17"/>
                      </a:moveTo>
                      <a:cubicBezTo>
                        <a:pt x="26" y="17"/>
                        <a:pt x="23" y="8"/>
                        <a:pt x="12" y="4"/>
                      </a:cubicBezTo>
                      <a:cubicBezTo>
                        <a:pt x="0" y="0"/>
                        <a:pt x="18" y="16"/>
                        <a:pt x="22" y="19"/>
                      </a:cubicBezTo>
                      <a:cubicBezTo>
                        <a:pt x="27" y="22"/>
                        <a:pt x="26" y="17"/>
                        <a:pt x="26" y="17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113">
                  <a:extLst>
                    <a:ext uri="{FF2B5EF4-FFF2-40B4-BE49-F238E27FC236}">
                      <a16:creationId xmlns:a16="http://schemas.microsoft.com/office/drawing/2014/main" id="{C203684A-BE1D-4600-8C37-8B7378CA9F2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66654" y="3221968"/>
                  <a:ext cx="94555" cy="76408"/>
                </a:xfrm>
                <a:custGeom>
                  <a:avLst/>
                  <a:gdLst>
                    <a:gd name="T0" fmla="*/ 42 w 42"/>
                    <a:gd name="T1" fmla="*/ 0 h 34"/>
                    <a:gd name="T2" fmla="*/ 30 w 42"/>
                    <a:gd name="T3" fmla="*/ 20 h 34"/>
                    <a:gd name="T4" fmla="*/ 5 w 42"/>
                    <a:gd name="T5" fmla="*/ 32 h 34"/>
                    <a:gd name="T6" fmla="*/ 14 w 42"/>
                    <a:gd name="T7" fmla="*/ 20 h 34"/>
                    <a:gd name="T8" fmla="*/ 42 w 42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34">
                      <a:moveTo>
                        <a:pt x="42" y="0"/>
                      </a:moveTo>
                      <a:cubicBezTo>
                        <a:pt x="42" y="0"/>
                        <a:pt x="37" y="17"/>
                        <a:pt x="30" y="20"/>
                      </a:cubicBezTo>
                      <a:cubicBezTo>
                        <a:pt x="24" y="24"/>
                        <a:pt x="10" y="34"/>
                        <a:pt x="5" y="32"/>
                      </a:cubicBezTo>
                      <a:cubicBezTo>
                        <a:pt x="0" y="30"/>
                        <a:pt x="6" y="24"/>
                        <a:pt x="14" y="20"/>
                      </a:cubicBezTo>
                      <a:cubicBezTo>
                        <a:pt x="23" y="15"/>
                        <a:pt x="36" y="6"/>
                        <a:pt x="42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114">
                  <a:extLst>
                    <a:ext uri="{FF2B5EF4-FFF2-40B4-BE49-F238E27FC236}">
                      <a16:creationId xmlns:a16="http://schemas.microsoft.com/office/drawing/2014/main" id="{4FC01E38-7044-4773-912D-B038AE5FA5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74580" y="3217193"/>
                  <a:ext cx="97420" cy="120342"/>
                </a:xfrm>
                <a:custGeom>
                  <a:avLst/>
                  <a:gdLst>
                    <a:gd name="T0" fmla="*/ 30 w 43"/>
                    <a:gd name="T1" fmla="*/ 2 h 53"/>
                    <a:gd name="T2" fmla="*/ 21 w 43"/>
                    <a:gd name="T3" fmla="*/ 10 h 53"/>
                    <a:gd name="T4" fmla="*/ 15 w 43"/>
                    <a:gd name="T5" fmla="*/ 0 h 53"/>
                    <a:gd name="T6" fmla="*/ 8 w 43"/>
                    <a:gd name="T7" fmla="*/ 15 h 53"/>
                    <a:gd name="T8" fmla="*/ 0 w 43"/>
                    <a:gd name="T9" fmla="*/ 28 h 53"/>
                    <a:gd name="T10" fmla="*/ 7 w 43"/>
                    <a:gd name="T11" fmla="*/ 30 h 53"/>
                    <a:gd name="T12" fmla="*/ 9 w 43"/>
                    <a:gd name="T13" fmla="*/ 41 h 53"/>
                    <a:gd name="T14" fmla="*/ 18 w 43"/>
                    <a:gd name="T15" fmla="*/ 53 h 53"/>
                    <a:gd name="T16" fmla="*/ 37 w 43"/>
                    <a:gd name="T17" fmla="*/ 32 h 53"/>
                    <a:gd name="T18" fmla="*/ 30 w 43"/>
                    <a:gd name="T19" fmla="*/ 2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" h="53">
                      <a:moveTo>
                        <a:pt x="30" y="2"/>
                      </a:moveTo>
                      <a:cubicBezTo>
                        <a:pt x="30" y="2"/>
                        <a:pt x="24" y="13"/>
                        <a:pt x="21" y="10"/>
                      </a:cubicBezTo>
                      <a:cubicBezTo>
                        <a:pt x="18" y="6"/>
                        <a:pt x="14" y="7"/>
                        <a:pt x="15" y="0"/>
                      </a:cubicBezTo>
                      <a:cubicBezTo>
                        <a:pt x="15" y="0"/>
                        <a:pt x="14" y="7"/>
                        <a:pt x="8" y="15"/>
                      </a:cubicBezTo>
                      <a:cubicBezTo>
                        <a:pt x="8" y="15"/>
                        <a:pt x="0" y="22"/>
                        <a:pt x="0" y="28"/>
                      </a:cubicBezTo>
                      <a:cubicBezTo>
                        <a:pt x="0" y="28"/>
                        <a:pt x="0" y="31"/>
                        <a:pt x="7" y="30"/>
                      </a:cubicBezTo>
                      <a:cubicBezTo>
                        <a:pt x="7" y="30"/>
                        <a:pt x="2" y="36"/>
                        <a:pt x="9" y="41"/>
                      </a:cubicBezTo>
                      <a:cubicBezTo>
                        <a:pt x="9" y="41"/>
                        <a:pt x="11" y="53"/>
                        <a:pt x="18" y="53"/>
                      </a:cubicBezTo>
                      <a:cubicBezTo>
                        <a:pt x="24" y="53"/>
                        <a:pt x="38" y="36"/>
                        <a:pt x="37" y="32"/>
                      </a:cubicBezTo>
                      <a:cubicBezTo>
                        <a:pt x="37" y="32"/>
                        <a:pt x="43" y="20"/>
                        <a:pt x="30" y="2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15">
                  <a:extLst>
                    <a:ext uri="{FF2B5EF4-FFF2-40B4-BE49-F238E27FC236}">
                      <a16:creationId xmlns:a16="http://schemas.microsoft.com/office/drawing/2014/main" id="{4529DA30-D244-4D77-AF09-121428F04C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27781" y="3691258"/>
                  <a:ext cx="286155" cy="78195"/>
                </a:xfrm>
                <a:custGeom>
                  <a:avLst/>
                  <a:gdLst>
                    <a:gd name="T0" fmla="*/ 0 w 134"/>
                    <a:gd name="T1" fmla="*/ 1 h 59"/>
                    <a:gd name="T2" fmla="*/ 48 w 134"/>
                    <a:gd name="T3" fmla="*/ 25 h 59"/>
                    <a:gd name="T4" fmla="*/ 116 w 134"/>
                    <a:gd name="T5" fmla="*/ 7 h 59"/>
                    <a:gd name="T6" fmla="*/ 133 w 134"/>
                    <a:gd name="T7" fmla="*/ 8 h 59"/>
                    <a:gd name="T8" fmla="*/ 110 w 134"/>
                    <a:gd name="T9" fmla="*/ 43 h 59"/>
                    <a:gd name="T10" fmla="*/ 20 w 134"/>
                    <a:gd name="T11" fmla="*/ 35 h 59"/>
                    <a:gd name="T12" fmla="*/ 0 w 134"/>
                    <a:gd name="T13" fmla="*/ 1 h 59"/>
                    <a:gd name="connsiteX0" fmla="*/ 0 w 9557"/>
                    <a:gd name="connsiteY0" fmla="*/ 0 h 8229"/>
                    <a:gd name="connsiteX1" fmla="*/ 3582 w 9557"/>
                    <a:gd name="connsiteY1" fmla="*/ 4068 h 8229"/>
                    <a:gd name="connsiteX2" fmla="*/ 8657 w 9557"/>
                    <a:gd name="connsiteY2" fmla="*/ 1017 h 8229"/>
                    <a:gd name="connsiteX3" fmla="*/ 9546 w 9557"/>
                    <a:gd name="connsiteY3" fmla="*/ 2914 h 8229"/>
                    <a:gd name="connsiteX4" fmla="*/ 8209 w 9557"/>
                    <a:gd name="connsiteY4" fmla="*/ 7119 h 8229"/>
                    <a:gd name="connsiteX5" fmla="*/ 1493 w 9557"/>
                    <a:gd name="connsiteY5" fmla="*/ 5763 h 8229"/>
                    <a:gd name="connsiteX6" fmla="*/ 0 w 9557"/>
                    <a:gd name="connsiteY6" fmla="*/ 0 h 8229"/>
                    <a:gd name="connsiteX0" fmla="*/ 0 w 10000"/>
                    <a:gd name="connsiteY0" fmla="*/ 0 h 9390"/>
                    <a:gd name="connsiteX1" fmla="*/ 3748 w 10000"/>
                    <a:gd name="connsiteY1" fmla="*/ 4943 h 9390"/>
                    <a:gd name="connsiteX2" fmla="*/ 9058 w 10000"/>
                    <a:gd name="connsiteY2" fmla="*/ 1236 h 9390"/>
                    <a:gd name="connsiteX3" fmla="*/ 9988 w 10000"/>
                    <a:gd name="connsiteY3" fmla="*/ 3541 h 9390"/>
                    <a:gd name="connsiteX4" fmla="*/ 8590 w 10000"/>
                    <a:gd name="connsiteY4" fmla="*/ 8651 h 9390"/>
                    <a:gd name="connsiteX5" fmla="*/ 1760 w 10000"/>
                    <a:gd name="connsiteY5" fmla="*/ 5692 h 9390"/>
                    <a:gd name="connsiteX6" fmla="*/ 0 w 10000"/>
                    <a:gd name="connsiteY6" fmla="*/ 0 h 9390"/>
                    <a:gd name="connsiteX0" fmla="*/ 0 w 10008"/>
                    <a:gd name="connsiteY0" fmla="*/ 0 h 8913"/>
                    <a:gd name="connsiteX1" fmla="*/ 3748 w 10008"/>
                    <a:gd name="connsiteY1" fmla="*/ 5264 h 8913"/>
                    <a:gd name="connsiteX2" fmla="*/ 9058 w 10008"/>
                    <a:gd name="connsiteY2" fmla="*/ 1316 h 8913"/>
                    <a:gd name="connsiteX3" fmla="*/ 9988 w 10008"/>
                    <a:gd name="connsiteY3" fmla="*/ 3771 h 8913"/>
                    <a:gd name="connsiteX4" fmla="*/ 8392 w 10008"/>
                    <a:gd name="connsiteY4" fmla="*/ 6978 h 8913"/>
                    <a:gd name="connsiteX5" fmla="*/ 1760 w 10008"/>
                    <a:gd name="connsiteY5" fmla="*/ 6062 h 8913"/>
                    <a:gd name="connsiteX6" fmla="*/ 0 w 10008"/>
                    <a:gd name="connsiteY6" fmla="*/ 0 h 8913"/>
                    <a:gd name="connsiteX0" fmla="*/ 0 w 9995"/>
                    <a:gd name="connsiteY0" fmla="*/ 0 h 9593"/>
                    <a:gd name="connsiteX1" fmla="*/ 3745 w 9995"/>
                    <a:gd name="connsiteY1" fmla="*/ 5906 h 9593"/>
                    <a:gd name="connsiteX2" fmla="*/ 9051 w 9995"/>
                    <a:gd name="connsiteY2" fmla="*/ 1476 h 9593"/>
                    <a:gd name="connsiteX3" fmla="*/ 9980 w 9995"/>
                    <a:gd name="connsiteY3" fmla="*/ 4231 h 9593"/>
                    <a:gd name="connsiteX4" fmla="*/ 8484 w 9995"/>
                    <a:gd name="connsiteY4" fmla="*/ 6576 h 9593"/>
                    <a:gd name="connsiteX5" fmla="*/ 1759 w 9995"/>
                    <a:gd name="connsiteY5" fmla="*/ 6801 h 9593"/>
                    <a:gd name="connsiteX6" fmla="*/ 0 w 9995"/>
                    <a:gd name="connsiteY6" fmla="*/ 0 h 9593"/>
                    <a:gd name="connsiteX0" fmla="*/ 0 w 10000"/>
                    <a:gd name="connsiteY0" fmla="*/ 0 h 10000"/>
                    <a:gd name="connsiteX1" fmla="*/ 3747 w 10000"/>
                    <a:gd name="connsiteY1" fmla="*/ 6157 h 10000"/>
                    <a:gd name="connsiteX2" fmla="*/ 9056 w 10000"/>
                    <a:gd name="connsiteY2" fmla="*/ 1539 h 10000"/>
                    <a:gd name="connsiteX3" fmla="*/ 9985 w 10000"/>
                    <a:gd name="connsiteY3" fmla="*/ 4411 h 10000"/>
                    <a:gd name="connsiteX4" fmla="*/ 8488 w 10000"/>
                    <a:gd name="connsiteY4" fmla="*/ 6855 h 10000"/>
                    <a:gd name="connsiteX5" fmla="*/ 1760 w 10000"/>
                    <a:gd name="connsiteY5" fmla="*/ 7090 h 10000"/>
                    <a:gd name="connsiteX6" fmla="*/ 0 w 10000"/>
                    <a:gd name="connsiteY6" fmla="*/ 0 h 10000"/>
                    <a:gd name="connsiteX0" fmla="*/ 0 w 10000"/>
                    <a:gd name="connsiteY0" fmla="*/ 0 h 8915"/>
                    <a:gd name="connsiteX1" fmla="*/ 3747 w 10000"/>
                    <a:gd name="connsiteY1" fmla="*/ 6157 h 8915"/>
                    <a:gd name="connsiteX2" fmla="*/ 9056 w 10000"/>
                    <a:gd name="connsiteY2" fmla="*/ 1539 h 8915"/>
                    <a:gd name="connsiteX3" fmla="*/ 9985 w 10000"/>
                    <a:gd name="connsiteY3" fmla="*/ 4411 h 8915"/>
                    <a:gd name="connsiteX4" fmla="*/ 8488 w 10000"/>
                    <a:gd name="connsiteY4" fmla="*/ 6855 h 8915"/>
                    <a:gd name="connsiteX5" fmla="*/ 1661 w 10000"/>
                    <a:gd name="connsiteY5" fmla="*/ 5457 h 8915"/>
                    <a:gd name="connsiteX6" fmla="*/ 0 w 10000"/>
                    <a:gd name="connsiteY6" fmla="*/ 0 h 8915"/>
                    <a:gd name="connsiteX0" fmla="*/ 0 w 9449"/>
                    <a:gd name="connsiteY0" fmla="*/ 0 h 10000"/>
                    <a:gd name="connsiteX1" fmla="*/ 3747 w 9449"/>
                    <a:gd name="connsiteY1" fmla="*/ 6906 h 10000"/>
                    <a:gd name="connsiteX2" fmla="*/ 9056 w 9449"/>
                    <a:gd name="connsiteY2" fmla="*/ 1726 h 10000"/>
                    <a:gd name="connsiteX3" fmla="*/ 9193 w 9449"/>
                    <a:gd name="connsiteY3" fmla="*/ 5681 h 10000"/>
                    <a:gd name="connsiteX4" fmla="*/ 8488 w 9449"/>
                    <a:gd name="connsiteY4" fmla="*/ 7689 h 10000"/>
                    <a:gd name="connsiteX5" fmla="*/ 1661 w 9449"/>
                    <a:gd name="connsiteY5" fmla="*/ 6121 h 10000"/>
                    <a:gd name="connsiteX6" fmla="*/ 0 w 9449"/>
                    <a:gd name="connsiteY6" fmla="*/ 0 h 10000"/>
                    <a:gd name="connsiteX0" fmla="*/ 0 w 10390"/>
                    <a:gd name="connsiteY0" fmla="*/ 0 h 10000"/>
                    <a:gd name="connsiteX1" fmla="*/ 3965 w 10390"/>
                    <a:gd name="connsiteY1" fmla="*/ 6906 h 10000"/>
                    <a:gd name="connsiteX2" fmla="*/ 10108 w 10390"/>
                    <a:gd name="connsiteY2" fmla="*/ 1726 h 10000"/>
                    <a:gd name="connsiteX3" fmla="*/ 9729 w 10390"/>
                    <a:gd name="connsiteY3" fmla="*/ 5681 h 10000"/>
                    <a:gd name="connsiteX4" fmla="*/ 8983 w 10390"/>
                    <a:gd name="connsiteY4" fmla="*/ 7689 h 10000"/>
                    <a:gd name="connsiteX5" fmla="*/ 1758 w 10390"/>
                    <a:gd name="connsiteY5" fmla="*/ 6121 h 10000"/>
                    <a:gd name="connsiteX6" fmla="*/ 0 w 10390"/>
                    <a:gd name="connsiteY6" fmla="*/ 0 h 10000"/>
                    <a:gd name="connsiteX0" fmla="*/ 0 w 10463"/>
                    <a:gd name="connsiteY0" fmla="*/ 0 h 10000"/>
                    <a:gd name="connsiteX1" fmla="*/ 3965 w 10463"/>
                    <a:gd name="connsiteY1" fmla="*/ 6906 h 10000"/>
                    <a:gd name="connsiteX2" fmla="*/ 10108 w 10463"/>
                    <a:gd name="connsiteY2" fmla="*/ 1726 h 10000"/>
                    <a:gd name="connsiteX3" fmla="*/ 10043 w 10463"/>
                    <a:gd name="connsiteY3" fmla="*/ 5681 h 10000"/>
                    <a:gd name="connsiteX4" fmla="*/ 8983 w 10463"/>
                    <a:gd name="connsiteY4" fmla="*/ 7689 h 10000"/>
                    <a:gd name="connsiteX5" fmla="*/ 1758 w 10463"/>
                    <a:gd name="connsiteY5" fmla="*/ 6121 h 10000"/>
                    <a:gd name="connsiteX6" fmla="*/ 0 w 10463"/>
                    <a:gd name="connsiteY6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63" h="10000">
                      <a:moveTo>
                        <a:pt x="0" y="0"/>
                      </a:moveTo>
                      <a:cubicBezTo>
                        <a:pt x="0" y="0"/>
                        <a:pt x="1571" y="5467"/>
                        <a:pt x="3965" y="6906"/>
                      </a:cubicBezTo>
                      <a:cubicBezTo>
                        <a:pt x="6444" y="8057"/>
                        <a:pt x="9447" y="3454"/>
                        <a:pt x="10108" y="1726"/>
                      </a:cubicBezTo>
                      <a:cubicBezTo>
                        <a:pt x="10850" y="-286"/>
                        <a:pt x="10231" y="4687"/>
                        <a:pt x="10043" y="5681"/>
                      </a:cubicBezTo>
                      <a:cubicBezTo>
                        <a:pt x="9856" y="6675"/>
                        <a:pt x="10778" y="3972"/>
                        <a:pt x="8983" y="7689"/>
                      </a:cubicBezTo>
                      <a:cubicBezTo>
                        <a:pt x="7165" y="8841"/>
                        <a:pt x="5143" y="13027"/>
                        <a:pt x="1758" y="6121"/>
                      </a:cubicBezTo>
                      <a:cubicBezTo>
                        <a:pt x="1758" y="6121"/>
                        <a:pt x="661" y="6906"/>
                        <a:pt x="0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27">
                  <a:extLst>
                    <a:ext uri="{FF2B5EF4-FFF2-40B4-BE49-F238E27FC236}">
                      <a16:creationId xmlns:a16="http://schemas.microsoft.com/office/drawing/2014/main" id="{789FA5F4-36BC-443F-8B22-633D5A41320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85471" y="2795995"/>
                  <a:ext cx="137534" cy="169052"/>
                </a:xfrm>
                <a:custGeom>
                  <a:avLst/>
                  <a:gdLst>
                    <a:gd name="T0" fmla="*/ 2 w 61"/>
                    <a:gd name="T1" fmla="*/ 0 h 75"/>
                    <a:gd name="T2" fmla="*/ 55 w 61"/>
                    <a:gd name="T3" fmla="*/ 73 h 75"/>
                    <a:gd name="T4" fmla="*/ 2 w 61"/>
                    <a:gd name="T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1" h="75">
                      <a:moveTo>
                        <a:pt x="2" y="0"/>
                      </a:moveTo>
                      <a:cubicBezTo>
                        <a:pt x="2" y="0"/>
                        <a:pt x="49" y="71"/>
                        <a:pt x="55" y="73"/>
                      </a:cubicBezTo>
                      <a:cubicBezTo>
                        <a:pt x="61" y="75"/>
                        <a:pt x="0" y="48"/>
                        <a:pt x="2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1">
                  <a:extLst>
                    <a:ext uri="{FF2B5EF4-FFF2-40B4-BE49-F238E27FC236}">
                      <a16:creationId xmlns:a16="http://schemas.microsoft.com/office/drawing/2014/main" id="{CA3A2342-3A4D-4AE8-9928-09B3C53A0A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88540"/>
                  <a:ext cx="21968" cy="10506"/>
                </a:xfrm>
                <a:custGeom>
                  <a:avLst/>
                  <a:gdLst>
                    <a:gd name="T0" fmla="*/ 0 w 10"/>
                    <a:gd name="T1" fmla="*/ 2 h 5"/>
                    <a:gd name="T2" fmla="*/ 10 w 10"/>
                    <a:gd name="T3" fmla="*/ 5 h 5"/>
                    <a:gd name="T4" fmla="*/ 0 w 10"/>
                    <a:gd name="T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5">
                      <a:moveTo>
                        <a:pt x="0" y="2"/>
                      </a:moveTo>
                      <a:cubicBezTo>
                        <a:pt x="3" y="3"/>
                        <a:pt x="7" y="4"/>
                        <a:pt x="10" y="5"/>
                      </a:cubicBezTo>
                      <a:cubicBezTo>
                        <a:pt x="9" y="2"/>
                        <a:pt x="6" y="0"/>
                        <a:pt x="0" y="2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3">
                  <a:extLst>
                    <a:ext uri="{FF2B5EF4-FFF2-40B4-BE49-F238E27FC236}">
                      <a16:creationId xmlns:a16="http://schemas.microsoft.com/office/drawing/2014/main" id="{C02193FF-E9C1-433C-851C-0B4D2E5544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90450"/>
                  <a:ext cx="10506" cy="6686"/>
                </a:xfrm>
                <a:custGeom>
                  <a:avLst/>
                  <a:gdLst>
                    <a:gd name="T0" fmla="*/ 0 w 5"/>
                    <a:gd name="T1" fmla="*/ 1 h 3"/>
                    <a:gd name="T2" fmla="*/ 5 w 5"/>
                    <a:gd name="T3" fmla="*/ 3 h 3"/>
                    <a:gd name="T4" fmla="*/ 5 w 5"/>
                    <a:gd name="T5" fmla="*/ 0 h 3"/>
                    <a:gd name="T6" fmla="*/ 0 w 5"/>
                    <a:gd name="T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cubicBezTo>
                        <a:pt x="1" y="2"/>
                        <a:pt x="3" y="2"/>
                        <a:pt x="5" y="3"/>
                      </a:cubicBezTo>
                      <a:cubicBezTo>
                        <a:pt x="5" y="2"/>
                        <a:pt x="5" y="1"/>
                        <a:pt x="5" y="0"/>
                      </a:cubicBezTo>
                      <a:cubicBezTo>
                        <a:pt x="4" y="0"/>
                        <a:pt x="2" y="0"/>
                        <a:pt x="0" y="1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21">
                  <a:extLst>
                    <a:ext uri="{FF2B5EF4-FFF2-40B4-BE49-F238E27FC236}">
                      <a16:creationId xmlns:a16="http://schemas.microsoft.com/office/drawing/2014/main" id="{BE37E52C-9A4F-405D-96F7-56C82A1CEE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068" y="4919175"/>
                  <a:ext cx="261696" cy="243550"/>
                </a:xfrm>
                <a:custGeom>
                  <a:avLst/>
                  <a:gdLst>
                    <a:gd name="T0" fmla="*/ 111 w 116"/>
                    <a:gd name="T1" fmla="*/ 9 h 108"/>
                    <a:gd name="T2" fmla="*/ 110 w 116"/>
                    <a:gd name="T3" fmla="*/ 7 h 108"/>
                    <a:gd name="T4" fmla="*/ 41 w 116"/>
                    <a:gd name="T5" fmla="*/ 9 h 108"/>
                    <a:gd name="T6" fmla="*/ 40 w 116"/>
                    <a:gd name="T7" fmla="*/ 12 h 108"/>
                    <a:gd name="T8" fmla="*/ 22 w 116"/>
                    <a:gd name="T9" fmla="*/ 45 h 108"/>
                    <a:gd name="T10" fmla="*/ 4 w 116"/>
                    <a:gd name="T11" fmla="*/ 88 h 108"/>
                    <a:gd name="T12" fmla="*/ 35 w 116"/>
                    <a:gd name="T13" fmla="*/ 108 h 108"/>
                    <a:gd name="T14" fmla="*/ 85 w 116"/>
                    <a:gd name="T15" fmla="*/ 91 h 108"/>
                    <a:gd name="T16" fmla="*/ 89 w 116"/>
                    <a:gd name="T17" fmla="*/ 60 h 108"/>
                    <a:gd name="T18" fmla="*/ 114 w 116"/>
                    <a:gd name="T19" fmla="*/ 39 h 108"/>
                    <a:gd name="T20" fmla="*/ 111 w 116"/>
                    <a:gd name="T21" fmla="*/ 9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6" h="108">
                      <a:moveTo>
                        <a:pt x="111" y="9"/>
                      </a:moveTo>
                      <a:cubicBezTo>
                        <a:pt x="111" y="9"/>
                        <a:pt x="110" y="8"/>
                        <a:pt x="110" y="7"/>
                      </a:cubicBezTo>
                      <a:cubicBezTo>
                        <a:pt x="103" y="0"/>
                        <a:pt x="115" y="23"/>
                        <a:pt x="41" y="9"/>
                      </a:cubicBezTo>
                      <a:cubicBezTo>
                        <a:pt x="41" y="9"/>
                        <a:pt x="40" y="10"/>
                        <a:pt x="40" y="12"/>
                      </a:cubicBezTo>
                      <a:cubicBezTo>
                        <a:pt x="37" y="20"/>
                        <a:pt x="30" y="40"/>
                        <a:pt x="22" y="45"/>
                      </a:cubicBezTo>
                      <a:cubicBezTo>
                        <a:pt x="12" y="52"/>
                        <a:pt x="0" y="79"/>
                        <a:pt x="4" y="88"/>
                      </a:cubicBezTo>
                      <a:cubicBezTo>
                        <a:pt x="8" y="97"/>
                        <a:pt x="12" y="108"/>
                        <a:pt x="35" y="108"/>
                      </a:cubicBezTo>
                      <a:cubicBezTo>
                        <a:pt x="58" y="108"/>
                        <a:pt x="82" y="97"/>
                        <a:pt x="85" y="91"/>
                      </a:cubicBezTo>
                      <a:cubicBezTo>
                        <a:pt x="88" y="85"/>
                        <a:pt x="83" y="63"/>
                        <a:pt x="89" y="60"/>
                      </a:cubicBezTo>
                      <a:cubicBezTo>
                        <a:pt x="95" y="57"/>
                        <a:pt x="112" y="44"/>
                        <a:pt x="114" y="39"/>
                      </a:cubicBezTo>
                      <a:cubicBezTo>
                        <a:pt x="115" y="35"/>
                        <a:pt x="116" y="18"/>
                        <a:pt x="111" y="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22">
                  <a:extLst>
                    <a:ext uri="{FF2B5EF4-FFF2-40B4-BE49-F238E27FC236}">
                      <a16:creationId xmlns:a16="http://schemas.microsoft.com/office/drawing/2014/main" id="{4BB0B3F2-01B5-4071-9743-5BD6AD5EC6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9912" y="4783551"/>
                  <a:ext cx="349565" cy="177648"/>
                </a:xfrm>
                <a:custGeom>
                  <a:avLst/>
                  <a:gdLst>
                    <a:gd name="T0" fmla="*/ 127 w 155"/>
                    <a:gd name="T1" fmla="*/ 35 h 79"/>
                    <a:gd name="T2" fmla="*/ 98 w 155"/>
                    <a:gd name="T3" fmla="*/ 11 h 79"/>
                    <a:gd name="T4" fmla="*/ 98 w 155"/>
                    <a:gd name="T5" fmla="*/ 11 h 79"/>
                    <a:gd name="T6" fmla="*/ 43 w 155"/>
                    <a:gd name="T7" fmla="*/ 14 h 79"/>
                    <a:gd name="T8" fmla="*/ 13 w 155"/>
                    <a:gd name="T9" fmla="*/ 0 h 79"/>
                    <a:gd name="T10" fmla="*/ 10 w 155"/>
                    <a:gd name="T11" fmla="*/ 1 h 79"/>
                    <a:gd name="T12" fmla="*/ 3 w 155"/>
                    <a:gd name="T13" fmla="*/ 23 h 79"/>
                    <a:gd name="T14" fmla="*/ 35 w 155"/>
                    <a:gd name="T15" fmla="*/ 39 h 79"/>
                    <a:gd name="T16" fmla="*/ 37 w 155"/>
                    <a:gd name="T17" fmla="*/ 34 h 79"/>
                    <a:gd name="T18" fmla="*/ 66 w 155"/>
                    <a:gd name="T19" fmla="*/ 62 h 79"/>
                    <a:gd name="T20" fmla="*/ 139 w 155"/>
                    <a:gd name="T21" fmla="*/ 71 h 79"/>
                    <a:gd name="T22" fmla="*/ 127 w 155"/>
                    <a:gd name="T23" fmla="*/ 35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79">
                      <a:moveTo>
                        <a:pt x="127" y="35"/>
                      </a:moveTo>
                      <a:cubicBezTo>
                        <a:pt x="117" y="22"/>
                        <a:pt x="98" y="11"/>
                        <a:pt x="98" y="11"/>
                      </a:cubicBezTo>
                      <a:cubicBezTo>
                        <a:pt x="98" y="11"/>
                        <a:pt x="98" y="11"/>
                        <a:pt x="98" y="11"/>
                      </a:cubicBezTo>
                      <a:cubicBezTo>
                        <a:pt x="97" y="11"/>
                        <a:pt x="62" y="16"/>
                        <a:pt x="43" y="14"/>
                      </a:cubicBezTo>
                      <a:cubicBezTo>
                        <a:pt x="23" y="12"/>
                        <a:pt x="13" y="0"/>
                        <a:pt x="13" y="0"/>
                      </a:cubicBezTo>
                      <a:cubicBezTo>
                        <a:pt x="12" y="0"/>
                        <a:pt x="11" y="0"/>
                        <a:pt x="10" y="1"/>
                      </a:cubicBezTo>
                      <a:cubicBezTo>
                        <a:pt x="0" y="4"/>
                        <a:pt x="3" y="20"/>
                        <a:pt x="3" y="23"/>
                      </a:cubicBezTo>
                      <a:cubicBezTo>
                        <a:pt x="2" y="26"/>
                        <a:pt x="35" y="39"/>
                        <a:pt x="35" y="39"/>
                      </a:cubicBezTo>
                      <a:cubicBezTo>
                        <a:pt x="37" y="34"/>
                        <a:pt x="37" y="34"/>
                        <a:pt x="37" y="34"/>
                      </a:cubicBezTo>
                      <a:cubicBezTo>
                        <a:pt x="49" y="34"/>
                        <a:pt x="50" y="45"/>
                        <a:pt x="66" y="62"/>
                      </a:cubicBezTo>
                      <a:cubicBezTo>
                        <a:pt x="82" y="79"/>
                        <a:pt x="123" y="74"/>
                        <a:pt x="139" y="71"/>
                      </a:cubicBezTo>
                      <a:cubicBezTo>
                        <a:pt x="155" y="68"/>
                        <a:pt x="137" y="48"/>
                        <a:pt x="127" y="3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23">
                  <a:extLst>
                    <a:ext uri="{FF2B5EF4-FFF2-40B4-BE49-F238E27FC236}">
                      <a16:creationId xmlns:a16="http://schemas.microsoft.com/office/drawing/2014/main" id="{8C5B7E1F-C7ED-45A8-9E20-6BCBD62CE4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01522" y="3149381"/>
                  <a:ext cx="77363" cy="117477"/>
                </a:xfrm>
                <a:custGeom>
                  <a:avLst/>
                  <a:gdLst>
                    <a:gd name="T0" fmla="*/ 31 w 34"/>
                    <a:gd name="T1" fmla="*/ 20 h 52"/>
                    <a:gd name="T2" fmla="*/ 34 w 34"/>
                    <a:gd name="T3" fmla="*/ 19 h 52"/>
                    <a:gd name="T4" fmla="*/ 9 w 34"/>
                    <a:gd name="T5" fmla="*/ 0 h 52"/>
                    <a:gd name="T6" fmla="*/ 31 w 34"/>
                    <a:gd name="T7" fmla="*/ 2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52">
                      <a:moveTo>
                        <a:pt x="31" y="20"/>
                      </a:moveTo>
                      <a:cubicBezTo>
                        <a:pt x="32" y="20"/>
                        <a:pt x="33" y="19"/>
                        <a:pt x="34" y="19"/>
                      </a:cubicBezTo>
                      <a:cubicBezTo>
                        <a:pt x="21" y="14"/>
                        <a:pt x="14" y="7"/>
                        <a:pt x="9" y="0"/>
                      </a:cubicBezTo>
                      <a:cubicBezTo>
                        <a:pt x="0" y="52"/>
                        <a:pt x="31" y="20"/>
                        <a:pt x="31" y="20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24">
                  <a:extLst>
                    <a:ext uri="{FF2B5EF4-FFF2-40B4-BE49-F238E27FC236}">
                      <a16:creationId xmlns:a16="http://schemas.microsoft.com/office/drawing/2014/main" id="{F976299F-7AD9-4E26-83A3-B9933E3364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90450"/>
                  <a:ext cx="21968" cy="8596"/>
                </a:xfrm>
                <a:custGeom>
                  <a:avLst/>
                  <a:gdLst>
                    <a:gd name="T0" fmla="*/ 10 w 10"/>
                    <a:gd name="T1" fmla="*/ 4 h 4"/>
                    <a:gd name="T2" fmla="*/ 5 w 10"/>
                    <a:gd name="T3" fmla="*/ 0 h 4"/>
                    <a:gd name="T4" fmla="*/ 0 w 10"/>
                    <a:gd name="T5" fmla="*/ 1 h 4"/>
                    <a:gd name="T6" fmla="*/ 5 w 10"/>
                    <a:gd name="T7" fmla="*/ 3 h 4"/>
                    <a:gd name="T8" fmla="*/ 10 w 10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">
                      <a:moveTo>
                        <a:pt x="10" y="4"/>
                      </a:moveTo>
                      <a:cubicBezTo>
                        <a:pt x="10" y="2"/>
                        <a:pt x="8" y="1"/>
                        <a:pt x="5" y="0"/>
                      </a:cubicBezTo>
                      <a:cubicBezTo>
                        <a:pt x="4" y="0"/>
                        <a:pt x="2" y="0"/>
                        <a:pt x="0" y="1"/>
                      </a:cubicBezTo>
                      <a:cubicBezTo>
                        <a:pt x="1" y="2"/>
                        <a:pt x="3" y="2"/>
                        <a:pt x="5" y="3"/>
                      </a:cubicBezTo>
                      <a:cubicBezTo>
                        <a:pt x="7" y="3"/>
                        <a:pt x="9" y="3"/>
                        <a:pt x="10" y="4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27">
                  <a:extLst>
                    <a:ext uri="{FF2B5EF4-FFF2-40B4-BE49-F238E27FC236}">
                      <a16:creationId xmlns:a16="http://schemas.microsoft.com/office/drawing/2014/main" id="{8D7F5A0D-6308-458A-B45A-C0CBB9D7E9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45072" y="3541926"/>
                  <a:ext cx="562552" cy="1428824"/>
                </a:xfrm>
                <a:custGeom>
                  <a:avLst/>
                  <a:gdLst>
                    <a:gd name="T0" fmla="*/ 200 w 249"/>
                    <a:gd name="T1" fmla="*/ 96 h 633"/>
                    <a:gd name="T2" fmla="*/ 139 w 249"/>
                    <a:gd name="T3" fmla="*/ 76 h 633"/>
                    <a:gd name="T4" fmla="*/ 105 w 249"/>
                    <a:gd name="T5" fmla="*/ 0 h 633"/>
                    <a:gd name="T6" fmla="*/ 49 w 249"/>
                    <a:gd name="T7" fmla="*/ 77 h 633"/>
                    <a:gd name="T8" fmla="*/ 5 w 249"/>
                    <a:gd name="T9" fmla="*/ 64 h 633"/>
                    <a:gd name="T10" fmla="*/ 2 w 249"/>
                    <a:gd name="T11" fmla="*/ 60 h 633"/>
                    <a:gd name="T12" fmla="*/ 9 w 249"/>
                    <a:gd name="T13" fmla="*/ 142 h 633"/>
                    <a:gd name="T14" fmla="*/ 19 w 249"/>
                    <a:gd name="T15" fmla="*/ 213 h 633"/>
                    <a:gd name="T16" fmla="*/ 13 w 249"/>
                    <a:gd name="T17" fmla="*/ 244 h 633"/>
                    <a:gd name="T18" fmla="*/ 9 w 249"/>
                    <a:gd name="T19" fmla="*/ 321 h 633"/>
                    <a:gd name="T20" fmla="*/ 3 w 249"/>
                    <a:gd name="T21" fmla="*/ 400 h 633"/>
                    <a:gd name="T22" fmla="*/ 5 w 249"/>
                    <a:gd name="T23" fmla="*/ 470 h 633"/>
                    <a:gd name="T24" fmla="*/ 10 w 249"/>
                    <a:gd name="T25" fmla="*/ 528 h 633"/>
                    <a:gd name="T26" fmla="*/ 2 w 249"/>
                    <a:gd name="T27" fmla="*/ 622 h 633"/>
                    <a:gd name="T28" fmla="*/ 3 w 249"/>
                    <a:gd name="T29" fmla="*/ 619 h 633"/>
                    <a:gd name="T30" fmla="*/ 72 w 249"/>
                    <a:gd name="T31" fmla="*/ 617 h 633"/>
                    <a:gd name="T32" fmla="*/ 73 w 249"/>
                    <a:gd name="T33" fmla="*/ 619 h 633"/>
                    <a:gd name="T34" fmla="*/ 82 w 249"/>
                    <a:gd name="T35" fmla="*/ 589 h 633"/>
                    <a:gd name="T36" fmla="*/ 91 w 249"/>
                    <a:gd name="T37" fmla="*/ 511 h 633"/>
                    <a:gd name="T38" fmla="*/ 102 w 249"/>
                    <a:gd name="T39" fmla="*/ 383 h 633"/>
                    <a:gd name="T40" fmla="*/ 109 w 249"/>
                    <a:gd name="T41" fmla="*/ 213 h 633"/>
                    <a:gd name="T42" fmla="*/ 120 w 249"/>
                    <a:gd name="T43" fmla="*/ 167 h 633"/>
                    <a:gd name="T44" fmla="*/ 127 w 249"/>
                    <a:gd name="T45" fmla="*/ 197 h 633"/>
                    <a:gd name="T46" fmla="*/ 127 w 249"/>
                    <a:gd name="T47" fmla="*/ 293 h 633"/>
                    <a:gd name="T48" fmla="*/ 123 w 249"/>
                    <a:gd name="T49" fmla="*/ 323 h 633"/>
                    <a:gd name="T50" fmla="*/ 118 w 249"/>
                    <a:gd name="T51" fmla="*/ 434 h 633"/>
                    <a:gd name="T52" fmla="*/ 106 w 249"/>
                    <a:gd name="T53" fmla="*/ 471 h 633"/>
                    <a:gd name="T54" fmla="*/ 96 w 249"/>
                    <a:gd name="T55" fmla="*/ 551 h 633"/>
                    <a:gd name="T56" fmla="*/ 99 w 249"/>
                    <a:gd name="T57" fmla="*/ 550 h 633"/>
                    <a:gd name="T58" fmla="*/ 129 w 249"/>
                    <a:gd name="T59" fmla="*/ 564 h 633"/>
                    <a:gd name="T60" fmla="*/ 184 w 249"/>
                    <a:gd name="T61" fmla="*/ 561 h 633"/>
                    <a:gd name="T62" fmla="*/ 186 w 249"/>
                    <a:gd name="T63" fmla="*/ 524 h 633"/>
                    <a:gd name="T64" fmla="*/ 199 w 249"/>
                    <a:gd name="T65" fmla="*/ 450 h 633"/>
                    <a:gd name="T66" fmla="*/ 213 w 249"/>
                    <a:gd name="T67" fmla="*/ 358 h 633"/>
                    <a:gd name="T68" fmla="*/ 233 w 249"/>
                    <a:gd name="T69" fmla="*/ 318 h 633"/>
                    <a:gd name="T70" fmla="*/ 248 w 249"/>
                    <a:gd name="T71" fmla="*/ 88 h 633"/>
                    <a:gd name="T72" fmla="*/ 249 w 249"/>
                    <a:gd name="T73" fmla="*/ 82 h 633"/>
                    <a:gd name="T74" fmla="*/ 200 w 249"/>
                    <a:gd name="T75" fmla="*/ 96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49" h="633">
                      <a:moveTo>
                        <a:pt x="200" y="96"/>
                      </a:moveTo>
                      <a:cubicBezTo>
                        <a:pt x="200" y="96"/>
                        <a:pt x="159" y="98"/>
                        <a:pt x="139" y="76"/>
                      </a:cubicBezTo>
                      <a:cubicBezTo>
                        <a:pt x="139" y="76"/>
                        <a:pt x="115" y="38"/>
                        <a:pt x="105" y="0"/>
                      </a:cubicBezTo>
                      <a:cubicBezTo>
                        <a:pt x="105" y="0"/>
                        <a:pt x="81" y="69"/>
                        <a:pt x="49" y="77"/>
                      </a:cubicBezTo>
                      <a:cubicBezTo>
                        <a:pt x="49" y="77"/>
                        <a:pt x="26" y="88"/>
                        <a:pt x="5" y="64"/>
                      </a:cubicBezTo>
                      <a:cubicBezTo>
                        <a:pt x="4" y="63"/>
                        <a:pt x="3" y="62"/>
                        <a:pt x="2" y="60"/>
                      </a:cubicBezTo>
                      <a:cubicBezTo>
                        <a:pt x="2" y="60"/>
                        <a:pt x="7" y="121"/>
                        <a:pt x="9" y="142"/>
                      </a:cubicBezTo>
                      <a:cubicBezTo>
                        <a:pt x="11" y="163"/>
                        <a:pt x="17" y="204"/>
                        <a:pt x="19" y="213"/>
                      </a:cubicBezTo>
                      <a:cubicBezTo>
                        <a:pt x="21" y="222"/>
                        <a:pt x="14" y="236"/>
                        <a:pt x="13" y="244"/>
                      </a:cubicBezTo>
                      <a:cubicBezTo>
                        <a:pt x="12" y="252"/>
                        <a:pt x="11" y="309"/>
                        <a:pt x="9" y="321"/>
                      </a:cubicBezTo>
                      <a:cubicBezTo>
                        <a:pt x="7" y="333"/>
                        <a:pt x="3" y="400"/>
                        <a:pt x="3" y="400"/>
                      </a:cubicBezTo>
                      <a:cubicBezTo>
                        <a:pt x="3" y="400"/>
                        <a:pt x="0" y="455"/>
                        <a:pt x="5" y="470"/>
                      </a:cubicBezTo>
                      <a:cubicBezTo>
                        <a:pt x="10" y="485"/>
                        <a:pt x="16" y="504"/>
                        <a:pt x="10" y="528"/>
                      </a:cubicBezTo>
                      <a:cubicBezTo>
                        <a:pt x="4" y="551"/>
                        <a:pt x="2" y="586"/>
                        <a:pt x="2" y="622"/>
                      </a:cubicBezTo>
                      <a:cubicBezTo>
                        <a:pt x="2" y="620"/>
                        <a:pt x="3" y="619"/>
                        <a:pt x="3" y="619"/>
                      </a:cubicBezTo>
                      <a:cubicBezTo>
                        <a:pt x="77" y="633"/>
                        <a:pt x="65" y="610"/>
                        <a:pt x="72" y="617"/>
                      </a:cubicBezTo>
                      <a:cubicBezTo>
                        <a:pt x="72" y="618"/>
                        <a:pt x="73" y="619"/>
                        <a:pt x="73" y="619"/>
                      </a:cubicBezTo>
                      <a:cubicBezTo>
                        <a:pt x="76" y="613"/>
                        <a:pt x="80" y="604"/>
                        <a:pt x="82" y="589"/>
                      </a:cubicBezTo>
                      <a:cubicBezTo>
                        <a:pt x="86" y="558"/>
                        <a:pt x="83" y="538"/>
                        <a:pt x="91" y="511"/>
                      </a:cubicBezTo>
                      <a:cubicBezTo>
                        <a:pt x="99" y="484"/>
                        <a:pt x="102" y="399"/>
                        <a:pt x="102" y="383"/>
                      </a:cubicBezTo>
                      <a:cubicBezTo>
                        <a:pt x="102" y="367"/>
                        <a:pt x="108" y="220"/>
                        <a:pt x="109" y="213"/>
                      </a:cubicBezTo>
                      <a:cubicBezTo>
                        <a:pt x="110" y="206"/>
                        <a:pt x="117" y="171"/>
                        <a:pt x="120" y="167"/>
                      </a:cubicBezTo>
                      <a:cubicBezTo>
                        <a:pt x="123" y="163"/>
                        <a:pt x="125" y="169"/>
                        <a:pt x="127" y="197"/>
                      </a:cubicBezTo>
                      <a:cubicBezTo>
                        <a:pt x="129" y="225"/>
                        <a:pt x="124" y="286"/>
                        <a:pt x="127" y="293"/>
                      </a:cubicBezTo>
                      <a:cubicBezTo>
                        <a:pt x="130" y="300"/>
                        <a:pt x="123" y="314"/>
                        <a:pt x="123" y="323"/>
                      </a:cubicBezTo>
                      <a:cubicBezTo>
                        <a:pt x="123" y="332"/>
                        <a:pt x="118" y="423"/>
                        <a:pt x="118" y="434"/>
                      </a:cubicBezTo>
                      <a:cubicBezTo>
                        <a:pt x="118" y="445"/>
                        <a:pt x="111" y="453"/>
                        <a:pt x="106" y="471"/>
                      </a:cubicBezTo>
                      <a:cubicBezTo>
                        <a:pt x="101" y="486"/>
                        <a:pt x="95" y="529"/>
                        <a:pt x="96" y="551"/>
                      </a:cubicBezTo>
                      <a:cubicBezTo>
                        <a:pt x="97" y="550"/>
                        <a:pt x="98" y="550"/>
                        <a:pt x="99" y="550"/>
                      </a:cubicBezTo>
                      <a:cubicBezTo>
                        <a:pt x="99" y="550"/>
                        <a:pt x="109" y="562"/>
                        <a:pt x="129" y="564"/>
                      </a:cubicBezTo>
                      <a:cubicBezTo>
                        <a:pt x="148" y="566"/>
                        <a:pt x="183" y="561"/>
                        <a:pt x="184" y="561"/>
                      </a:cubicBezTo>
                      <a:cubicBezTo>
                        <a:pt x="185" y="549"/>
                        <a:pt x="186" y="532"/>
                        <a:pt x="186" y="524"/>
                      </a:cubicBezTo>
                      <a:cubicBezTo>
                        <a:pt x="186" y="512"/>
                        <a:pt x="190" y="481"/>
                        <a:pt x="199" y="450"/>
                      </a:cubicBezTo>
                      <a:cubicBezTo>
                        <a:pt x="208" y="419"/>
                        <a:pt x="213" y="369"/>
                        <a:pt x="213" y="358"/>
                      </a:cubicBezTo>
                      <a:cubicBezTo>
                        <a:pt x="213" y="347"/>
                        <a:pt x="229" y="334"/>
                        <a:pt x="233" y="318"/>
                      </a:cubicBezTo>
                      <a:cubicBezTo>
                        <a:pt x="236" y="303"/>
                        <a:pt x="247" y="124"/>
                        <a:pt x="248" y="88"/>
                      </a:cubicBezTo>
                      <a:cubicBezTo>
                        <a:pt x="248" y="85"/>
                        <a:pt x="249" y="83"/>
                        <a:pt x="249" y="82"/>
                      </a:cubicBezTo>
                      <a:cubicBezTo>
                        <a:pt x="249" y="82"/>
                        <a:pt x="239" y="97"/>
                        <a:pt x="200" y="96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28">
                  <a:extLst>
                    <a:ext uri="{FF2B5EF4-FFF2-40B4-BE49-F238E27FC236}">
                      <a16:creationId xmlns:a16="http://schemas.microsoft.com/office/drawing/2014/main" id="{0CF00D96-369E-4379-BECD-C739180E14B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6597" y="2547670"/>
                  <a:ext cx="76408" cy="308496"/>
                </a:xfrm>
                <a:custGeom>
                  <a:avLst/>
                  <a:gdLst>
                    <a:gd name="T0" fmla="*/ 1 w 34"/>
                    <a:gd name="T1" fmla="*/ 66 h 137"/>
                    <a:gd name="T2" fmla="*/ 16 w 34"/>
                    <a:gd name="T3" fmla="*/ 137 h 137"/>
                    <a:gd name="T4" fmla="*/ 16 w 34"/>
                    <a:gd name="T5" fmla="*/ 131 h 137"/>
                    <a:gd name="T6" fmla="*/ 25 w 34"/>
                    <a:gd name="T7" fmla="*/ 53 h 137"/>
                    <a:gd name="T8" fmla="*/ 34 w 34"/>
                    <a:gd name="T9" fmla="*/ 35 h 137"/>
                    <a:gd name="T10" fmla="*/ 28 w 34"/>
                    <a:gd name="T11" fmla="*/ 9 h 137"/>
                    <a:gd name="T12" fmla="*/ 25 w 34"/>
                    <a:gd name="T13" fmla="*/ 0 h 137"/>
                    <a:gd name="T14" fmla="*/ 25 w 34"/>
                    <a:gd name="T15" fmla="*/ 0 h 137"/>
                    <a:gd name="T16" fmla="*/ 15 w 34"/>
                    <a:gd name="T17" fmla="*/ 2 h 137"/>
                    <a:gd name="T18" fmla="*/ 0 w 34"/>
                    <a:gd name="T19" fmla="*/ 17 h 137"/>
                    <a:gd name="T20" fmla="*/ 1 w 34"/>
                    <a:gd name="T21" fmla="*/ 66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4" h="137">
                      <a:moveTo>
                        <a:pt x="1" y="66"/>
                      </a:moveTo>
                      <a:cubicBezTo>
                        <a:pt x="2" y="99"/>
                        <a:pt x="9" y="120"/>
                        <a:pt x="16" y="137"/>
                      </a:cubicBezTo>
                      <a:cubicBezTo>
                        <a:pt x="16" y="135"/>
                        <a:pt x="16" y="133"/>
                        <a:pt x="16" y="131"/>
                      </a:cubicBezTo>
                      <a:cubicBezTo>
                        <a:pt x="16" y="68"/>
                        <a:pt x="22" y="63"/>
                        <a:pt x="25" y="53"/>
                      </a:cubicBezTo>
                      <a:cubicBezTo>
                        <a:pt x="28" y="43"/>
                        <a:pt x="34" y="35"/>
                        <a:pt x="34" y="35"/>
                      </a:cubicBezTo>
                      <a:cubicBezTo>
                        <a:pt x="30" y="28"/>
                        <a:pt x="29" y="16"/>
                        <a:pt x="28" y="9"/>
                      </a:cubicBezTo>
                      <a:cubicBezTo>
                        <a:pt x="26" y="5"/>
                        <a:pt x="26" y="1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1" y="1"/>
                        <a:pt x="18" y="1"/>
                        <a:pt x="15" y="2"/>
                      </a:cubicBezTo>
                      <a:cubicBezTo>
                        <a:pt x="11" y="6"/>
                        <a:pt x="5" y="12"/>
                        <a:pt x="0" y="17"/>
                      </a:cubicBezTo>
                      <a:cubicBezTo>
                        <a:pt x="0" y="33"/>
                        <a:pt x="0" y="51"/>
                        <a:pt x="1" y="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29">
                  <a:extLst>
                    <a:ext uri="{FF2B5EF4-FFF2-40B4-BE49-F238E27FC236}">
                      <a16:creationId xmlns:a16="http://schemas.microsoft.com/office/drawing/2014/main" id="{0DB1A990-7437-4EF1-9B73-388D30E2325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4074" y="2549580"/>
                  <a:ext cx="96465" cy="213942"/>
                </a:xfrm>
                <a:custGeom>
                  <a:avLst/>
                  <a:gdLst>
                    <a:gd name="T0" fmla="*/ 3 w 43"/>
                    <a:gd name="T1" fmla="*/ 32 h 95"/>
                    <a:gd name="T2" fmla="*/ 14 w 43"/>
                    <a:gd name="T3" fmla="*/ 73 h 95"/>
                    <a:gd name="T4" fmla="*/ 17 w 43"/>
                    <a:gd name="T5" fmla="*/ 95 h 95"/>
                    <a:gd name="T6" fmla="*/ 43 w 43"/>
                    <a:gd name="T7" fmla="*/ 27 h 95"/>
                    <a:gd name="T8" fmla="*/ 37 w 43"/>
                    <a:gd name="T9" fmla="*/ 23 h 95"/>
                    <a:gd name="T10" fmla="*/ 25 w 43"/>
                    <a:gd name="T11" fmla="*/ 13 h 95"/>
                    <a:gd name="T12" fmla="*/ 9 w 43"/>
                    <a:gd name="T13" fmla="*/ 2 h 95"/>
                    <a:gd name="T14" fmla="*/ 8 w 43"/>
                    <a:gd name="T15" fmla="*/ 0 h 95"/>
                    <a:gd name="T16" fmla="*/ 3 w 43"/>
                    <a:gd name="T17" fmla="*/ 32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" h="95">
                      <a:moveTo>
                        <a:pt x="3" y="32"/>
                      </a:moveTo>
                      <a:cubicBezTo>
                        <a:pt x="0" y="42"/>
                        <a:pt x="10" y="52"/>
                        <a:pt x="14" y="73"/>
                      </a:cubicBezTo>
                      <a:cubicBezTo>
                        <a:pt x="15" y="79"/>
                        <a:pt x="16" y="87"/>
                        <a:pt x="17" y="95"/>
                      </a:cubicBezTo>
                      <a:cubicBezTo>
                        <a:pt x="29" y="67"/>
                        <a:pt x="39" y="42"/>
                        <a:pt x="43" y="27"/>
                      </a:cubicBezTo>
                      <a:cubicBezTo>
                        <a:pt x="41" y="26"/>
                        <a:pt x="39" y="24"/>
                        <a:pt x="37" y="23"/>
                      </a:cubicBezTo>
                      <a:cubicBezTo>
                        <a:pt x="34" y="21"/>
                        <a:pt x="29" y="17"/>
                        <a:pt x="25" y="13"/>
                      </a:cubicBezTo>
                      <a:cubicBezTo>
                        <a:pt x="16" y="7"/>
                        <a:pt x="9" y="3"/>
                        <a:pt x="9" y="2"/>
                      </a:cubicBezTo>
                      <a:cubicBezTo>
                        <a:pt x="9" y="1"/>
                        <a:pt x="8" y="0"/>
                        <a:pt x="8" y="0"/>
                      </a:cubicBezTo>
                      <a:cubicBezTo>
                        <a:pt x="8" y="16"/>
                        <a:pt x="5" y="22"/>
                        <a:pt x="3" y="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30">
                  <a:extLst>
                    <a:ext uri="{FF2B5EF4-FFF2-40B4-BE49-F238E27FC236}">
                      <a16:creationId xmlns:a16="http://schemas.microsoft.com/office/drawing/2014/main" id="{86516BFB-5825-4BD6-BBAE-7E5ECF1D00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1936" y="2533344"/>
                  <a:ext cx="120342" cy="408781"/>
                </a:xfrm>
                <a:custGeom>
                  <a:avLst/>
                  <a:gdLst>
                    <a:gd name="T0" fmla="*/ 18 w 53"/>
                    <a:gd name="T1" fmla="*/ 41 h 181"/>
                    <a:gd name="T2" fmla="*/ 9 w 53"/>
                    <a:gd name="T3" fmla="*/ 59 h 181"/>
                    <a:gd name="T4" fmla="*/ 0 w 53"/>
                    <a:gd name="T5" fmla="*/ 137 h 181"/>
                    <a:gd name="T6" fmla="*/ 0 w 53"/>
                    <a:gd name="T7" fmla="*/ 143 h 181"/>
                    <a:gd name="T8" fmla="*/ 4 w 53"/>
                    <a:gd name="T9" fmla="*/ 153 h 181"/>
                    <a:gd name="T10" fmla="*/ 15 w 53"/>
                    <a:gd name="T11" fmla="*/ 181 h 181"/>
                    <a:gd name="T12" fmla="*/ 28 w 53"/>
                    <a:gd name="T13" fmla="*/ 156 h 181"/>
                    <a:gd name="T14" fmla="*/ 53 w 53"/>
                    <a:gd name="T15" fmla="*/ 102 h 181"/>
                    <a:gd name="T16" fmla="*/ 50 w 53"/>
                    <a:gd name="T17" fmla="*/ 80 h 181"/>
                    <a:gd name="T18" fmla="*/ 39 w 53"/>
                    <a:gd name="T19" fmla="*/ 39 h 181"/>
                    <a:gd name="T20" fmla="*/ 44 w 53"/>
                    <a:gd name="T21" fmla="*/ 7 h 181"/>
                    <a:gd name="T22" fmla="*/ 27 w 53"/>
                    <a:gd name="T23" fmla="*/ 1 h 181"/>
                    <a:gd name="T24" fmla="*/ 9 w 53"/>
                    <a:gd name="T25" fmla="*/ 4 h 181"/>
                    <a:gd name="T26" fmla="*/ 12 w 53"/>
                    <a:gd name="T27" fmla="*/ 15 h 181"/>
                    <a:gd name="T28" fmla="*/ 18 w 53"/>
                    <a:gd name="T29" fmla="*/ 4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" h="181">
                      <a:moveTo>
                        <a:pt x="18" y="41"/>
                      </a:moveTo>
                      <a:cubicBezTo>
                        <a:pt x="18" y="41"/>
                        <a:pt x="12" y="49"/>
                        <a:pt x="9" y="59"/>
                      </a:cubicBezTo>
                      <a:cubicBezTo>
                        <a:pt x="6" y="69"/>
                        <a:pt x="0" y="74"/>
                        <a:pt x="0" y="137"/>
                      </a:cubicBezTo>
                      <a:cubicBezTo>
                        <a:pt x="0" y="139"/>
                        <a:pt x="0" y="141"/>
                        <a:pt x="0" y="143"/>
                      </a:cubicBezTo>
                      <a:cubicBezTo>
                        <a:pt x="1" y="147"/>
                        <a:pt x="2" y="150"/>
                        <a:pt x="4" y="153"/>
                      </a:cubicBezTo>
                      <a:cubicBezTo>
                        <a:pt x="12" y="173"/>
                        <a:pt x="15" y="181"/>
                        <a:pt x="15" y="181"/>
                      </a:cubicBezTo>
                      <a:cubicBezTo>
                        <a:pt x="28" y="156"/>
                        <a:pt x="28" y="156"/>
                        <a:pt x="28" y="156"/>
                      </a:cubicBezTo>
                      <a:cubicBezTo>
                        <a:pt x="37" y="138"/>
                        <a:pt x="46" y="120"/>
                        <a:pt x="53" y="102"/>
                      </a:cubicBezTo>
                      <a:cubicBezTo>
                        <a:pt x="52" y="94"/>
                        <a:pt x="51" y="86"/>
                        <a:pt x="50" y="80"/>
                      </a:cubicBezTo>
                      <a:cubicBezTo>
                        <a:pt x="46" y="59"/>
                        <a:pt x="36" y="49"/>
                        <a:pt x="39" y="39"/>
                      </a:cubicBezTo>
                      <a:cubicBezTo>
                        <a:pt x="41" y="29"/>
                        <a:pt x="44" y="23"/>
                        <a:pt x="44" y="7"/>
                      </a:cubicBezTo>
                      <a:cubicBezTo>
                        <a:pt x="41" y="5"/>
                        <a:pt x="35" y="3"/>
                        <a:pt x="27" y="1"/>
                      </a:cubicBezTo>
                      <a:cubicBezTo>
                        <a:pt x="27" y="1"/>
                        <a:pt x="27" y="0"/>
                        <a:pt x="9" y="4"/>
                      </a:cubicBezTo>
                      <a:cubicBezTo>
                        <a:pt x="10" y="7"/>
                        <a:pt x="10" y="11"/>
                        <a:pt x="12" y="15"/>
                      </a:cubicBezTo>
                      <a:cubicBezTo>
                        <a:pt x="13" y="22"/>
                        <a:pt x="14" y="34"/>
                        <a:pt x="18" y="4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Freeform 34">
                  <a:extLst>
                    <a:ext uri="{FF2B5EF4-FFF2-40B4-BE49-F238E27FC236}">
                      <a16:creationId xmlns:a16="http://schemas.microsoft.com/office/drawing/2014/main" id="{6E33046E-276B-44FC-B437-26E81E31B8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13739" y="3178989"/>
                  <a:ext cx="76408" cy="158546"/>
                </a:xfrm>
                <a:custGeom>
                  <a:avLst/>
                  <a:gdLst>
                    <a:gd name="T0" fmla="*/ 34 w 34"/>
                    <a:gd name="T1" fmla="*/ 59 h 70"/>
                    <a:gd name="T2" fmla="*/ 13 w 34"/>
                    <a:gd name="T3" fmla="*/ 1 h 70"/>
                    <a:gd name="T4" fmla="*/ 0 w 34"/>
                    <a:gd name="T5" fmla="*/ 6 h 70"/>
                    <a:gd name="T6" fmla="*/ 5 w 34"/>
                    <a:gd name="T7" fmla="*/ 6 h 70"/>
                    <a:gd name="T8" fmla="*/ 20 w 34"/>
                    <a:gd name="T9" fmla="*/ 49 h 70"/>
                    <a:gd name="T10" fmla="*/ 7 w 34"/>
                    <a:gd name="T11" fmla="*/ 67 h 70"/>
                    <a:gd name="T12" fmla="*/ 34 w 34"/>
                    <a:gd name="T13" fmla="*/ 5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70">
                      <a:moveTo>
                        <a:pt x="34" y="59"/>
                      </a:moveTo>
                      <a:cubicBezTo>
                        <a:pt x="29" y="21"/>
                        <a:pt x="13" y="1"/>
                        <a:pt x="13" y="1"/>
                      </a:cubicBezTo>
                      <a:cubicBezTo>
                        <a:pt x="5" y="0"/>
                        <a:pt x="1" y="3"/>
                        <a:pt x="0" y="6"/>
                      </a:cubicBezTo>
                      <a:cubicBezTo>
                        <a:pt x="2" y="6"/>
                        <a:pt x="4" y="6"/>
                        <a:pt x="5" y="6"/>
                      </a:cubicBezTo>
                      <a:cubicBezTo>
                        <a:pt x="5" y="6"/>
                        <a:pt x="23" y="22"/>
                        <a:pt x="20" y="49"/>
                      </a:cubicBezTo>
                      <a:cubicBezTo>
                        <a:pt x="20" y="49"/>
                        <a:pt x="15" y="59"/>
                        <a:pt x="7" y="67"/>
                      </a:cubicBezTo>
                      <a:cubicBezTo>
                        <a:pt x="22" y="70"/>
                        <a:pt x="34" y="59"/>
                        <a:pt x="34" y="59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36">
                  <a:extLst>
                    <a:ext uri="{FF2B5EF4-FFF2-40B4-BE49-F238E27FC236}">
                      <a16:creationId xmlns:a16="http://schemas.microsoft.com/office/drawing/2014/main" id="{1CBF64D8-AFCC-4937-8C3D-9513301838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6597" y="2436879"/>
                  <a:ext cx="236864" cy="173828"/>
                </a:xfrm>
                <a:custGeom>
                  <a:avLst/>
                  <a:gdLst>
                    <a:gd name="T0" fmla="*/ 98 w 105"/>
                    <a:gd name="T1" fmla="*/ 3 h 77"/>
                    <a:gd name="T2" fmla="*/ 94 w 105"/>
                    <a:gd name="T3" fmla="*/ 6 h 77"/>
                    <a:gd name="T4" fmla="*/ 62 w 105"/>
                    <a:gd name="T5" fmla="*/ 32 h 77"/>
                    <a:gd name="T6" fmla="*/ 49 w 105"/>
                    <a:gd name="T7" fmla="*/ 40 h 77"/>
                    <a:gd name="T8" fmla="*/ 24 w 105"/>
                    <a:gd name="T9" fmla="*/ 15 h 77"/>
                    <a:gd name="T10" fmla="*/ 10 w 105"/>
                    <a:gd name="T11" fmla="*/ 1 h 77"/>
                    <a:gd name="T12" fmla="*/ 3 w 105"/>
                    <a:gd name="T13" fmla="*/ 7 h 77"/>
                    <a:gd name="T14" fmla="*/ 6 w 105"/>
                    <a:gd name="T15" fmla="*/ 6 h 77"/>
                    <a:gd name="T16" fmla="*/ 0 w 105"/>
                    <a:gd name="T17" fmla="*/ 57 h 77"/>
                    <a:gd name="T18" fmla="*/ 0 w 105"/>
                    <a:gd name="T19" fmla="*/ 66 h 77"/>
                    <a:gd name="T20" fmla="*/ 15 w 105"/>
                    <a:gd name="T21" fmla="*/ 51 h 77"/>
                    <a:gd name="T22" fmla="*/ 20 w 105"/>
                    <a:gd name="T23" fmla="*/ 48 h 77"/>
                    <a:gd name="T24" fmla="*/ 25 w 105"/>
                    <a:gd name="T25" fmla="*/ 49 h 77"/>
                    <a:gd name="T26" fmla="*/ 43 w 105"/>
                    <a:gd name="T27" fmla="*/ 44 h 77"/>
                    <a:gd name="T28" fmla="*/ 60 w 105"/>
                    <a:gd name="T29" fmla="*/ 50 h 77"/>
                    <a:gd name="T30" fmla="*/ 65 w 105"/>
                    <a:gd name="T31" fmla="*/ 54 h 77"/>
                    <a:gd name="T32" fmla="*/ 77 w 105"/>
                    <a:gd name="T33" fmla="*/ 63 h 77"/>
                    <a:gd name="T34" fmla="*/ 89 w 105"/>
                    <a:gd name="T35" fmla="*/ 73 h 77"/>
                    <a:gd name="T36" fmla="*/ 95 w 105"/>
                    <a:gd name="T37" fmla="*/ 77 h 77"/>
                    <a:gd name="T38" fmla="*/ 96 w 105"/>
                    <a:gd name="T39" fmla="*/ 76 h 77"/>
                    <a:gd name="T40" fmla="*/ 99 w 105"/>
                    <a:gd name="T41" fmla="*/ 65 h 77"/>
                    <a:gd name="T42" fmla="*/ 104 w 105"/>
                    <a:gd name="T43" fmla="*/ 18 h 77"/>
                    <a:gd name="T44" fmla="*/ 98 w 105"/>
                    <a:gd name="T45" fmla="*/ 3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5" h="77">
                      <a:moveTo>
                        <a:pt x="98" y="3"/>
                      </a:moveTo>
                      <a:cubicBezTo>
                        <a:pt x="97" y="2"/>
                        <a:pt x="96" y="4"/>
                        <a:pt x="94" y="6"/>
                      </a:cubicBezTo>
                      <a:cubicBezTo>
                        <a:pt x="89" y="12"/>
                        <a:pt x="78" y="26"/>
                        <a:pt x="62" y="32"/>
                      </a:cubicBezTo>
                      <a:cubicBezTo>
                        <a:pt x="62" y="32"/>
                        <a:pt x="54" y="38"/>
                        <a:pt x="49" y="40"/>
                      </a:cubicBezTo>
                      <a:cubicBezTo>
                        <a:pt x="44" y="42"/>
                        <a:pt x="30" y="25"/>
                        <a:pt x="24" y="15"/>
                      </a:cubicBezTo>
                      <a:cubicBezTo>
                        <a:pt x="20" y="9"/>
                        <a:pt x="16" y="0"/>
                        <a:pt x="10" y="1"/>
                      </a:cubicBezTo>
                      <a:cubicBezTo>
                        <a:pt x="8" y="2"/>
                        <a:pt x="6" y="4"/>
                        <a:pt x="3" y="7"/>
                      </a:cubicBezTo>
                      <a:cubicBezTo>
                        <a:pt x="5" y="7"/>
                        <a:pt x="6" y="6"/>
                        <a:pt x="6" y="6"/>
                      </a:cubicBezTo>
                      <a:cubicBezTo>
                        <a:pt x="3" y="15"/>
                        <a:pt x="1" y="35"/>
                        <a:pt x="0" y="57"/>
                      </a:cubicBezTo>
                      <a:cubicBezTo>
                        <a:pt x="0" y="60"/>
                        <a:pt x="0" y="63"/>
                        <a:pt x="0" y="66"/>
                      </a:cubicBezTo>
                      <a:cubicBezTo>
                        <a:pt x="5" y="61"/>
                        <a:pt x="11" y="55"/>
                        <a:pt x="15" y="51"/>
                      </a:cubicBezTo>
                      <a:cubicBezTo>
                        <a:pt x="17" y="50"/>
                        <a:pt x="19" y="49"/>
                        <a:pt x="20" y="48"/>
                      </a:cubicBezTo>
                      <a:cubicBezTo>
                        <a:pt x="23" y="46"/>
                        <a:pt x="24" y="47"/>
                        <a:pt x="25" y="49"/>
                      </a:cubicBezTo>
                      <a:cubicBezTo>
                        <a:pt x="43" y="44"/>
                        <a:pt x="43" y="44"/>
                        <a:pt x="43" y="44"/>
                      </a:cubicBezTo>
                      <a:cubicBezTo>
                        <a:pt x="51" y="46"/>
                        <a:pt x="57" y="48"/>
                        <a:pt x="60" y="50"/>
                      </a:cubicBezTo>
                      <a:cubicBezTo>
                        <a:pt x="60" y="49"/>
                        <a:pt x="64" y="53"/>
                        <a:pt x="65" y="54"/>
                      </a:cubicBezTo>
                      <a:cubicBezTo>
                        <a:pt x="71" y="58"/>
                        <a:pt x="67" y="54"/>
                        <a:pt x="77" y="63"/>
                      </a:cubicBezTo>
                      <a:cubicBezTo>
                        <a:pt x="82" y="67"/>
                        <a:pt x="86" y="71"/>
                        <a:pt x="89" y="73"/>
                      </a:cubicBezTo>
                      <a:cubicBezTo>
                        <a:pt x="91" y="74"/>
                        <a:pt x="93" y="76"/>
                        <a:pt x="95" y="77"/>
                      </a:cubicBezTo>
                      <a:cubicBezTo>
                        <a:pt x="95" y="76"/>
                        <a:pt x="95" y="76"/>
                        <a:pt x="96" y="76"/>
                      </a:cubicBezTo>
                      <a:cubicBezTo>
                        <a:pt x="97" y="71"/>
                        <a:pt x="98" y="68"/>
                        <a:pt x="99" y="65"/>
                      </a:cubicBezTo>
                      <a:cubicBezTo>
                        <a:pt x="101" y="56"/>
                        <a:pt x="103" y="32"/>
                        <a:pt x="104" y="18"/>
                      </a:cubicBezTo>
                      <a:cubicBezTo>
                        <a:pt x="105" y="7"/>
                        <a:pt x="98" y="4"/>
                        <a:pt x="98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37">
                  <a:extLst>
                    <a:ext uri="{FF2B5EF4-FFF2-40B4-BE49-F238E27FC236}">
                      <a16:creationId xmlns:a16="http://schemas.microsoft.com/office/drawing/2014/main" id="{EA87CDD0-3DA4-439D-B3CB-BAC19593002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2214" y="2021412"/>
                  <a:ext cx="347655" cy="271247"/>
                </a:xfrm>
                <a:custGeom>
                  <a:avLst/>
                  <a:gdLst>
                    <a:gd name="T0" fmla="*/ 150 w 154"/>
                    <a:gd name="T1" fmla="*/ 51 h 120"/>
                    <a:gd name="T2" fmla="*/ 124 w 154"/>
                    <a:gd name="T3" fmla="*/ 22 h 120"/>
                    <a:gd name="T4" fmla="*/ 85 w 154"/>
                    <a:gd name="T5" fmla="*/ 2 h 120"/>
                    <a:gd name="T6" fmla="*/ 85 w 154"/>
                    <a:gd name="T7" fmla="*/ 4 h 120"/>
                    <a:gd name="T8" fmla="*/ 62 w 154"/>
                    <a:gd name="T9" fmla="*/ 3 h 120"/>
                    <a:gd name="T10" fmla="*/ 52 w 154"/>
                    <a:gd name="T11" fmla="*/ 4 h 120"/>
                    <a:gd name="T12" fmla="*/ 58 w 154"/>
                    <a:gd name="T13" fmla="*/ 8 h 120"/>
                    <a:gd name="T14" fmla="*/ 46 w 154"/>
                    <a:gd name="T15" fmla="*/ 10 h 120"/>
                    <a:gd name="T16" fmla="*/ 15 w 154"/>
                    <a:gd name="T17" fmla="*/ 14 h 120"/>
                    <a:gd name="T18" fmla="*/ 9 w 154"/>
                    <a:gd name="T19" fmla="*/ 10 h 120"/>
                    <a:gd name="T20" fmla="*/ 22 w 154"/>
                    <a:gd name="T21" fmla="*/ 43 h 120"/>
                    <a:gd name="T22" fmla="*/ 28 w 154"/>
                    <a:gd name="T23" fmla="*/ 38 h 120"/>
                    <a:gd name="T24" fmla="*/ 66 w 154"/>
                    <a:gd name="T25" fmla="*/ 44 h 120"/>
                    <a:gd name="T26" fmla="*/ 91 w 154"/>
                    <a:gd name="T27" fmla="*/ 66 h 120"/>
                    <a:gd name="T28" fmla="*/ 82 w 154"/>
                    <a:gd name="T29" fmla="*/ 81 h 120"/>
                    <a:gd name="T30" fmla="*/ 96 w 154"/>
                    <a:gd name="T31" fmla="*/ 90 h 120"/>
                    <a:gd name="T32" fmla="*/ 96 w 154"/>
                    <a:gd name="T33" fmla="*/ 115 h 120"/>
                    <a:gd name="T34" fmla="*/ 110 w 154"/>
                    <a:gd name="T35" fmla="*/ 108 h 120"/>
                    <a:gd name="T36" fmla="*/ 134 w 154"/>
                    <a:gd name="T37" fmla="*/ 114 h 120"/>
                    <a:gd name="T38" fmla="*/ 134 w 154"/>
                    <a:gd name="T39" fmla="*/ 116 h 120"/>
                    <a:gd name="T40" fmla="*/ 146 w 154"/>
                    <a:gd name="T41" fmla="*/ 93 h 120"/>
                    <a:gd name="T42" fmla="*/ 150 w 154"/>
                    <a:gd name="T43" fmla="*/ 5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54" h="120">
                      <a:moveTo>
                        <a:pt x="150" y="51"/>
                      </a:moveTo>
                      <a:cubicBezTo>
                        <a:pt x="148" y="43"/>
                        <a:pt x="136" y="30"/>
                        <a:pt x="124" y="22"/>
                      </a:cubicBezTo>
                      <a:cubicBezTo>
                        <a:pt x="112" y="14"/>
                        <a:pt x="85" y="2"/>
                        <a:pt x="85" y="2"/>
                      </a:cubicBezTo>
                      <a:cubicBezTo>
                        <a:pt x="85" y="2"/>
                        <a:pt x="75" y="0"/>
                        <a:pt x="85" y="4"/>
                      </a:cubicBezTo>
                      <a:cubicBezTo>
                        <a:pt x="88" y="6"/>
                        <a:pt x="65" y="3"/>
                        <a:pt x="62" y="3"/>
                      </a:cubicBezTo>
                      <a:cubicBezTo>
                        <a:pt x="62" y="3"/>
                        <a:pt x="54" y="3"/>
                        <a:pt x="52" y="4"/>
                      </a:cubicBezTo>
                      <a:cubicBezTo>
                        <a:pt x="50" y="6"/>
                        <a:pt x="56" y="6"/>
                        <a:pt x="58" y="8"/>
                      </a:cubicBezTo>
                      <a:cubicBezTo>
                        <a:pt x="61" y="9"/>
                        <a:pt x="60" y="12"/>
                        <a:pt x="46" y="10"/>
                      </a:cubicBezTo>
                      <a:cubicBezTo>
                        <a:pt x="32" y="8"/>
                        <a:pt x="21" y="12"/>
                        <a:pt x="15" y="14"/>
                      </a:cubicBezTo>
                      <a:cubicBezTo>
                        <a:pt x="12" y="15"/>
                        <a:pt x="9" y="14"/>
                        <a:pt x="9" y="10"/>
                      </a:cubicBezTo>
                      <a:cubicBezTo>
                        <a:pt x="9" y="6"/>
                        <a:pt x="0" y="29"/>
                        <a:pt x="22" y="43"/>
                      </a:cubicBezTo>
                      <a:cubicBezTo>
                        <a:pt x="24" y="41"/>
                        <a:pt x="26" y="39"/>
                        <a:pt x="28" y="38"/>
                      </a:cubicBezTo>
                      <a:cubicBezTo>
                        <a:pt x="35" y="34"/>
                        <a:pt x="60" y="38"/>
                        <a:pt x="66" y="44"/>
                      </a:cubicBezTo>
                      <a:cubicBezTo>
                        <a:pt x="73" y="50"/>
                        <a:pt x="92" y="62"/>
                        <a:pt x="91" y="66"/>
                      </a:cubicBezTo>
                      <a:cubicBezTo>
                        <a:pt x="90" y="71"/>
                        <a:pt x="70" y="74"/>
                        <a:pt x="82" y="81"/>
                      </a:cubicBezTo>
                      <a:cubicBezTo>
                        <a:pt x="93" y="88"/>
                        <a:pt x="96" y="90"/>
                        <a:pt x="96" y="90"/>
                      </a:cubicBezTo>
                      <a:cubicBezTo>
                        <a:pt x="97" y="94"/>
                        <a:pt x="96" y="112"/>
                        <a:pt x="96" y="115"/>
                      </a:cubicBezTo>
                      <a:cubicBezTo>
                        <a:pt x="97" y="118"/>
                        <a:pt x="97" y="120"/>
                        <a:pt x="110" y="108"/>
                      </a:cubicBezTo>
                      <a:cubicBezTo>
                        <a:pt x="122" y="96"/>
                        <a:pt x="131" y="104"/>
                        <a:pt x="134" y="114"/>
                      </a:cubicBezTo>
                      <a:cubicBezTo>
                        <a:pt x="134" y="115"/>
                        <a:pt x="134" y="115"/>
                        <a:pt x="134" y="116"/>
                      </a:cubicBezTo>
                      <a:cubicBezTo>
                        <a:pt x="139" y="112"/>
                        <a:pt x="143" y="106"/>
                        <a:pt x="146" y="93"/>
                      </a:cubicBezTo>
                      <a:cubicBezTo>
                        <a:pt x="154" y="60"/>
                        <a:pt x="153" y="59"/>
                        <a:pt x="150" y="51"/>
                      </a:cubicBezTo>
                      <a:close/>
                    </a:path>
                  </a:pathLst>
                </a:custGeom>
                <a:solidFill>
                  <a:srgbClr val="7C5D5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4CA14DF6-BFCB-4C80-8763-516B9CDB79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6989" y="2098775"/>
                  <a:ext cx="302766" cy="432659"/>
                </a:xfrm>
                <a:custGeom>
                  <a:avLst/>
                  <a:gdLst>
                    <a:gd name="T0" fmla="*/ 132 w 134"/>
                    <a:gd name="T1" fmla="*/ 80 h 192"/>
                    <a:gd name="T2" fmla="*/ 108 w 134"/>
                    <a:gd name="T3" fmla="*/ 74 h 192"/>
                    <a:gd name="T4" fmla="*/ 94 w 134"/>
                    <a:gd name="T5" fmla="*/ 81 h 192"/>
                    <a:gd name="T6" fmla="*/ 94 w 134"/>
                    <a:gd name="T7" fmla="*/ 56 h 192"/>
                    <a:gd name="T8" fmla="*/ 80 w 134"/>
                    <a:gd name="T9" fmla="*/ 47 h 192"/>
                    <a:gd name="T10" fmla="*/ 89 w 134"/>
                    <a:gd name="T11" fmla="*/ 32 h 192"/>
                    <a:gd name="T12" fmla="*/ 64 w 134"/>
                    <a:gd name="T13" fmla="*/ 10 h 192"/>
                    <a:gd name="T14" fmla="*/ 26 w 134"/>
                    <a:gd name="T15" fmla="*/ 4 h 192"/>
                    <a:gd name="T16" fmla="*/ 20 w 134"/>
                    <a:gd name="T17" fmla="*/ 9 h 192"/>
                    <a:gd name="T18" fmla="*/ 4 w 134"/>
                    <a:gd name="T19" fmla="*/ 50 h 192"/>
                    <a:gd name="T20" fmla="*/ 4 w 134"/>
                    <a:gd name="T21" fmla="*/ 68 h 192"/>
                    <a:gd name="T22" fmla="*/ 1 w 134"/>
                    <a:gd name="T23" fmla="*/ 91 h 192"/>
                    <a:gd name="T24" fmla="*/ 9 w 134"/>
                    <a:gd name="T25" fmla="*/ 131 h 192"/>
                    <a:gd name="T26" fmla="*/ 22 w 134"/>
                    <a:gd name="T27" fmla="*/ 148 h 192"/>
                    <a:gd name="T28" fmla="*/ 23 w 134"/>
                    <a:gd name="T29" fmla="*/ 151 h 192"/>
                    <a:gd name="T30" fmla="*/ 37 w 134"/>
                    <a:gd name="T31" fmla="*/ 165 h 192"/>
                    <a:gd name="T32" fmla="*/ 62 w 134"/>
                    <a:gd name="T33" fmla="*/ 190 h 192"/>
                    <a:gd name="T34" fmla="*/ 75 w 134"/>
                    <a:gd name="T35" fmla="*/ 182 h 192"/>
                    <a:gd name="T36" fmla="*/ 107 w 134"/>
                    <a:gd name="T37" fmla="*/ 156 h 192"/>
                    <a:gd name="T38" fmla="*/ 113 w 134"/>
                    <a:gd name="T39" fmla="*/ 112 h 192"/>
                    <a:gd name="T40" fmla="*/ 132 w 134"/>
                    <a:gd name="T41" fmla="*/ 82 h 192"/>
                    <a:gd name="T42" fmla="*/ 132 w 134"/>
                    <a:gd name="T43" fmla="*/ 8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4" h="192">
                      <a:moveTo>
                        <a:pt x="132" y="80"/>
                      </a:moveTo>
                      <a:cubicBezTo>
                        <a:pt x="129" y="70"/>
                        <a:pt x="120" y="62"/>
                        <a:pt x="108" y="74"/>
                      </a:cubicBezTo>
                      <a:cubicBezTo>
                        <a:pt x="95" y="86"/>
                        <a:pt x="95" y="84"/>
                        <a:pt x="94" y="81"/>
                      </a:cubicBezTo>
                      <a:cubicBezTo>
                        <a:pt x="94" y="78"/>
                        <a:pt x="95" y="60"/>
                        <a:pt x="94" y="56"/>
                      </a:cubicBezTo>
                      <a:cubicBezTo>
                        <a:pt x="94" y="56"/>
                        <a:pt x="91" y="54"/>
                        <a:pt x="80" y="47"/>
                      </a:cubicBezTo>
                      <a:cubicBezTo>
                        <a:pt x="68" y="40"/>
                        <a:pt x="88" y="37"/>
                        <a:pt x="89" y="32"/>
                      </a:cubicBezTo>
                      <a:cubicBezTo>
                        <a:pt x="90" y="28"/>
                        <a:pt x="71" y="16"/>
                        <a:pt x="64" y="10"/>
                      </a:cubicBezTo>
                      <a:cubicBezTo>
                        <a:pt x="58" y="4"/>
                        <a:pt x="33" y="0"/>
                        <a:pt x="26" y="4"/>
                      </a:cubicBezTo>
                      <a:cubicBezTo>
                        <a:pt x="24" y="5"/>
                        <a:pt x="22" y="7"/>
                        <a:pt x="20" y="9"/>
                      </a:cubicBezTo>
                      <a:cubicBezTo>
                        <a:pt x="15" y="14"/>
                        <a:pt x="10" y="24"/>
                        <a:pt x="4" y="50"/>
                      </a:cubicBezTo>
                      <a:cubicBezTo>
                        <a:pt x="4" y="50"/>
                        <a:pt x="3" y="56"/>
                        <a:pt x="4" y="68"/>
                      </a:cubicBezTo>
                      <a:cubicBezTo>
                        <a:pt x="4" y="68"/>
                        <a:pt x="0" y="79"/>
                        <a:pt x="1" y="91"/>
                      </a:cubicBezTo>
                      <a:cubicBezTo>
                        <a:pt x="2" y="103"/>
                        <a:pt x="9" y="128"/>
                        <a:pt x="9" y="131"/>
                      </a:cubicBezTo>
                      <a:cubicBezTo>
                        <a:pt x="9" y="134"/>
                        <a:pt x="10" y="150"/>
                        <a:pt x="22" y="148"/>
                      </a:cubicBezTo>
                      <a:cubicBezTo>
                        <a:pt x="22" y="148"/>
                        <a:pt x="22" y="149"/>
                        <a:pt x="23" y="151"/>
                      </a:cubicBezTo>
                      <a:cubicBezTo>
                        <a:pt x="29" y="150"/>
                        <a:pt x="33" y="159"/>
                        <a:pt x="37" y="165"/>
                      </a:cubicBezTo>
                      <a:cubicBezTo>
                        <a:pt x="43" y="175"/>
                        <a:pt x="57" y="192"/>
                        <a:pt x="62" y="190"/>
                      </a:cubicBezTo>
                      <a:cubicBezTo>
                        <a:pt x="67" y="188"/>
                        <a:pt x="75" y="182"/>
                        <a:pt x="75" y="182"/>
                      </a:cubicBezTo>
                      <a:cubicBezTo>
                        <a:pt x="91" y="176"/>
                        <a:pt x="102" y="162"/>
                        <a:pt x="107" y="156"/>
                      </a:cubicBezTo>
                      <a:cubicBezTo>
                        <a:pt x="109" y="140"/>
                        <a:pt x="111" y="115"/>
                        <a:pt x="113" y="112"/>
                      </a:cubicBezTo>
                      <a:cubicBezTo>
                        <a:pt x="115" y="109"/>
                        <a:pt x="134" y="93"/>
                        <a:pt x="132" y="82"/>
                      </a:cubicBezTo>
                      <a:cubicBezTo>
                        <a:pt x="132" y="81"/>
                        <a:pt x="132" y="81"/>
                        <a:pt x="132" y="80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78">
                  <a:extLst>
                    <a:ext uri="{FF2B5EF4-FFF2-40B4-BE49-F238E27FC236}">
                      <a16:creationId xmlns:a16="http://schemas.microsoft.com/office/drawing/2014/main" id="{3F136A91-B8A4-4FAB-9296-960945EDE8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2983" y="3136009"/>
                  <a:ext cx="44890" cy="61126"/>
                </a:xfrm>
                <a:custGeom>
                  <a:avLst/>
                  <a:gdLst>
                    <a:gd name="T0" fmla="*/ 5 w 20"/>
                    <a:gd name="T1" fmla="*/ 27 h 27"/>
                    <a:gd name="T2" fmla="*/ 20 w 20"/>
                    <a:gd name="T3" fmla="*/ 22 h 27"/>
                    <a:gd name="T4" fmla="*/ 4 w 20"/>
                    <a:gd name="T5" fmla="*/ 6 h 27"/>
                    <a:gd name="T6" fmla="*/ 5 w 20"/>
                    <a:gd name="T7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27">
                      <a:moveTo>
                        <a:pt x="5" y="27"/>
                      </a:moveTo>
                      <a:cubicBezTo>
                        <a:pt x="5" y="27"/>
                        <a:pt x="18" y="25"/>
                        <a:pt x="20" y="22"/>
                      </a:cubicBezTo>
                      <a:cubicBezTo>
                        <a:pt x="20" y="22"/>
                        <a:pt x="4" y="12"/>
                        <a:pt x="4" y="6"/>
                      </a:cubicBezTo>
                      <a:cubicBezTo>
                        <a:pt x="4" y="0"/>
                        <a:pt x="0" y="23"/>
                        <a:pt x="5" y="27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95">
                  <a:extLst>
                    <a:ext uri="{FF2B5EF4-FFF2-40B4-BE49-F238E27FC236}">
                      <a16:creationId xmlns:a16="http://schemas.microsoft.com/office/drawing/2014/main" id="{81FED21C-84DE-44B7-AE47-82D9A1E0DEE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54623" y="3754912"/>
                  <a:ext cx="230179" cy="107926"/>
                </a:xfrm>
                <a:custGeom>
                  <a:avLst/>
                  <a:gdLst>
                    <a:gd name="T0" fmla="*/ 5 w 102"/>
                    <a:gd name="T1" fmla="*/ 22 h 48"/>
                    <a:gd name="T2" fmla="*/ 65 w 102"/>
                    <a:gd name="T3" fmla="*/ 44 h 48"/>
                    <a:gd name="T4" fmla="*/ 84 w 102"/>
                    <a:gd name="T5" fmla="*/ 32 h 48"/>
                    <a:gd name="T6" fmla="*/ 54 w 102"/>
                    <a:gd name="T7" fmla="*/ 28 h 48"/>
                    <a:gd name="T8" fmla="*/ 1 w 102"/>
                    <a:gd name="T9" fmla="*/ 0 h 48"/>
                    <a:gd name="T10" fmla="*/ 5 w 102"/>
                    <a:gd name="T11" fmla="*/ 2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48">
                      <a:moveTo>
                        <a:pt x="5" y="22"/>
                      </a:moveTo>
                      <a:cubicBezTo>
                        <a:pt x="5" y="22"/>
                        <a:pt x="28" y="48"/>
                        <a:pt x="65" y="44"/>
                      </a:cubicBezTo>
                      <a:cubicBezTo>
                        <a:pt x="102" y="40"/>
                        <a:pt x="85" y="34"/>
                        <a:pt x="84" y="32"/>
                      </a:cubicBezTo>
                      <a:cubicBezTo>
                        <a:pt x="84" y="29"/>
                        <a:pt x="72" y="32"/>
                        <a:pt x="54" y="28"/>
                      </a:cubicBezTo>
                      <a:cubicBezTo>
                        <a:pt x="36" y="24"/>
                        <a:pt x="10" y="0"/>
                        <a:pt x="1" y="0"/>
                      </a:cubicBezTo>
                      <a:cubicBezTo>
                        <a:pt x="1" y="0"/>
                        <a:pt x="0" y="22"/>
                        <a:pt x="5" y="22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96">
                  <a:extLst>
                    <a:ext uri="{FF2B5EF4-FFF2-40B4-BE49-F238E27FC236}">
                      <a16:creationId xmlns:a16="http://schemas.microsoft.com/office/drawing/2014/main" id="{3B32434A-F78D-4858-A124-6B0A3C7508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39918" y="3746481"/>
                  <a:ext cx="237374" cy="251982"/>
                </a:xfrm>
                <a:custGeom>
                  <a:avLst/>
                  <a:gdLst>
                    <a:gd name="T0" fmla="*/ 87 w 116"/>
                    <a:gd name="T1" fmla="*/ 124 h 124"/>
                    <a:gd name="T2" fmla="*/ 94 w 116"/>
                    <a:gd name="T3" fmla="*/ 114 h 124"/>
                    <a:gd name="T4" fmla="*/ 113 w 116"/>
                    <a:gd name="T5" fmla="*/ 88 h 124"/>
                    <a:gd name="T6" fmla="*/ 110 w 116"/>
                    <a:gd name="T7" fmla="*/ 33 h 124"/>
                    <a:gd name="T8" fmla="*/ 98 w 116"/>
                    <a:gd name="T9" fmla="*/ 12 h 124"/>
                    <a:gd name="T10" fmla="*/ 71 w 116"/>
                    <a:gd name="T11" fmla="*/ 6 h 124"/>
                    <a:gd name="T12" fmla="*/ 0 w 116"/>
                    <a:gd name="T13" fmla="*/ 39 h 124"/>
                    <a:gd name="T14" fmla="*/ 47 w 116"/>
                    <a:gd name="T15" fmla="*/ 41 h 124"/>
                    <a:gd name="T16" fmla="*/ 61 w 116"/>
                    <a:gd name="T17" fmla="*/ 60 h 124"/>
                    <a:gd name="T18" fmla="*/ 34 w 116"/>
                    <a:gd name="T19" fmla="*/ 68 h 124"/>
                    <a:gd name="T20" fmla="*/ 72 w 116"/>
                    <a:gd name="T21" fmla="*/ 98 h 124"/>
                    <a:gd name="T22" fmla="*/ 78 w 116"/>
                    <a:gd name="T23" fmla="*/ 89 h 124"/>
                    <a:gd name="T24" fmla="*/ 87 w 116"/>
                    <a:gd name="T25" fmla="*/ 124 h 124"/>
                    <a:gd name="connsiteX0" fmla="*/ 7500 w 9769"/>
                    <a:gd name="connsiteY0" fmla="*/ 9749 h 9749"/>
                    <a:gd name="connsiteX1" fmla="*/ 8103 w 9769"/>
                    <a:gd name="connsiteY1" fmla="*/ 8943 h 9749"/>
                    <a:gd name="connsiteX2" fmla="*/ 9741 w 9769"/>
                    <a:gd name="connsiteY2" fmla="*/ 6846 h 9749"/>
                    <a:gd name="connsiteX3" fmla="*/ 9483 w 9769"/>
                    <a:gd name="connsiteY3" fmla="*/ 2410 h 9749"/>
                    <a:gd name="connsiteX4" fmla="*/ 8448 w 9769"/>
                    <a:gd name="connsiteY4" fmla="*/ 717 h 9749"/>
                    <a:gd name="connsiteX5" fmla="*/ 6121 w 9769"/>
                    <a:gd name="connsiteY5" fmla="*/ 233 h 9749"/>
                    <a:gd name="connsiteX6" fmla="*/ 0 w 9769"/>
                    <a:gd name="connsiteY6" fmla="*/ 2894 h 9749"/>
                    <a:gd name="connsiteX7" fmla="*/ 4052 w 9769"/>
                    <a:gd name="connsiteY7" fmla="*/ 3055 h 9749"/>
                    <a:gd name="connsiteX8" fmla="*/ 6168 w 9769"/>
                    <a:gd name="connsiteY8" fmla="*/ 1797 h 9749"/>
                    <a:gd name="connsiteX9" fmla="*/ 5259 w 9769"/>
                    <a:gd name="connsiteY9" fmla="*/ 4588 h 9749"/>
                    <a:gd name="connsiteX10" fmla="*/ 2931 w 9769"/>
                    <a:gd name="connsiteY10" fmla="*/ 5233 h 9749"/>
                    <a:gd name="connsiteX11" fmla="*/ 6207 w 9769"/>
                    <a:gd name="connsiteY11" fmla="*/ 7652 h 9749"/>
                    <a:gd name="connsiteX12" fmla="*/ 6724 w 9769"/>
                    <a:gd name="connsiteY12" fmla="*/ 6926 h 9749"/>
                    <a:gd name="connsiteX13" fmla="*/ 7500 w 9769"/>
                    <a:gd name="connsiteY13" fmla="*/ 9749 h 9749"/>
                    <a:gd name="connsiteX0" fmla="*/ 7705 w 10028"/>
                    <a:gd name="connsiteY0" fmla="*/ 10000 h 10000"/>
                    <a:gd name="connsiteX1" fmla="*/ 8323 w 10028"/>
                    <a:gd name="connsiteY1" fmla="*/ 9173 h 10000"/>
                    <a:gd name="connsiteX2" fmla="*/ 9999 w 10028"/>
                    <a:gd name="connsiteY2" fmla="*/ 7022 h 10000"/>
                    <a:gd name="connsiteX3" fmla="*/ 9735 w 10028"/>
                    <a:gd name="connsiteY3" fmla="*/ 2472 h 10000"/>
                    <a:gd name="connsiteX4" fmla="*/ 8676 w 10028"/>
                    <a:gd name="connsiteY4" fmla="*/ 735 h 10000"/>
                    <a:gd name="connsiteX5" fmla="*/ 6294 w 10028"/>
                    <a:gd name="connsiteY5" fmla="*/ 239 h 10000"/>
                    <a:gd name="connsiteX6" fmla="*/ 28 w 10028"/>
                    <a:gd name="connsiteY6" fmla="*/ 2969 h 10000"/>
                    <a:gd name="connsiteX7" fmla="*/ 4064 w 10028"/>
                    <a:gd name="connsiteY7" fmla="*/ 2084 h 10000"/>
                    <a:gd name="connsiteX8" fmla="*/ 6342 w 10028"/>
                    <a:gd name="connsiteY8" fmla="*/ 1843 h 10000"/>
                    <a:gd name="connsiteX9" fmla="*/ 5411 w 10028"/>
                    <a:gd name="connsiteY9" fmla="*/ 4706 h 10000"/>
                    <a:gd name="connsiteX10" fmla="*/ 3028 w 10028"/>
                    <a:gd name="connsiteY10" fmla="*/ 5368 h 10000"/>
                    <a:gd name="connsiteX11" fmla="*/ 6382 w 10028"/>
                    <a:gd name="connsiteY11" fmla="*/ 7849 h 10000"/>
                    <a:gd name="connsiteX12" fmla="*/ 6911 w 10028"/>
                    <a:gd name="connsiteY12" fmla="*/ 7104 h 10000"/>
                    <a:gd name="connsiteX13" fmla="*/ 7705 w 10028"/>
                    <a:gd name="connsiteY13" fmla="*/ 10000 h 10000"/>
                    <a:gd name="connsiteX0" fmla="*/ 7705 w 10028"/>
                    <a:gd name="connsiteY0" fmla="*/ 10000 h 10000"/>
                    <a:gd name="connsiteX1" fmla="*/ 8323 w 10028"/>
                    <a:gd name="connsiteY1" fmla="*/ 9173 h 10000"/>
                    <a:gd name="connsiteX2" fmla="*/ 9999 w 10028"/>
                    <a:gd name="connsiteY2" fmla="*/ 7022 h 10000"/>
                    <a:gd name="connsiteX3" fmla="*/ 9735 w 10028"/>
                    <a:gd name="connsiteY3" fmla="*/ 2472 h 10000"/>
                    <a:gd name="connsiteX4" fmla="*/ 8676 w 10028"/>
                    <a:gd name="connsiteY4" fmla="*/ 735 h 10000"/>
                    <a:gd name="connsiteX5" fmla="*/ 6294 w 10028"/>
                    <a:gd name="connsiteY5" fmla="*/ 239 h 10000"/>
                    <a:gd name="connsiteX6" fmla="*/ 28 w 10028"/>
                    <a:gd name="connsiteY6" fmla="*/ 2969 h 10000"/>
                    <a:gd name="connsiteX7" fmla="*/ 4064 w 10028"/>
                    <a:gd name="connsiteY7" fmla="*/ 2084 h 10000"/>
                    <a:gd name="connsiteX8" fmla="*/ 6342 w 10028"/>
                    <a:gd name="connsiteY8" fmla="*/ 1843 h 10000"/>
                    <a:gd name="connsiteX9" fmla="*/ 7092 w 10028"/>
                    <a:gd name="connsiteY9" fmla="*/ 4496 h 10000"/>
                    <a:gd name="connsiteX10" fmla="*/ 3028 w 10028"/>
                    <a:gd name="connsiteY10" fmla="*/ 5368 h 10000"/>
                    <a:gd name="connsiteX11" fmla="*/ 6382 w 10028"/>
                    <a:gd name="connsiteY11" fmla="*/ 7849 h 10000"/>
                    <a:gd name="connsiteX12" fmla="*/ 6911 w 10028"/>
                    <a:gd name="connsiteY12" fmla="*/ 7104 h 10000"/>
                    <a:gd name="connsiteX13" fmla="*/ 7705 w 10028"/>
                    <a:gd name="connsiteY13" fmla="*/ 10000 h 10000"/>
                    <a:gd name="connsiteX0" fmla="*/ 7705 w 10028"/>
                    <a:gd name="connsiteY0" fmla="*/ 9909 h 9909"/>
                    <a:gd name="connsiteX1" fmla="*/ 8323 w 10028"/>
                    <a:gd name="connsiteY1" fmla="*/ 9082 h 9909"/>
                    <a:gd name="connsiteX2" fmla="*/ 9999 w 10028"/>
                    <a:gd name="connsiteY2" fmla="*/ 6931 h 9909"/>
                    <a:gd name="connsiteX3" fmla="*/ 9735 w 10028"/>
                    <a:gd name="connsiteY3" fmla="*/ 2381 h 9909"/>
                    <a:gd name="connsiteX4" fmla="*/ 8564 w 10028"/>
                    <a:gd name="connsiteY4" fmla="*/ 1169 h 9909"/>
                    <a:gd name="connsiteX5" fmla="*/ 6294 w 10028"/>
                    <a:gd name="connsiteY5" fmla="*/ 148 h 9909"/>
                    <a:gd name="connsiteX6" fmla="*/ 28 w 10028"/>
                    <a:gd name="connsiteY6" fmla="*/ 2878 h 9909"/>
                    <a:gd name="connsiteX7" fmla="*/ 4064 w 10028"/>
                    <a:gd name="connsiteY7" fmla="*/ 1993 h 9909"/>
                    <a:gd name="connsiteX8" fmla="*/ 6342 w 10028"/>
                    <a:gd name="connsiteY8" fmla="*/ 1752 h 9909"/>
                    <a:gd name="connsiteX9" fmla="*/ 7092 w 10028"/>
                    <a:gd name="connsiteY9" fmla="*/ 4405 h 9909"/>
                    <a:gd name="connsiteX10" fmla="*/ 3028 w 10028"/>
                    <a:gd name="connsiteY10" fmla="*/ 5277 h 9909"/>
                    <a:gd name="connsiteX11" fmla="*/ 6382 w 10028"/>
                    <a:gd name="connsiteY11" fmla="*/ 7758 h 9909"/>
                    <a:gd name="connsiteX12" fmla="*/ 6911 w 10028"/>
                    <a:gd name="connsiteY12" fmla="*/ 7013 h 9909"/>
                    <a:gd name="connsiteX13" fmla="*/ 7705 w 10028"/>
                    <a:gd name="connsiteY13" fmla="*/ 9909 h 9909"/>
                    <a:gd name="connsiteX0" fmla="*/ 7681 w 9998"/>
                    <a:gd name="connsiteY0" fmla="*/ 9562 h 9562"/>
                    <a:gd name="connsiteX1" fmla="*/ 8298 w 9998"/>
                    <a:gd name="connsiteY1" fmla="*/ 8727 h 9562"/>
                    <a:gd name="connsiteX2" fmla="*/ 9969 w 9998"/>
                    <a:gd name="connsiteY2" fmla="*/ 6557 h 9562"/>
                    <a:gd name="connsiteX3" fmla="*/ 9706 w 9998"/>
                    <a:gd name="connsiteY3" fmla="*/ 1965 h 9562"/>
                    <a:gd name="connsiteX4" fmla="*/ 8538 w 9998"/>
                    <a:gd name="connsiteY4" fmla="*/ 742 h 9562"/>
                    <a:gd name="connsiteX5" fmla="*/ 6162 w 9998"/>
                    <a:gd name="connsiteY5" fmla="*/ 241 h 9562"/>
                    <a:gd name="connsiteX6" fmla="*/ 26 w 9998"/>
                    <a:gd name="connsiteY6" fmla="*/ 2466 h 9562"/>
                    <a:gd name="connsiteX7" fmla="*/ 4051 w 9998"/>
                    <a:gd name="connsiteY7" fmla="*/ 1573 h 9562"/>
                    <a:gd name="connsiteX8" fmla="*/ 6322 w 9998"/>
                    <a:gd name="connsiteY8" fmla="*/ 1330 h 9562"/>
                    <a:gd name="connsiteX9" fmla="*/ 7070 w 9998"/>
                    <a:gd name="connsiteY9" fmla="*/ 4007 h 9562"/>
                    <a:gd name="connsiteX10" fmla="*/ 3018 w 9998"/>
                    <a:gd name="connsiteY10" fmla="*/ 4887 h 9562"/>
                    <a:gd name="connsiteX11" fmla="*/ 6362 w 9998"/>
                    <a:gd name="connsiteY11" fmla="*/ 7391 h 9562"/>
                    <a:gd name="connsiteX12" fmla="*/ 6890 w 9998"/>
                    <a:gd name="connsiteY12" fmla="*/ 6639 h 9562"/>
                    <a:gd name="connsiteX13" fmla="*/ 7681 w 9998"/>
                    <a:gd name="connsiteY13" fmla="*/ 9562 h 9562"/>
                    <a:gd name="connsiteX0" fmla="*/ 7683 w 10000"/>
                    <a:gd name="connsiteY0" fmla="*/ 9748 h 9748"/>
                    <a:gd name="connsiteX1" fmla="*/ 8300 w 10000"/>
                    <a:gd name="connsiteY1" fmla="*/ 8875 h 9748"/>
                    <a:gd name="connsiteX2" fmla="*/ 9971 w 10000"/>
                    <a:gd name="connsiteY2" fmla="*/ 6605 h 9748"/>
                    <a:gd name="connsiteX3" fmla="*/ 9708 w 10000"/>
                    <a:gd name="connsiteY3" fmla="*/ 1803 h 9748"/>
                    <a:gd name="connsiteX4" fmla="*/ 8540 w 10000"/>
                    <a:gd name="connsiteY4" fmla="*/ 524 h 9748"/>
                    <a:gd name="connsiteX5" fmla="*/ 6163 w 10000"/>
                    <a:gd name="connsiteY5" fmla="*/ 0 h 9748"/>
                    <a:gd name="connsiteX6" fmla="*/ 26 w 10000"/>
                    <a:gd name="connsiteY6" fmla="*/ 2327 h 9748"/>
                    <a:gd name="connsiteX7" fmla="*/ 4052 w 10000"/>
                    <a:gd name="connsiteY7" fmla="*/ 1393 h 9748"/>
                    <a:gd name="connsiteX8" fmla="*/ 6323 w 10000"/>
                    <a:gd name="connsiteY8" fmla="*/ 1139 h 9748"/>
                    <a:gd name="connsiteX9" fmla="*/ 7071 w 10000"/>
                    <a:gd name="connsiteY9" fmla="*/ 3939 h 9748"/>
                    <a:gd name="connsiteX10" fmla="*/ 3019 w 10000"/>
                    <a:gd name="connsiteY10" fmla="*/ 4859 h 9748"/>
                    <a:gd name="connsiteX11" fmla="*/ 6363 w 10000"/>
                    <a:gd name="connsiteY11" fmla="*/ 7478 h 9748"/>
                    <a:gd name="connsiteX12" fmla="*/ 6891 w 10000"/>
                    <a:gd name="connsiteY12" fmla="*/ 6691 h 9748"/>
                    <a:gd name="connsiteX13" fmla="*/ 7683 w 10000"/>
                    <a:gd name="connsiteY13" fmla="*/ 9748 h 9748"/>
                    <a:gd name="connsiteX0" fmla="*/ 7683 w 10000"/>
                    <a:gd name="connsiteY0" fmla="*/ 10000 h 10000"/>
                    <a:gd name="connsiteX1" fmla="*/ 8300 w 10000"/>
                    <a:gd name="connsiteY1" fmla="*/ 9104 h 10000"/>
                    <a:gd name="connsiteX2" fmla="*/ 9971 w 10000"/>
                    <a:gd name="connsiteY2" fmla="*/ 6776 h 10000"/>
                    <a:gd name="connsiteX3" fmla="*/ 9261 w 10000"/>
                    <a:gd name="connsiteY3" fmla="*/ 2646 h 10000"/>
                    <a:gd name="connsiteX4" fmla="*/ 8540 w 10000"/>
                    <a:gd name="connsiteY4" fmla="*/ 538 h 10000"/>
                    <a:gd name="connsiteX5" fmla="*/ 6163 w 10000"/>
                    <a:gd name="connsiteY5" fmla="*/ 0 h 10000"/>
                    <a:gd name="connsiteX6" fmla="*/ 26 w 10000"/>
                    <a:gd name="connsiteY6" fmla="*/ 2387 h 10000"/>
                    <a:gd name="connsiteX7" fmla="*/ 4052 w 10000"/>
                    <a:gd name="connsiteY7" fmla="*/ 1429 h 10000"/>
                    <a:gd name="connsiteX8" fmla="*/ 6323 w 10000"/>
                    <a:gd name="connsiteY8" fmla="*/ 1168 h 10000"/>
                    <a:gd name="connsiteX9" fmla="*/ 7071 w 10000"/>
                    <a:gd name="connsiteY9" fmla="*/ 4041 h 10000"/>
                    <a:gd name="connsiteX10" fmla="*/ 3019 w 10000"/>
                    <a:gd name="connsiteY10" fmla="*/ 4985 h 10000"/>
                    <a:gd name="connsiteX11" fmla="*/ 6363 w 10000"/>
                    <a:gd name="connsiteY11" fmla="*/ 7671 h 10000"/>
                    <a:gd name="connsiteX12" fmla="*/ 6891 w 10000"/>
                    <a:gd name="connsiteY12" fmla="*/ 6864 h 10000"/>
                    <a:gd name="connsiteX13" fmla="*/ 7683 w 10000"/>
                    <a:gd name="connsiteY13" fmla="*/ 10000 h 10000"/>
                    <a:gd name="connsiteX0" fmla="*/ 7683 w 10000"/>
                    <a:gd name="connsiteY0" fmla="*/ 10000 h 10000"/>
                    <a:gd name="connsiteX1" fmla="*/ 8300 w 10000"/>
                    <a:gd name="connsiteY1" fmla="*/ 9104 h 10000"/>
                    <a:gd name="connsiteX2" fmla="*/ 9971 w 10000"/>
                    <a:gd name="connsiteY2" fmla="*/ 6776 h 10000"/>
                    <a:gd name="connsiteX3" fmla="*/ 9261 w 10000"/>
                    <a:gd name="connsiteY3" fmla="*/ 2646 h 10000"/>
                    <a:gd name="connsiteX4" fmla="*/ 8540 w 10000"/>
                    <a:gd name="connsiteY4" fmla="*/ 538 h 10000"/>
                    <a:gd name="connsiteX5" fmla="*/ 6163 w 10000"/>
                    <a:gd name="connsiteY5" fmla="*/ 0 h 10000"/>
                    <a:gd name="connsiteX6" fmla="*/ 26 w 10000"/>
                    <a:gd name="connsiteY6" fmla="*/ 2387 h 10000"/>
                    <a:gd name="connsiteX7" fmla="*/ 4052 w 10000"/>
                    <a:gd name="connsiteY7" fmla="*/ 1429 h 10000"/>
                    <a:gd name="connsiteX8" fmla="*/ 6323 w 10000"/>
                    <a:gd name="connsiteY8" fmla="*/ 1168 h 10000"/>
                    <a:gd name="connsiteX9" fmla="*/ 7071 w 10000"/>
                    <a:gd name="connsiteY9" fmla="*/ 4041 h 10000"/>
                    <a:gd name="connsiteX10" fmla="*/ 3019 w 10000"/>
                    <a:gd name="connsiteY10" fmla="*/ 4985 h 10000"/>
                    <a:gd name="connsiteX11" fmla="*/ 6363 w 10000"/>
                    <a:gd name="connsiteY11" fmla="*/ 7671 h 10000"/>
                    <a:gd name="connsiteX12" fmla="*/ 6891 w 10000"/>
                    <a:gd name="connsiteY12" fmla="*/ 6864 h 10000"/>
                    <a:gd name="connsiteX13" fmla="*/ 7683 w 10000"/>
                    <a:gd name="connsiteY13" fmla="*/ 10000 h 10000"/>
                    <a:gd name="connsiteX0" fmla="*/ 7683 w 9261"/>
                    <a:gd name="connsiteY0" fmla="*/ 10000 h 10000"/>
                    <a:gd name="connsiteX1" fmla="*/ 8300 w 9261"/>
                    <a:gd name="connsiteY1" fmla="*/ 9104 h 10000"/>
                    <a:gd name="connsiteX2" fmla="*/ 9188 w 9261"/>
                    <a:gd name="connsiteY2" fmla="*/ 5980 h 10000"/>
                    <a:gd name="connsiteX3" fmla="*/ 9261 w 9261"/>
                    <a:gd name="connsiteY3" fmla="*/ 2646 h 10000"/>
                    <a:gd name="connsiteX4" fmla="*/ 8540 w 9261"/>
                    <a:gd name="connsiteY4" fmla="*/ 538 h 10000"/>
                    <a:gd name="connsiteX5" fmla="*/ 6163 w 9261"/>
                    <a:gd name="connsiteY5" fmla="*/ 0 h 10000"/>
                    <a:gd name="connsiteX6" fmla="*/ 26 w 9261"/>
                    <a:gd name="connsiteY6" fmla="*/ 2387 h 10000"/>
                    <a:gd name="connsiteX7" fmla="*/ 4052 w 9261"/>
                    <a:gd name="connsiteY7" fmla="*/ 1429 h 10000"/>
                    <a:gd name="connsiteX8" fmla="*/ 6323 w 9261"/>
                    <a:gd name="connsiteY8" fmla="*/ 1168 h 10000"/>
                    <a:gd name="connsiteX9" fmla="*/ 7071 w 9261"/>
                    <a:gd name="connsiteY9" fmla="*/ 4041 h 10000"/>
                    <a:gd name="connsiteX10" fmla="*/ 3019 w 9261"/>
                    <a:gd name="connsiteY10" fmla="*/ 4985 h 10000"/>
                    <a:gd name="connsiteX11" fmla="*/ 6363 w 9261"/>
                    <a:gd name="connsiteY11" fmla="*/ 7671 h 10000"/>
                    <a:gd name="connsiteX12" fmla="*/ 6891 w 9261"/>
                    <a:gd name="connsiteY12" fmla="*/ 6864 h 10000"/>
                    <a:gd name="connsiteX13" fmla="*/ 7683 w 9261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168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168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850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850 h 10000"/>
                    <a:gd name="connsiteX9" fmla="*/ 7273 w 10000"/>
                    <a:gd name="connsiteY9" fmla="*/ 3359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000" h="10000">
                      <a:moveTo>
                        <a:pt x="8296" y="10000"/>
                      </a:moveTo>
                      <a:cubicBezTo>
                        <a:pt x="8296" y="10000"/>
                        <a:pt x="8691" y="9774"/>
                        <a:pt x="8962" y="9104"/>
                      </a:cubicBezTo>
                      <a:cubicBezTo>
                        <a:pt x="9233" y="8434"/>
                        <a:pt x="10206" y="6697"/>
                        <a:pt x="9921" y="5980"/>
                      </a:cubicBezTo>
                      <a:cubicBezTo>
                        <a:pt x="9637" y="5174"/>
                        <a:pt x="9809" y="3541"/>
                        <a:pt x="10000" y="2646"/>
                      </a:cubicBezTo>
                      <a:cubicBezTo>
                        <a:pt x="9612" y="1750"/>
                        <a:pt x="9982" y="1344"/>
                        <a:pt x="9221" y="538"/>
                      </a:cubicBezTo>
                      <a:cubicBezTo>
                        <a:pt x="8461" y="-178"/>
                        <a:pt x="8149" y="260"/>
                        <a:pt x="6655" y="0"/>
                      </a:cubicBezTo>
                      <a:cubicBezTo>
                        <a:pt x="5039" y="447"/>
                        <a:pt x="408" y="2149"/>
                        <a:pt x="28" y="2387"/>
                      </a:cubicBezTo>
                      <a:cubicBezTo>
                        <a:pt x="-352" y="2625"/>
                        <a:pt x="3242" y="1518"/>
                        <a:pt x="4375" y="1429"/>
                      </a:cubicBezTo>
                      <a:cubicBezTo>
                        <a:pt x="5508" y="1340"/>
                        <a:pt x="6606" y="1568"/>
                        <a:pt x="6828" y="1850"/>
                      </a:cubicBezTo>
                      <a:cubicBezTo>
                        <a:pt x="7050" y="2134"/>
                        <a:pt x="7868" y="2837"/>
                        <a:pt x="7273" y="3359"/>
                      </a:cubicBezTo>
                      <a:cubicBezTo>
                        <a:pt x="6678" y="3882"/>
                        <a:pt x="3449" y="4268"/>
                        <a:pt x="3260" y="4985"/>
                      </a:cubicBezTo>
                      <a:cubicBezTo>
                        <a:pt x="6715" y="5360"/>
                        <a:pt x="6776" y="6864"/>
                        <a:pt x="6871" y="7671"/>
                      </a:cubicBezTo>
                      <a:cubicBezTo>
                        <a:pt x="6871" y="7671"/>
                        <a:pt x="7251" y="6686"/>
                        <a:pt x="7441" y="6864"/>
                      </a:cubicBezTo>
                      <a:cubicBezTo>
                        <a:pt x="7535" y="7135"/>
                        <a:pt x="7726" y="6418"/>
                        <a:pt x="8296" y="1000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97">
                  <a:extLst>
                    <a:ext uri="{FF2B5EF4-FFF2-40B4-BE49-F238E27FC236}">
                      <a16:creationId xmlns:a16="http://schemas.microsoft.com/office/drawing/2014/main" id="{AC5B1CC6-3C5C-4388-8E36-54DD7AE67B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0917" y="4031890"/>
                  <a:ext cx="81183" cy="173828"/>
                </a:xfrm>
                <a:custGeom>
                  <a:avLst/>
                  <a:gdLst>
                    <a:gd name="T0" fmla="*/ 0 w 36"/>
                    <a:gd name="T1" fmla="*/ 2 h 77"/>
                    <a:gd name="T2" fmla="*/ 16 w 36"/>
                    <a:gd name="T3" fmla="*/ 31 h 77"/>
                    <a:gd name="T4" fmla="*/ 20 w 36"/>
                    <a:gd name="T5" fmla="*/ 63 h 77"/>
                    <a:gd name="T6" fmla="*/ 26 w 36"/>
                    <a:gd name="T7" fmla="*/ 33 h 77"/>
                    <a:gd name="T8" fmla="*/ 0 w 36"/>
                    <a:gd name="T9" fmla="*/ 2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7">
                      <a:moveTo>
                        <a:pt x="0" y="2"/>
                      </a:moveTo>
                      <a:cubicBezTo>
                        <a:pt x="0" y="2"/>
                        <a:pt x="13" y="23"/>
                        <a:pt x="16" y="31"/>
                      </a:cubicBezTo>
                      <a:cubicBezTo>
                        <a:pt x="20" y="39"/>
                        <a:pt x="24" y="61"/>
                        <a:pt x="20" y="63"/>
                      </a:cubicBezTo>
                      <a:cubicBezTo>
                        <a:pt x="15" y="66"/>
                        <a:pt x="36" y="77"/>
                        <a:pt x="26" y="33"/>
                      </a:cubicBezTo>
                      <a:cubicBezTo>
                        <a:pt x="26" y="33"/>
                        <a:pt x="14" y="0"/>
                        <a:pt x="0" y="2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8" name="Freeform 98">
                  <a:extLst>
                    <a:ext uri="{FF2B5EF4-FFF2-40B4-BE49-F238E27FC236}">
                      <a16:creationId xmlns:a16="http://schemas.microsoft.com/office/drawing/2014/main" id="{33FAD392-2E7C-4A7B-8CE0-0D57AD25859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69905" y="4056722"/>
                  <a:ext cx="36294" cy="108881"/>
                </a:xfrm>
                <a:custGeom>
                  <a:avLst/>
                  <a:gdLst>
                    <a:gd name="T0" fmla="*/ 7 w 16"/>
                    <a:gd name="T1" fmla="*/ 0 h 48"/>
                    <a:gd name="T2" fmla="*/ 15 w 16"/>
                    <a:gd name="T3" fmla="*/ 27 h 48"/>
                    <a:gd name="T4" fmla="*/ 12 w 16"/>
                    <a:gd name="T5" fmla="*/ 44 h 48"/>
                    <a:gd name="T6" fmla="*/ 1 w 16"/>
                    <a:gd name="T7" fmla="*/ 31 h 48"/>
                    <a:gd name="T8" fmla="*/ 7 w 16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48">
                      <a:moveTo>
                        <a:pt x="7" y="0"/>
                      </a:moveTo>
                      <a:cubicBezTo>
                        <a:pt x="7" y="0"/>
                        <a:pt x="13" y="20"/>
                        <a:pt x="15" y="27"/>
                      </a:cubicBezTo>
                      <a:cubicBezTo>
                        <a:pt x="16" y="34"/>
                        <a:pt x="16" y="48"/>
                        <a:pt x="12" y="44"/>
                      </a:cubicBezTo>
                      <a:cubicBezTo>
                        <a:pt x="8" y="41"/>
                        <a:pt x="1" y="38"/>
                        <a:pt x="1" y="31"/>
                      </a:cubicBezTo>
                      <a:cubicBezTo>
                        <a:pt x="0" y="24"/>
                        <a:pt x="6" y="3"/>
                        <a:pt x="7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9" name="Freeform 99">
                  <a:extLst>
                    <a:ext uri="{FF2B5EF4-FFF2-40B4-BE49-F238E27FC236}">
                      <a16:creationId xmlns:a16="http://schemas.microsoft.com/office/drawing/2014/main" id="{0563C2AC-E5A2-42DD-B86A-09C0827560C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19570" y="3950707"/>
                  <a:ext cx="74498" cy="993300"/>
                </a:xfrm>
                <a:custGeom>
                  <a:avLst/>
                  <a:gdLst>
                    <a:gd name="T0" fmla="*/ 23 w 33"/>
                    <a:gd name="T1" fmla="*/ 0 h 440"/>
                    <a:gd name="T2" fmla="*/ 25 w 33"/>
                    <a:gd name="T3" fmla="*/ 130 h 440"/>
                    <a:gd name="T4" fmla="*/ 21 w 33"/>
                    <a:gd name="T5" fmla="*/ 157 h 440"/>
                    <a:gd name="T6" fmla="*/ 13 w 33"/>
                    <a:gd name="T7" fmla="*/ 229 h 440"/>
                    <a:gd name="T8" fmla="*/ 5 w 33"/>
                    <a:gd name="T9" fmla="*/ 284 h 440"/>
                    <a:gd name="T10" fmla="*/ 7 w 33"/>
                    <a:gd name="T11" fmla="*/ 308 h 440"/>
                    <a:gd name="T12" fmla="*/ 15 w 33"/>
                    <a:gd name="T13" fmla="*/ 386 h 440"/>
                    <a:gd name="T14" fmla="*/ 4 w 33"/>
                    <a:gd name="T15" fmla="*/ 437 h 440"/>
                    <a:gd name="T16" fmla="*/ 15 w 33"/>
                    <a:gd name="T17" fmla="*/ 413 h 440"/>
                    <a:gd name="T18" fmla="*/ 19 w 33"/>
                    <a:gd name="T19" fmla="*/ 351 h 440"/>
                    <a:gd name="T20" fmla="*/ 10 w 33"/>
                    <a:gd name="T21" fmla="*/ 297 h 440"/>
                    <a:gd name="T22" fmla="*/ 15 w 33"/>
                    <a:gd name="T23" fmla="*/ 273 h 440"/>
                    <a:gd name="T24" fmla="*/ 25 w 33"/>
                    <a:gd name="T25" fmla="*/ 171 h 440"/>
                    <a:gd name="T26" fmla="*/ 31 w 33"/>
                    <a:gd name="T27" fmla="*/ 125 h 440"/>
                    <a:gd name="T28" fmla="*/ 23 w 33"/>
                    <a:gd name="T29" fmla="*/ 0 h 4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3" h="440">
                      <a:moveTo>
                        <a:pt x="23" y="0"/>
                      </a:moveTo>
                      <a:cubicBezTo>
                        <a:pt x="23" y="0"/>
                        <a:pt x="23" y="124"/>
                        <a:pt x="25" y="130"/>
                      </a:cubicBezTo>
                      <a:cubicBezTo>
                        <a:pt x="27" y="136"/>
                        <a:pt x="25" y="148"/>
                        <a:pt x="21" y="157"/>
                      </a:cubicBezTo>
                      <a:cubicBezTo>
                        <a:pt x="17" y="167"/>
                        <a:pt x="15" y="210"/>
                        <a:pt x="13" y="229"/>
                      </a:cubicBezTo>
                      <a:cubicBezTo>
                        <a:pt x="11" y="247"/>
                        <a:pt x="9" y="279"/>
                        <a:pt x="5" y="284"/>
                      </a:cubicBezTo>
                      <a:cubicBezTo>
                        <a:pt x="0" y="289"/>
                        <a:pt x="3" y="301"/>
                        <a:pt x="7" y="308"/>
                      </a:cubicBezTo>
                      <a:cubicBezTo>
                        <a:pt x="11" y="315"/>
                        <a:pt x="16" y="376"/>
                        <a:pt x="15" y="386"/>
                      </a:cubicBezTo>
                      <a:cubicBezTo>
                        <a:pt x="13" y="396"/>
                        <a:pt x="3" y="433"/>
                        <a:pt x="4" y="437"/>
                      </a:cubicBezTo>
                      <a:cubicBezTo>
                        <a:pt x="5" y="440"/>
                        <a:pt x="11" y="427"/>
                        <a:pt x="15" y="413"/>
                      </a:cubicBezTo>
                      <a:cubicBezTo>
                        <a:pt x="19" y="399"/>
                        <a:pt x="23" y="380"/>
                        <a:pt x="19" y="351"/>
                      </a:cubicBezTo>
                      <a:cubicBezTo>
                        <a:pt x="19" y="351"/>
                        <a:pt x="15" y="308"/>
                        <a:pt x="10" y="297"/>
                      </a:cubicBezTo>
                      <a:cubicBezTo>
                        <a:pt x="10" y="297"/>
                        <a:pt x="7" y="293"/>
                        <a:pt x="15" y="273"/>
                      </a:cubicBezTo>
                      <a:cubicBezTo>
                        <a:pt x="15" y="273"/>
                        <a:pt x="24" y="187"/>
                        <a:pt x="25" y="171"/>
                      </a:cubicBezTo>
                      <a:cubicBezTo>
                        <a:pt x="27" y="155"/>
                        <a:pt x="33" y="143"/>
                        <a:pt x="31" y="125"/>
                      </a:cubicBezTo>
                      <a:cubicBezTo>
                        <a:pt x="30" y="106"/>
                        <a:pt x="27" y="9"/>
                        <a:pt x="23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100">
                  <a:extLst>
                    <a:ext uri="{FF2B5EF4-FFF2-40B4-BE49-F238E27FC236}">
                      <a16:creationId xmlns:a16="http://schemas.microsoft.com/office/drawing/2014/main" id="{AE07859C-6B06-43B6-B45C-812EEC8D75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6711" y="4336566"/>
                  <a:ext cx="241640" cy="483279"/>
                </a:xfrm>
                <a:custGeom>
                  <a:avLst/>
                  <a:gdLst>
                    <a:gd name="T0" fmla="*/ 107 w 107"/>
                    <a:gd name="T1" fmla="*/ 0 h 214"/>
                    <a:gd name="T2" fmla="*/ 59 w 107"/>
                    <a:gd name="T3" fmla="*/ 85 h 214"/>
                    <a:gd name="T4" fmla="*/ 29 w 107"/>
                    <a:gd name="T5" fmla="*/ 151 h 214"/>
                    <a:gd name="T6" fmla="*/ 11 w 107"/>
                    <a:gd name="T7" fmla="*/ 194 h 214"/>
                    <a:gd name="T8" fmla="*/ 37 w 107"/>
                    <a:gd name="T9" fmla="*/ 212 h 214"/>
                    <a:gd name="T10" fmla="*/ 77 w 107"/>
                    <a:gd name="T11" fmla="*/ 209 h 214"/>
                    <a:gd name="T12" fmla="*/ 82 w 107"/>
                    <a:gd name="T13" fmla="*/ 140 h 214"/>
                    <a:gd name="T14" fmla="*/ 100 w 107"/>
                    <a:gd name="T15" fmla="*/ 63 h 214"/>
                    <a:gd name="T16" fmla="*/ 107 w 107"/>
                    <a:gd name="T17" fmla="*/ 0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7" h="214">
                      <a:moveTo>
                        <a:pt x="107" y="0"/>
                      </a:moveTo>
                      <a:cubicBezTo>
                        <a:pt x="107" y="0"/>
                        <a:pt x="63" y="73"/>
                        <a:pt x="59" y="85"/>
                      </a:cubicBezTo>
                      <a:cubicBezTo>
                        <a:pt x="56" y="97"/>
                        <a:pt x="34" y="138"/>
                        <a:pt x="29" y="151"/>
                      </a:cubicBezTo>
                      <a:cubicBezTo>
                        <a:pt x="23" y="164"/>
                        <a:pt x="0" y="187"/>
                        <a:pt x="11" y="194"/>
                      </a:cubicBezTo>
                      <a:cubicBezTo>
                        <a:pt x="21" y="200"/>
                        <a:pt x="22" y="211"/>
                        <a:pt x="37" y="212"/>
                      </a:cubicBezTo>
                      <a:cubicBezTo>
                        <a:pt x="53" y="214"/>
                        <a:pt x="77" y="209"/>
                        <a:pt x="77" y="209"/>
                      </a:cubicBezTo>
                      <a:cubicBezTo>
                        <a:pt x="77" y="209"/>
                        <a:pt x="80" y="150"/>
                        <a:pt x="82" y="140"/>
                      </a:cubicBezTo>
                      <a:cubicBezTo>
                        <a:pt x="84" y="130"/>
                        <a:pt x="100" y="68"/>
                        <a:pt x="100" y="63"/>
                      </a:cubicBezTo>
                      <a:cubicBezTo>
                        <a:pt x="100" y="58"/>
                        <a:pt x="107" y="0"/>
                        <a:pt x="107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1" name="Freeform 101">
                  <a:extLst>
                    <a:ext uri="{FF2B5EF4-FFF2-40B4-BE49-F238E27FC236}">
                      <a16:creationId xmlns:a16="http://schemas.microsoft.com/office/drawing/2014/main" id="{88807245-5915-47D4-B2ED-C7B1BE461E1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29691" y="4029980"/>
                  <a:ext cx="155681" cy="205346"/>
                </a:xfrm>
                <a:custGeom>
                  <a:avLst/>
                  <a:gdLst>
                    <a:gd name="T0" fmla="*/ 3 w 69"/>
                    <a:gd name="T1" fmla="*/ 0 h 91"/>
                    <a:gd name="T2" fmla="*/ 39 w 69"/>
                    <a:gd name="T3" fmla="*/ 57 h 91"/>
                    <a:gd name="T4" fmla="*/ 64 w 69"/>
                    <a:gd name="T5" fmla="*/ 85 h 91"/>
                    <a:gd name="T6" fmla="*/ 46 w 69"/>
                    <a:gd name="T7" fmla="*/ 78 h 91"/>
                    <a:gd name="T8" fmla="*/ 18 w 69"/>
                    <a:gd name="T9" fmla="*/ 46 h 91"/>
                    <a:gd name="T10" fmla="*/ 34 w 69"/>
                    <a:gd name="T11" fmla="*/ 80 h 91"/>
                    <a:gd name="T12" fmla="*/ 13 w 69"/>
                    <a:gd name="T13" fmla="*/ 62 h 91"/>
                    <a:gd name="T14" fmla="*/ 0 w 69"/>
                    <a:gd name="T15" fmla="*/ 47 h 91"/>
                    <a:gd name="T16" fmla="*/ 3 w 69"/>
                    <a:gd name="T1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91">
                      <a:moveTo>
                        <a:pt x="3" y="0"/>
                      </a:moveTo>
                      <a:cubicBezTo>
                        <a:pt x="3" y="0"/>
                        <a:pt x="30" y="48"/>
                        <a:pt x="39" y="57"/>
                      </a:cubicBezTo>
                      <a:cubicBezTo>
                        <a:pt x="48" y="66"/>
                        <a:pt x="69" y="79"/>
                        <a:pt x="64" y="85"/>
                      </a:cubicBezTo>
                      <a:cubicBezTo>
                        <a:pt x="60" y="91"/>
                        <a:pt x="62" y="86"/>
                        <a:pt x="46" y="78"/>
                      </a:cubicBezTo>
                      <a:cubicBezTo>
                        <a:pt x="30" y="70"/>
                        <a:pt x="20" y="51"/>
                        <a:pt x="18" y="46"/>
                      </a:cubicBezTo>
                      <a:cubicBezTo>
                        <a:pt x="16" y="42"/>
                        <a:pt x="26" y="76"/>
                        <a:pt x="34" y="80"/>
                      </a:cubicBezTo>
                      <a:cubicBezTo>
                        <a:pt x="41" y="85"/>
                        <a:pt x="24" y="88"/>
                        <a:pt x="13" y="62"/>
                      </a:cubicBezTo>
                      <a:cubicBezTo>
                        <a:pt x="2" y="35"/>
                        <a:pt x="0" y="47"/>
                        <a:pt x="0" y="47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" name="Freeform 102">
                  <a:extLst>
                    <a:ext uri="{FF2B5EF4-FFF2-40B4-BE49-F238E27FC236}">
                      <a16:creationId xmlns:a16="http://schemas.microsoft.com/office/drawing/2014/main" id="{07E62225-D775-4CF1-951B-10D82221E3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5250" y="4555283"/>
                  <a:ext cx="29608" cy="115567"/>
                </a:xfrm>
                <a:custGeom>
                  <a:avLst/>
                  <a:gdLst>
                    <a:gd name="T0" fmla="*/ 13 w 13"/>
                    <a:gd name="T1" fmla="*/ 0 h 51"/>
                    <a:gd name="T2" fmla="*/ 1 w 13"/>
                    <a:gd name="T3" fmla="*/ 47 h 51"/>
                    <a:gd name="T4" fmla="*/ 10 w 13"/>
                    <a:gd name="T5" fmla="*/ 43 h 51"/>
                    <a:gd name="T6" fmla="*/ 13 w 13"/>
                    <a:gd name="T7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51">
                      <a:moveTo>
                        <a:pt x="13" y="0"/>
                      </a:moveTo>
                      <a:cubicBezTo>
                        <a:pt x="13" y="0"/>
                        <a:pt x="0" y="16"/>
                        <a:pt x="1" y="47"/>
                      </a:cubicBezTo>
                      <a:cubicBezTo>
                        <a:pt x="1" y="47"/>
                        <a:pt x="8" y="51"/>
                        <a:pt x="10" y="43"/>
                      </a:cubicBezTo>
                      <a:cubicBezTo>
                        <a:pt x="12" y="36"/>
                        <a:pt x="3" y="20"/>
                        <a:pt x="13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3" name="Freeform 103">
                  <a:extLst>
                    <a:ext uri="{FF2B5EF4-FFF2-40B4-BE49-F238E27FC236}">
                      <a16:creationId xmlns:a16="http://schemas.microsoft.com/office/drawing/2014/main" id="{8D287D9E-CEC9-4915-970A-2A87BF971B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16320" y="4412973"/>
                  <a:ext cx="148995" cy="219672"/>
                </a:xfrm>
                <a:custGeom>
                  <a:avLst/>
                  <a:gdLst>
                    <a:gd name="T0" fmla="*/ 0 w 66"/>
                    <a:gd name="T1" fmla="*/ 67 h 97"/>
                    <a:gd name="T2" fmla="*/ 6 w 66"/>
                    <a:gd name="T3" fmla="*/ 94 h 97"/>
                    <a:gd name="T4" fmla="*/ 20 w 66"/>
                    <a:gd name="T5" fmla="*/ 74 h 97"/>
                    <a:gd name="T6" fmla="*/ 62 w 66"/>
                    <a:gd name="T7" fmla="*/ 6 h 97"/>
                    <a:gd name="T8" fmla="*/ 14 w 66"/>
                    <a:gd name="T9" fmla="*/ 36 h 97"/>
                    <a:gd name="T10" fmla="*/ 8 w 66"/>
                    <a:gd name="T11" fmla="*/ 55 h 97"/>
                    <a:gd name="T12" fmla="*/ 0 w 66"/>
                    <a:gd name="T13" fmla="*/ 6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6" h="97">
                      <a:moveTo>
                        <a:pt x="0" y="67"/>
                      </a:moveTo>
                      <a:cubicBezTo>
                        <a:pt x="0" y="67"/>
                        <a:pt x="2" y="92"/>
                        <a:pt x="6" y="94"/>
                      </a:cubicBezTo>
                      <a:cubicBezTo>
                        <a:pt x="9" y="97"/>
                        <a:pt x="17" y="80"/>
                        <a:pt x="20" y="74"/>
                      </a:cubicBezTo>
                      <a:cubicBezTo>
                        <a:pt x="22" y="68"/>
                        <a:pt x="58" y="12"/>
                        <a:pt x="62" y="6"/>
                      </a:cubicBezTo>
                      <a:cubicBezTo>
                        <a:pt x="66" y="0"/>
                        <a:pt x="20" y="32"/>
                        <a:pt x="14" y="36"/>
                      </a:cubicBezTo>
                      <a:cubicBezTo>
                        <a:pt x="8" y="40"/>
                        <a:pt x="8" y="43"/>
                        <a:pt x="8" y="55"/>
                      </a:cubicBezTo>
                      <a:cubicBezTo>
                        <a:pt x="8" y="67"/>
                        <a:pt x="2" y="60"/>
                        <a:pt x="0" y="67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105">
                  <a:extLst>
                    <a:ext uri="{FF2B5EF4-FFF2-40B4-BE49-F238E27FC236}">
                      <a16:creationId xmlns:a16="http://schemas.microsoft.com/office/drawing/2014/main" id="{DBDB360C-9AF8-4F70-9D71-1691823F332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53953" y="4959289"/>
                  <a:ext cx="63036" cy="97420"/>
                </a:xfrm>
                <a:custGeom>
                  <a:avLst/>
                  <a:gdLst>
                    <a:gd name="T0" fmla="*/ 26 w 28"/>
                    <a:gd name="T1" fmla="*/ 0 h 43"/>
                    <a:gd name="T2" fmla="*/ 2 w 28"/>
                    <a:gd name="T3" fmla="*/ 24 h 43"/>
                    <a:gd name="T4" fmla="*/ 0 w 28"/>
                    <a:gd name="T5" fmla="*/ 43 h 43"/>
                    <a:gd name="T6" fmla="*/ 7 w 28"/>
                    <a:gd name="T7" fmla="*/ 24 h 43"/>
                    <a:gd name="T8" fmla="*/ 28 w 28"/>
                    <a:gd name="T9" fmla="*/ 7 h 43"/>
                    <a:gd name="T10" fmla="*/ 26 w 28"/>
                    <a:gd name="T11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43">
                      <a:moveTo>
                        <a:pt x="26" y="0"/>
                      </a:moveTo>
                      <a:cubicBezTo>
                        <a:pt x="26" y="0"/>
                        <a:pt x="2" y="18"/>
                        <a:pt x="2" y="24"/>
                      </a:cubicBezTo>
                      <a:cubicBezTo>
                        <a:pt x="1" y="30"/>
                        <a:pt x="0" y="43"/>
                        <a:pt x="0" y="43"/>
                      </a:cubicBezTo>
                      <a:cubicBezTo>
                        <a:pt x="0" y="43"/>
                        <a:pt x="0" y="29"/>
                        <a:pt x="7" y="24"/>
                      </a:cubicBezTo>
                      <a:cubicBezTo>
                        <a:pt x="14" y="20"/>
                        <a:pt x="28" y="7"/>
                        <a:pt x="28" y="7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106">
                  <a:extLst>
                    <a:ext uri="{FF2B5EF4-FFF2-40B4-BE49-F238E27FC236}">
                      <a16:creationId xmlns:a16="http://schemas.microsoft.com/office/drawing/2014/main" id="{3EFD4114-A828-4583-80AE-F972355710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2036" y="5078675"/>
                  <a:ext cx="169052" cy="65902"/>
                </a:xfrm>
                <a:custGeom>
                  <a:avLst/>
                  <a:gdLst>
                    <a:gd name="T0" fmla="*/ 74 w 75"/>
                    <a:gd name="T1" fmla="*/ 0 h 29"/>
                    <a:gd name="T2" fmla="*/ 50 w 75"/>
                    <a:gd name="T3" fmla="*/ 18 h 29"/>
                    <a:gd name="T4" fmla="*/ 4 w 75"/>
                    <a:gd name="T5" fmla="*/ 15 h 29"/>
                    <a:gd name="T6" fmla="*/ 44 w 75"/>
                    <a:gd name="T7" fmla="*/ 26 h 29"/>
                    <a:gd name="T8" fmla="*/ 75 w 75"/>
                    <a:gd name="T9" fmla="*/ 12 h 29"/>
                    <a:gd name="T10" fmla="*/ 74 w 75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5" h="29">
                      <a:moveTo>
                        <a:pt x="74" y="0"/>
                      </a:moveTo>
                      <a:cubicBezTo>
                        <a:pt x="74" y="0"/>
                        <a:pt x="61" y="15"/>
                        <a:pt x="50" y="18"/>
                      </a:cubicBezTo>
                      <a:cubicBezTo>
                        <a:pt x="40" y="21"/>
                        <a:pt x="8" y="18"/>
                        <a:pt x="4" y="15"/>
                      </a:cubicBezTo>
                      <a:cubicBezTo>
                        <a:pt x="0" y="11"/>
                        <a:pt x="15" y="29"/>
                        <a:pt x="44" y="26"/>
                      </a:cubicBezTo>
                      <a:cubicBezTo>
                        <a:pt x="44" y="26"/>
                        <a:pt x="65" y="25"/>
                        <a:pt x="75" y="12"/>
                      </a:cubicBez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Freeform 107">
                  <a:extLst>
                    <a:ext uri="{FF2B5EF4-FFF2-40B4-BE49-F238E27FC236}">
                      <a16:creationId xmlns:a16="http://schemas.microsoft.com/office/drawing/2014/main" id="{C6640A36-E56B-470B-8871-4EFA7A5084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73910" y="4853273"/>
                  <a:ext cx="85959" cy="51575"/>
                </a:xfrm>
                <a:custGeom>
                  <a:avLst/>
                  <a:gdLst>
                    <a:gd name="T0" fmla="*/ 19 w 38"/>
                    <a:gd name="T1" fmla="*/ 2 h 23"/>
                    <a:gd name="T2" fmla="*/ 7 w 38"/>
                    <a:gd name="T3" fmla="*/ 7 h 23"/>
                    <a:gd name="T4" fmla="*/ 15 w 38"/>
                    <a:gd name="T5" fmla="*/ 18 h 23"/>
                    <a:gd name="T6" fmla="*/ 38 w 38"/>
                    <a:gd name="T7" fmla="*/ 23 h 23"/>
                    <a:gd name="T8" fmla="*/ 19 w 38"/>
                    <a:gd name="T9" fmla="*/ 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23">
                      <a:moveTo>
                        <a:pt x="19" y="2"/>
                      </a:moveTo>
                      <a:cubicBezTo>
                        <a:pt x="19" y="2"/>
                        <a:pt x="12" y="0"/>
                        <a:pt x="7" y="7"/>
                      </a:cubicBezTo>
                      <a:cubicBezTo>
                        <a:pt x="2" y="13"/>
                        <a:pt x="0" y="13"/>
                        <a:pt x="15" y="18"/>
                      </a:cubicBezTo>
                      <a:cubicBezTo>
                        <a:pt x="30" y="23"/>
                        <a:pt x="38" y="23"/>
                        <a:pt x="38" y="23"/>
                      </a:cubicBezTo>
                      <a:cubicBezTo>
                        <a:pt x="38" y="23"/>
                        <a:pt x="26" y="3"/>
                        <a:pt x="19" y="2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Freeform 108">
                  <a:extLst>
                    <a:ext uri="{FF2B5EF4-FFF2-40B4-BE49-F238E27FC236}">
                      <a16:creationId xmlns:a16="http://schemas.microsoft.com/office/drawing/2014/main" id="{FA0CF638-577B-4502-B4B2-684AC2BFD7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84131" y="4823665"/>
                  <a:ext cx="106016" cy="99330"/>
                </a:xfrm>
                <a:custGeom>
                  <a:avLst/>
                  <a:gdLst>
                    <a:gd name="T0" fmla="*/ 10 w 47"/>
                    <a:gd name="T1" fmla="*/ 5 h 44"/>
                    <a:gd name="T2" fmla="*/ 18 w 47"/>
                    <a:gd name="T3" fmla="*/ 22 h 44"/>
                    <a:gd name="T4" fmla="*/ 38 w 47"/>
                    <a:gd name="T5" fmla="*/ 32 h 44"/>
                    <a:gd name="T6" fmla="*/ 47 w 47"/>
                    <a:gd name="T7" fmla="*/ 44 h 44"/>
                    <a:gd name="T8" fmla="*/ 12 w 47"/>
                    <a:gd name="T9" fmla="*/ 32 h 44"/>
                    <a:gd name="T10" fmla="*/ 2 w 47"/>
                    <a:gd name="T11" fmla="*/ 10 h 44"/>
                    <a:gd name="T12" fmla="*/ 10 w 47"/>
                    <a:gd name="T13" fmla="*/ 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44">
                      <a:moveTo>
                        <a:pt x="10" y="5"/>
                      </a:moveTo>
                      <a:cubicBezTo>
                        <a:pt x="10" y="5"/>
                        <a:pt x="9" y="12"/>
                        <a:pt x="18" y="22"/>
                      </a:cubicBezTo>
                      <a:cubicBezTo>
                        <a:pt x="26" y="32"/>
                        <a:pt x="29" y="28"/>
                        <a:pt x="38" y="32"/>
                      </a:cubicBezTo>
                      <a:cubicBezTo>
                        <a:pt x="46" y="35"/>
                        <a:pt x="47" y="44"/>
                        <a:pt x="47" y="44"/>
                      </a:cubicBezTo>
                      <a:cubicBezTo>
                        <a:pt x="47" y="44"/>
                        <a:pt x="19" y="42"/>
                        <a:pt x="12" y="32"/>
                      </a:cubicBezTo>
                      <a:cubicBezTo>
                        <a:pt x="4" y="23"/>
                        <a:pt x="0" y="18"/>
                        <a:pt x="2" y="10"/>
                      </a:cubicBezTo>
                      <a:cubicBezTo>
                        <a:pt x="4" y="3"/>
                        <a:pt x="7" y="0"/>
                        <a:pt x="10" y="5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" name="Freeform 110">
                  <a:extLst>
                    <a:ext uri="{FF2B5EF4-FFF2-40B4-BE49-F238E27FC236}">
                      <a16:creationId xmlns:a16="http://schemas.microsoft.com/office/drawing/2014/main" id="{D52BA7EA-FD50-4FF2-9FF5-8D275BE6B2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9512" y="3273543"/>
                  <a:ext cx="76408" cy="29608"/>
                </a:xfrm>
                <a:custGeom>
                  <a:avLst/>
                  <a:gdLst>
                    <a:gd name="T0" fmla="*/ 34 w 34"/>
                    <a:gd name="T1" fmla="*/ 9 h 13"/>
                    <a:gd name="T2" fmla="*/ 12 w 34"/>
                    <a:gd name="T3" fmla="*/ 4 h 13"/>
                    <a:gd name="T4" fmla="*/ 26 w 34"/>
                    <a:gd name="T5" fmla="*/ 13 h 13"/>
                    <a:gd name="T6" fmla="*/ 34 w 34"/>
                    <a:gd name="T7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3">
                      <a:moveTo>
                        <a:pt x="34" y="9"/>
                      </a:moveTo>
                      <a:cubicBezTo>
                        <a:pt x="34" y="9"/>
                        <a:pt x="24" y="0"/>
                        <a:pt x="12" y="4"/>
                      </a:cubicBezTo>
                      <a:cubicBezTo>
                        <a:pt x="0" y="8"/>
                        <a:pt x="20" y="10"/>
                        <a:pt x="26" y="13"/>
                      </a:cubicBezTo>
                      <a:cubicBezTo>
                        <a:pt x="26" y="13"/>
                        <a:pt x="16" y="5"/>
                        <a:pt x="34" y="9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" name="Freeform 112">
                  <a:extLst>
                    <a:ext uri="{FF2B5EF4-FFF2-40B4-BE49-F238E27FC236}">
                      <a16:creationId xmlns:a16="http://schemas.microsoft.com/office/drawing/2014/main" id="{F91FB610-95B7-4A73-85D5-B0CACE29D9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76590" y="3307927"/>
                  <a:ext cx="59216" cy="36294"/>
                </a:xfrm>
                <a:custGeom>
                  <a:avLst/>
                  <a:gdLst>
                    <a:gd name="T0" fmla="*/ 24 w 26"/>
                    <a:gd name="T1" fmla="*/ 16 h 16"/>
                    <a:gd name="T2" fmla="*/ 6 w 26"/>
                    <a:gd name="T3" fmla="*/ 6 h 16"/>
                    <a:gd name="T4" fmla="*/ 26 w 26"/>
                    <a:gd name="T5" fmla="*/ 8 h 16"/>
                    <a:gd name="T6" fmla="*/ 24 w 26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16">
                      <a:moveTo>
                        <a:pt x="24" y="16"/>
                      </a:moveTo>
                      <a:cubicBezTo>
                        <a:pt x="24" y="16"/>
                        <a:pt x="11" y="8"/>
                        <a:pt x="6" y="6"/>
                      </a:cubicBezTo>
                      <a:cubicBezTo>
                        <a:pt x="0" y="5"/>
                        <a:pt x="9" y="0"/>
                        <a:pt x="26" y="8"/>
                      </a:cubicBezTo>
                      <a:cubicBezTo>
                        <a:pt x="26" y="8"/>
                        <a:pt x="15" y="4"/>
                        <a:pt x="24" y="16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0" name="Freeform 116">
                  <a:extLst>
                    <a:ext uri="{FF2B5EF4-FFF2-40B4-BE49-F238E27FC236}">
                      <a16:creationId xmlns:a16="http://schemas.microsoft.com/office/drawing/2014/main" id="{8568CF63-0D37-47A3-B13A-672625A723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5250" y="2758747"/>
                  <a:ext cx="59216" cy="189109"/>
                </a:xfrm>
                <a:custGeom>
                  <a:avLst/>
                  <a:gdLst>
                    <a:gd name="T0" fmla="*/ 5 w 26"/>
                    <a:gd name="T1" fmla="*/ 0 h 84"/>
                    <a:gd name="T2" fmla="*/ 10 w 26"/>
                    <a:gd name="T3" fmla="*/ 41 h 84"/>
                    <a:gd name="T4" fmla="*/ 17 w 26"/>
                    <a:gd name="T5" fmla="*/ 57 h 84"/>
                    <a:gd name="T6" fmla="*/ 24 w 26"/>
                    <a:gd name="T7" fmla="*/ 69 h 84"/>
                    <a:gd name="T8" fmla="*/ 18 w 26"/>
                    <a:gd name="T9" fmla="*/ 84 h 84"/>
                    <a:gd name="T10" fmla="*/ 2 w 26"/>
                    <a:gd name="T11" fmla="*/ 42 h 84"/>
                    <a:gd name="T12" fmla="*/ 5 w 26"/>
                    <a:gd name="T13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84">
                      <a:moveTo>
                        <a:pt x="5" y="0"/>
                      </a:moveTo>
                      <a:cubicBezTo>
                        <a:pt x="5" y="0"/>
                        <a:pt x="8" y="34"/>
                        <a:pt x="10" y="41"/>
                      </a:cubicBezTo>
                      <a:cubicBezTo>
                        <a:pt x="11" y="48"/>
                        <a:pt x="14" y="52"/>
                        <a:pt x="17" y="57"/>
                      </a:cubicBezTo>
                      <a:cubicBezTo>
                        <a:pt x="20" y="62"/>
                        <a:pt x="26" y="65"/>
                        <a:pt x="24" y="69"/>
                      </a:cubicBezTo>
                      <a:cubicBezTo>
                        <a:pt x="22" y="73"/>
                        <a:pt x="18" y="84"/>
                        <a:pt x="18" y="84"/>
                      </a:cubicBezTo>
                      <a:cubicBezTo>
                        <a:pt x="18" y="84"/>
                        <a:pt x="4" y="49"/>
                        <a:pt x="2" y="42"/>
                      </a:cubicBezTo>
                      <a:cubicBezTo>
                        <a:pt x="0" y="36"/>
                        <a:pt x="3" y="7"/>
                        <a:pt x="5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Freeform 117">
                  <a:extLst>
                    <a:ext uri="{FF2B5EF4-FFF2-40B4-BE49-F238E27FC236}">
                      <a16:creationId xmlns:a16="http://schemas.microsoft.com/office/drawing/2014/main" id="{CC780786-DF14-4D4E-A57C-A7FFD1B8239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1209" y="2630764"/>
                  <a:ext cx="41069" cy="180513"/>
                </a:xfrm>
                <a:custGeom>
                  <a:avLst/>
                  <a:gdLst>
                    <a:gd name="T0" fmla="*/ 4 w 18"/>
                    <a:gd name="T1" fmla="*/ 0 h 80"/>
                    <a:gd name="T2" fmla="*/ 2 w 18"/>
                    <a:gd name="T3" fmla="*/ 22 h 80"/>
                    <a:gd name="T4" fmla="*/ 9 w 18"/>
                    <a:gd name="T5" fmla="*/ 48 h 80"/>
                    <a:gd name="T6" fmla="*/ 8 w 18"/>
                    <a:gd name="T7" fmla="*/ 80 h 80"/>
                    <a:gd name="T8" fmla="*/ 18 w 18"/>
                    <a:gd name="T9" fmla="*/ 59 h 80"/>
                    <a:gd name="T10" fmla="*/ 10 w 18"/>
                    <a:gd name="T11" fmla="*/ 22 h 80"/>
                    <a:gd name="T12" fmla="*/ 4 w 18"/>
                    <a:gd name="T13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80">
                      <a:moveTo>
                        <a:pt x="4" y="0"/>
                      </a:moveTo>
                      <a:cubicBezTo>
                        <a:pt x="4" y="0"/>
                        <a:pt x="0" y="12"/>
                        <a:pt x="2" y="22"/>
                      </a:cubicBezTo>
                      <a:cubicBezTo>
                        <a:pt x="5" y="32"/>
                        <a:pt x="8" y="39"/>
                        <a:pt x="9" y="48"/>
                      </a:cubicBezTo>
                      <a:cubicBezTo>
                        <a:pt x="10" y="56"/>
                        <a:pt x="8" y="80"/>
                        <a:pt x="8" y="80"/>
                      </a:cubicBez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8" y="59"/>
                        <a:pt x="13" y="29"/>
                        <a:pt x="10" y="22"/>
                      </a:cubicBezTo>
                      <a:cubicBezTo>
                        <a:pt x="8" y="16"/>
                        <a:pt x="2" y="7"/>
                        <a:pt x="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2" name="Freeform 118">
                  <a:extLst>
                    <a:ext uri="{FF2B5EF4-FFF2-40B4-BE49-F238E27FC236}">
                      <a16:creationId xmlns:a16="http://schemas.microsoft.com/office/drawing/2014/main" id="{EDAADB1E-177A-4285-9C3A-093924C88A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16320" y="2533344"/>
                  <a:ext cx="72587" cy="99330"/>
                </a:xfrm>
                <a:custGeom>
                  <a:avLst/>
                  <a:gdLst>
                    <a:gd name="T0" fmla="*/ 14 w 32"/>
                    <a:gd name="T1" fmla="*/ 2 h 44"/>
                    <a:gd name="T2" fmla="*/ 15 w 32"/>
                    <a:gd name="T3" fmla="*/ 9 h 44"/>
                    <a:gd name="T4" fmla="*/ 18 w 32"/>
                    <a:gd name="T5" fmla="*/ 25 h 44"/>
                    <a:gd name="T6" fmla="*/ 15 w 32"/>
                    <a:gd name="T7" fmla="*/ 39 h 44"/>
                    <a:gd name="T8" fmla="*/ 5 w 32"/>
                    <a:gd name="T9" fmla="*/ 38 h 44"/>
                    <a:gd name="T10" fmla="*/ 24 w 32"/>
                    <a:gd name="T11" fmla="*/ 43 h 44"/>
                    <a:gd name="T12" fmla="*/ 30 w 32"/>
                    <a:gd name="T13" fmla="*/ 9 h 44"/>
                    <a:gd name="T14" fmla="*/ 14 w 32"/>
                    <a:gd name="T15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44">
                      <a:moveTo>
                        <a:pt x="14" y="2"/>
                      </a:moveTo>
                      <a:cubicBezTo>
                        <a:pt x="14" y="2"/>
                        <a:pt x="12" y="5"/>
                        <a:pt x="15" y="9"/>
                      </a:cubicBezTo>
                      <a:cubicBezTo>
                        <a:pt x="18" y="13"/>
                        <a:pt x="20" y="20"/>
                        <a:pt x="18" y="25"/>
                      </a:cubicBezTo>
                      <a:cubicBezTo>
                        <a:pt x="17" y="29"/>
                        <a:pt x="18" y="38"/>
                        <a:pt x="15" y="39"/>
                      </a:cubicBezTo>
                      <a:cubicBezTo>
                        <a:pt x="12" y="39"/>
                        <a:pt x="5" y="38"/>
                        <a:pt x="5" y="38"/>
                      </a:cubicBezTo>
                      <a:cubicBezTo>
                        <a:pt x="5" y="38"/>
                        <a:pt x="0" y="44"/>
                        <a:pt x="24" y="43"/>
                      </a:cubicBezTo>
                      <a:cubicBezTo>
                        <a:pt x="24" y="43"/>
                        <a:pt x="32" y="12"/>
                        <a:pt x="30" y="9"/>
                      </a:cubicBezTo>
                      <a:cubicBezTo>
                        <a:pt x="30" y="9"/>
                        <a:pt x="22" y="0"/>
                        <a:pt x="14" y="2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3" name="Freeform 119">
                  <a:extLst>
                    <a:ext uri="{FF2B5EF4-FFF2-40B4-BE49-F238E27FC236}">
                      <a16:creationId xmlns:a16="http://schemas.microsoft.com/office/drawing/2014/main" id="{F3D30485-C946-4A32-9460-EC4A3D7612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9912" y="2644135"/>
                  <a:ext cx="38204" cy="190064"/>
                </a:xfrm>
                <a:custGeom>
                  <a:avLst/>
                  <a:gdLst>
                    <a:gd name="T0" fmla="*/ 4 w 17"/>
                    <a:gd name="T1" fmla="*/ 0 h 84"/>
                    <a:gd name="T2" fmla="*/ 13 w 17"/>
                    <a:gd name="T3" fmla="*/ 32 h 84"/>
                    <a:gd name="T4" fmla="*/ 17 w 17"/>
                    <a:gd name="T5" fmla="*/ 68 h 84"/>
                    <a:gd name="T6" fmla="*/ 17 w 17"/>
                    <a:gd name="T7" fmla="*/ 84 h 84"/>
                    <a:gd name="T8" fmla="*/ 4 w 17"/>
                    <a:gd name="T9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84">
                      <a:moveTo>
                        <a:pt x="4" y="0"/>
                      </a:moveTo>
                      <a:cubicBezTo>
                        <a:pt x="4" y="0"/>
                        <a:pt x="13" y="26"/>
                        <a:pt x="13" y="32"/>
                      </a:cubicBezTo>
                      <a:cubicBezTo>
                        <a:pt x="13" y="38"/>
                        <a:pt x="17" y="68"/>
                        <a:pt x="17" y="68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7" y="84"/>
                        <a:pt x="0" y="62"/>
                        <a:pt x="4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4" name="Freeform 120">
                  <a:extLst>
                    <a:ext uri="{FF2B5EF4-FFF2-40B4-BE49-F238E27FC236}">
                      <a16:creationId xmlns:a16="http://schemas.microsoft.com/office/drawing/2014/main" id="{06ADB293-6EB1-43F3-900B-55E9666EFA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56434" y="2540985"/>
                  <a:ext cx="77363" cy="127983"/>
                </a:xfrm>
                <a:custGeom>
                  <a:avLst/>
                  <a:gdLst>
                    <a:gd name="T0" fmla="*/ 34 w 34"/>
                    <a:gd name="T1" fmla="*/ 24 h 57"/>
                    <a:gd name="T2" fmla="*/ 20 w 34"/>
                    <a:gd name="T3" fmla="*/ 19 h 57"/>
                    <a:gd name="T4" fmla="*/ 12 w 34"/>
                    <a:gd name="T5" fmla="*/ 35 h 57"/>
                    <a:gd name="T6" fmla="*/ 12 w 34"/>
                    <a:gd name="T7" fmla="*/ 57 h 57"/>
                    <a:gd name="T8" fmla="*/ 8 w 34"/>
                    <a:gd name="T9" fmla="*/ 30 h 57"/>
                    <a:gd name="T10" fmla="*/ 12 w 34"/>
                    <a:gd name="T11" fmla="*/ 6 h 57"/>
                    <a:gd name="T12" fmla="*/ 34 w 34"/>
                    <a:gd name="T13" fmla="*/ 2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57">
                      <a:moveTo>
                        <a:pt x="34" y="24"/>
                      </a:moveTo>
                      <a:cubicBezTo>
                        <a:pt x="34" y="24"/>
                        <a:pt x="24" y="16"/>
                        <a:pt x="20" y="19"/>
                      </a:cubicBezTo>
                      <a:cubicBezTo>
                        <a:pt x="17" y="22"/>
                        <a:pt x="15" y="29"/>
                        <a:pt x="12" y="35"/>
                      </a:cubicBezTo>
                      <a:cubicBezTo>
                        <a:pt x="10" y="41"/>
                        <a:pt x="12" y="57"/>
                        <a:pt x="12" y="57"/>
                      </a:cubicBezTo>
                      <a:cubicBezTo>
                        <a:pt x="12" y="57"/>
                        <a:pt x="0" y="48"/>
                        <a:pt x="8" y="30"/>
                      </a:cubicBezTo>
                      <a:cubicBezTo>
                        <a:pt x="8" y="30"/>
                        <a:pt x="14" y="11"/>
                        <a:pt x="12" y="6"/>
                      </a:cubicBezTo>
                      <a:cubicBezTo>
                        <a:pt x="10" y="0"/>
                        <a:pt x="32" y="22"/>
                        <a:pt x="34" y="24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5" name="Freeform 121">
                  <a:extLst>
                    <a:ext uri="{FF2B5EF4-FFF2-40B4-BE49-F238E27FC236}">
                      <a16:creationId xmlns:a16="http://schemas.microsoft.com/office/drawing/2014/main" id="{6BCB39E2-BDED-4E22-8484-D1DB684306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61879" y="2544805"/>
                  <a:ext cx="54441" cy="63036"/>
                </a:xfrm>
                <a:custGeom>
                  <a:avLst/>
                  <a:gdLst>
                    <a:gd name="T0" fmla="*/ 0 w 24"/>
                    <a:gd name="T1" fmla="*/ 12 h 28"/>
                    <a:gd name="T2" fmla="*/ 14 w 24"/>
                    <a:gd name="T3" fmla="*/ 14 h 28"/>
                    <a:gd name="T4" fmla="*/ 24 w 24"/>
                    <a:gd name="T5" fmla="*/ 28 h 28"/>
                    <a:gd name="T6" fmla="*/ 18 w 24"/>
                    <a:gd name="T7" fmla="*/ 1 h 28"/>
                    <a:gd name="T8" fmla="*/ 0 w 24"/>
                    <a:gd name="T9" fmla="*/ 12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28">
                      <a:moveTo>
                        <a:pt x="0" y="12"/>
                      </a:moveTo>
                      <a:cubicBezTo>
                        <a:pt x="0" y="12"/>
                        <a:pt x="11" y="8"/>
                        <a:pt x="14" y="14"/>
                      </a:cubicBezTo>
                      <a:cubicBezTo>
                        <a:pt x="16" y="20"/>
                        <a:pt x="24" y="28"/>
                        <a:pt x="24" y="28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1"/>
                        <a:pt x="10" y="0"/>
                        <a:pt x="0" y="12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6" name="Freeform 122">
                  <a:extLst>
                    <a:ext uri="{FF2B5EF4-FFF2-40B4-BE49-F238E27FC236}">
                      <a16:creationId xmlns:a16="http://schemas.microsoft.com/office/drawing/2014/main" id="{9FEA4C23-57DC-405D-A105-8E625C96EF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42392" y="2493230"/>
                  <a:ext cx="36294" cy="117477"/>
                </a:xfrm>
                <a:custGeom>
                  <a:avLst/>
                  <a:gdLst>
                    <a:gd name="T0" fmla="*/ 14 w 16"/>
                    <a:gd name="T1" fmla="*/ 0 h 52"/>
                    <a:gd name="T2" fmla="*/ 6 w 16"/>
                    <a:gd name="T3" fmla="*/ 19 h 52"/>
                    <a:gd name="T4" fmla="*/ 4 w 16"/>
                    <a:gd name="T5" fmla="*/ 43 h 52"/>
                    <a:gd name="T6" fmla="*/ 8 w 16"/>
                    <a:gd name="T7" fmla="*/ 52 h 52"/>
                    <a:gd name="T8" fmla="*/ 14 w 16"/>
                    <a:gd name="T9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52">
                      <a:moveTo>
                        <a:pt x="14" y="0"/>
                      </a:moveTo>
                      <a:cubicBezTo>
                        <a:pt x="14" y="0"/>
                        <a:pt x="10" y="9"/>
                        <a:pt x="6" y="19"/>
                      </a:cubicBezTo>
                      <a:cubicBezTo>
                        <a:pt x="2" y="29"/>
                        <a:pt x="0" y="36"/>
                        <a:pt x="4" y="43"/>
                      </a:cubicBezTo>
                      <a:cubicBezTo>
                        <a:pt x="8" y="52"/>
                        <a:pt x="8" y="52"/>
                        <a:pt x="8" y="52"/>
                      </a:cubicBezTo>
                      <a:cubicBezTo>
                        <a:pt x="8" y="52"/>
                        <a:pt x="16" y="25"/>
                        <a:pt x="14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Freeform 123">
                  <a:extLst>
                    <a:ext uri="{FF2B5EF4-FFF2-40B4-BE49-F238E27FC236}">
                      <a16:creationId xmlns:a16="http://schemas.microsoft.com/office/drawing/2014/main" id="{BC1D21CB-734A-488B-AB47-FA50C5B6670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00083" y="2470308"/>
                  <a:ext cx="74498" cy="56351"/>
                </a:xfrm>
                <a:custGeom>
                  <a:avLst/>
                  <a:gdLst>
                    <a:gd name="T0" fmla="*/ 0 w 33"/>
                    <a:gd name="T1" fmla="*/ 0 h 25"/>
                    <a:gd name="T2" fmla="*/ 23 w 33"/>
                    <a:gd name="T3" fmla="*/ 19 h 25"/>
                    <a:gd name="T4" fmla="*/ 33 w 33"/>
                    <a:gd name="T5" fmla="*/ 19 h 25"/>
                    <a:gd name="T6" fmla="*/ 25 w 33"/>
                    <a:gd name="T7" fmla="*/ 25 h 25"/>
                    <a:gd name="T8" fmla="*/ 0 w 33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cubicBezTo>
                        <a:pt x="0" y="0"/>
                        <a:pt x="18" y="17"/>
                        <a:pt x="23" y="19"/>
                      </a:cubicBezTo>
                      <a:cubicBezTo>
                        <a:pt x="33" y="19"/>
                        <a:pt x="33" y="19"/>
                        <a:pt x="33" y="19"/>
                      </a:cubicBezTo>
                      <a:cubicBezTo>
                        <a:pt x="33" y="19"/>
                        <a:pt x="28" y="25"/>
                        <a:pt x="25" y="25"/>
                      </a:cubicBezTo>
                      <a:cubicBezTo>
                        <a:pt x="21" y="25"/>
                        <a:pt x="12" y="19"/>
                        <a:pt x="0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124">
                  <a:extLst>
                    <a:ext uri="{FF2B5EF4-FFF2-40B4-BE49-F238E27FC236}">
                      <a16:creationId xmlns:a16="http://schemas.microsoft.com/office/drawing/2014/main" id="{1B142E3F-AE1B-4C4D-84D0-547B40B8F5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4074" y="2423508"/>
                  <a:ext cx="96465" cy="92645"/>
                </a:xfrm>
                <a:custGeom>
                  <a:avLst/>
                  <a:gdLst>
                    <a:gd name="T0" fmla="*/ 42 w 43"/>
                    <a:gd name="T1" fmla="*/ 0 h 41"/>
                    <a:gd name="T2" fmla="*/ 14 w 43"/>
                    <a:gd name="T3" fmla="*/ 29 h 41"/>
                    <a:gd name="T4" fmla="*/ 5 w 43"/>
                    <a:gd name="T5" fmla="*/ 40 h 41"/>
                    <a:gd name="T6" fmla="*/ 42 w 43"/>
                    <a:gd name="T7" fmla="*/ 12 h 41"/>
                    <a:gd name="T8" fmla="*/ 42 w 43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41">
                      <a:moveTo>
                        <a:pt x="42" y="0"/>
                      </a:moveTo>
                      <a:cubicBezTo>
                        <a:pt x="42" y="0"/>
                        <a:pt x="24" y="23"/>
                        <a:pt x="14" y="29"/>
                      </a:cubicBezTo>
                      <a:cubicBezTo>
                        <a:pt x="14" y="29"/>
                        <a:pt x="0" y="41"/>
                        <a:pt x="5" y="40"/>
                      </a:cubicBezTo>
                      <a:cubicBezTo>
                        <a:pt x="11" y="40"/>
                        <a:pt x="41" y="20"/>
                        <a:pt x="42" y="12"/>
                      </a:cubicBezTo>
                      <a:cubicBezTo>
                        <a:pt x="43" y="4"/>
                        <a:pt x="42" y="0"/>
                        <a:pt x="42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125">
                  <a:extLst>
                    <a:ext uri="{FF2B5EF4-FFF2-40B4-BE49-F238E27FC236}">
                      <a16:creationId xmlns:a16="http://schemas.microsoft.com/office/drawing/2014/main" id="{E42617DD-6977-4CCD-9CFE-D2E4E53C0A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1430" y="2364292"/>
                  <a:ext cx="164277" cy="92645"/>
                </a:xfrm>
                <a:custGeom>
                  <a:avLst/>
                  <a:gdLst>
                    <a:gd name="T0" fmla="*/ 0 w 73"/>
                    <a:gd name="T1" fmla="*/ 30 h 41"/>
                    <a:gd name="T2" fmla="*/ 48 w 73"/>
                    <a:gd name="T3" fmla="*/ 25 h 41"/>
                    <a:gd name="T4" fmla="*/ 72 w 73"/>
                    <a:gd name="T5" fmla="*/ 4 h 41"/>
                    <a:gd name="T6" fmla="*/ 38 w 73"/>
                    <a:gd name="T7" fmla="*/ 35 h 41"/>
                    <a:gd name="T8" fmla="*/ 5 w 73"/>
                    <a:gd name="T9" fmla="*/ 36 h 41"/>
                    <a:gd name="T10" fmla="*/ 0 w 73"/>
                    <a:gd name="T11" fmla="*/ 3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3" h="41">
                      <a:moveTo>
                        <a:pt x="0" y="30"/>
                      </a:moveTo>
                      <a:cubicBezTo>
                        <a:pt x="0" y="30"/>
                        <a:pt x="38" y="30"/>
                        <a:pt x="48" y="25"/>
                      </a:cubicBezTo>
                      <a:cubicBezTo>
                        <a:pt x="57" y="20"/>
                        <a:pt x="72" y="8"/>
                        <a:pt x="72" y="4"/>
                      </a:cubicBezTo>
                      <a:cubicBezTo>
                        <a:pt x="73" y="0"/>
                        <a:pt x="69" y="29"/>
                        <a:pt x="38" y="35"/>
                      </a:cubicBezTo>
                      <a:cubicBezTo>
                        <a:pt x="6" y="41"/>
                        <a:pt x="5" y="36"/>
                        <a:pt x="5" y="36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26">
                  <a:extLst>
                    <a:ext uri="{FF2B5EF4-FFF2-40B4-BE49-F238E27FC236}">
                      <a16:creationId xmlns:a16="http://schemas.microsoft.com/office/drawing/2014/main" id="{97646B7C-D6B9-4144-9E65-2F6BAC7DF2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0304" y="2044335"/>
                  <a:ext cx="212031" cy="126073"/>
                </a:xfrm>
                <a:custGeom>
                  <a:avLst/>
                  <a:gdLst>
                    <a:gd name="T0" fmla="*/ 20 w 94"/>
                    <a:gd name="T1" fmla="*/ 4 h 56"/>
                    <a:gd name="T2" fmla="*/ 31 w 94"/>
                    <a:gd name="T3" fmla="*/ 19 h 56"/>
                    <a:gd name="T4" fmla="*/ 81 w 94"/>
                    <a:gd name="T5" fmla="*/ 33 h 56"/>
                    <a:gd name="T6" fmla="*/ 92 w 94"/>
                    <a:gd name="T7" fmla="*/ 56 h 56"/>
                    <a:gd name="T8" fmla="*/ 58 w 94"/>
                    <a:gd name="T9" fmla="*/ 30 h 56"/>
                    <a:gd name="T10" fmla="*/ 23 w 94"/>
                    <a:gd name="T11" fmla="*/ 33 h 56"/>
                    <a:gd name="T12" fmla="*/ 10 w 94"/>
                    <a:gd name="T13" fmla="*/ 0 h 56"/>
                    <a:gd name="T14" fmla="*/ 20 w 94"/>
                    <a:gd name="T15" fmla="*/ 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4" h="56">
                      <a:moveTo>
                        <a:pt x="20" y="4"/>
                      </a:moveTo>
                      <a:cubicBezTo>
                        <a:pt x="20" y="4"/>
                        <a:pt x="17" y="18"/>
                        <a:pt x="31" y="19"/>
                      </a:cubicBezTo>
                      <a:cubicBezTo>
                        <a:pt x="45" y="20"/>
                        <a:pt x="75" y="25"/>
                        <a:pt x="81" y="33"/>
                      </a:cubicBezTo>
                      <a:cubicBezTo>
                        <a:pt x="87" y="41"/>
                        <a:pt x="94" y="48"/>
                        <a:pt x="92" y="56"/>
                      </a:cubicBezTo>
                      <a:cubicBezTo>
                        <a:pt x="92" y="56"/>
                        <a:pt x="68" y="32"/>
                        <a:pt x="58" y="30"/>
                      </a:cubicBezTo>
                      <a:cubicBezTo>
                        <a:pt x="58" y="30"/>
                        <a:pt x="31" y="20"/>
                        <a:pt x="23" y="33"/>
                      </a:cubicBezTo>
                      <a:cubicBezTo>
                        <a:pt x="23" y="33"/>
                        <a:pt x="0" y="17"/>
                        <a:pt x="10" y="0"/>
                      </a:cubicBezTo>
                      <a:cubicBezTo>
                        <a:pt x="10" y="0"/>
                        <a:pt x="11" y="5"/>
                        <a:pt x="20" y="4"/>
                      </a:cubicBezTo>
                      <a:close/>
                    </a:path>
                  </a:pathLst>
                </a:custGeom>
                <a:solidFill>
                  <a:srgbClr val="604846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104">
                  <a:extLst>
                    <a:ext uri="{FF2B5EF4-FFF2-40B4-BE49-F238E27FC236}">
                      <a16:creationId xmlns:a16="http://schemas.microsoft.com/office/drawing/2014/main" id="{C6C08B8C-3DB4-4B26-8C83-26522B15ED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59114" y="5035696"/>
                  <a:ext cx="108881" cy="67812"/>
                </a:xfrm>
                <a:custGeom>
                  <a:avLst/>
                  <a:gdLst>
                    <a:gd name="T0" fmla="*/ 18 w 48"/>
                    <a:gd name="T1" fmla="*/ 6 h 30"/>
                    <a:gd name="T2" fmla="*/ 40 w 48"/>
                    <a:gd name="T3" fmla="*/ 4 h 30"/>
                    <a:gd name="T4" fmla="*/ 46 w 48"/>
                    <a:gd name="T5" fmla="*/ 16 h 30"/>
                    <a:gd name="T6" fmla="*/ 38 w 48"/>
                    <a:gd name="T7" fmla="*/ 25 h 30"/>
                    <a:gd name="T8" fmla="*/ 13 w 48"/>
                    <a:gd name="T9" fmla="*/ 27 h 30"/>
                    <a:gd name="T10" fmla="*/ 18 w 48"/>
                    <a:gd name="T11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8" h="30">
                      <a:moveTo>
                        <a:pt x="18" y="6"/>
                      </a:moveTo>
                      <a:cubicBezTo>
                        <a:pt x="18" y="6"/>
                        <a:pt x="32" y="0"/>
                        <a:pt x="40" y="4"/>
                      </a:cubicBezTo>
                      <a:cubicBezTo>
                        <a:pt x="48" y="8"/>
                        <a:pt x="43" y="11"/>
                        <a:pt x="46" y="16"/>
                      </a:cubicBezTo>
                      <a:cubicBezTo>
                        <a:pt x="48" y="20"/>
                        <a:pt x="44" y="23"/>
                        <a:pt x="38" y="25"/>
                      </a:cubicBezTo>
                      <a:cubicBezTo>
                        <a:pt x="32" y="27"/>
                        <a:pt x="14" y="30"/>
                        <a:pt x="13" y="27"/>
                      </a:cubicBezTo>
                      <a:cubicBezTo>
                        <a:pt x="12" y="24"/>
                        <a:pt x="0" y="23"/>
                        <a:pt x="18" y="6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9" name="Gruppieren 173">
              <a:extLst>
                <a:ext uri="{FF2B5EF4-FFF2-40B4-BE49-F238E27FC236}">
                  <a16:creationId xmlns:a16="http://schemas.microsoft.com/office/drawing/2014/main" id="{D42CBB34-A147-482B-B29B-1BD81A610768}"/>
                </a:ext>
              </a:extLst>
            </p:cNvPr>
            <p:cNvGrpSpPr/>
            <p:nvPr/>
          </p:nvGrpSpPr>
          <p:grpSpPr bwMode="gray">
            <a:xfrm>
              <a:off x="877172" y="1786666"/>
              <a:ext cx="1516010" cy="3978107"/>
              <a:chOff x="1055447" y="1856305"/>
              <a:chExt cx="1352939" cy="3550198"/>
            </a:xfrm>
          </p:grpSpPr>
          <p:sp>
            <p:nvSpPr>
              <p:cNvPr id="10" name="Ellipse 30">
                <a:extLst>
                  <a:ext uri="{FF2B5EF4-FFF2-40B4-BE49-F238E27FC236}">
                    <a16:creationId xmlns:a16="http://schemas.microsoft.com/office/drawing/2014/main" id="{F315DD50-3450-45A9-AE87-14E74266BF63}"/>
                  </a:ext>
                </a:extLst>
              </p:cNvPr>
              <p:cNvSpPr/>
              <p:nvPr/>
            </p:nvSpPr>
            <p:spPr bwMode="gray">
              <a:xfrm>
                <a:off x="1055447" y="4718190"/>
                <a:ext cx="1289620" cy="645519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1" name="Gruppieren 175">
                <a:extLst>
                  <a:ext uri="{FF2B5EF4-FFF2-40B4-BE49-F238E27FC236}">
                    <a16:creationId xmlns:a16="http://schemas.microsoft.com/office/drawing/2014/main" id="{6D660E43-AB46-474C-9131-2C372AA704EC}"/>
                  </a:ext>
                </a:extLst>
              </p:cNvPr>
              <p:cNvGrpSpPr/>
              <p:nvPr/>
            </p:nvGrpSpPr>
            <p:grpSpPr bwMode="gray">
              <a:xfrm>
                <a:off x="1278610" y="1856305"/>
                <a:ext cx="1129776" cy="3550198"/>
                <a:chOff x="1278610" y="1856305"/>
                <a:chExt cx="1129776" cy="3550198"/>
              </a:xfrm>
            </p:grpSpPr>
            <p:sp>
              <p:nvSpPr>
                <p:cNvPr id="12" name="Freeform 6">
                  <a:extLst>
                    <a:ext uri="{FF2B5EF4-FFF2-40B4-BE49-F238E27FC236}">
                      <a16:creationId xmlns:a16="http://schemas.microsoft.com/office/drawing/2014/main" id="{EFF3F0DC-124A-4532-8FB3-B129B50C57F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0988" y="5196382"/>
                  <a:ext cx="266472" cy="210121"/>
                </a:xfrm>
                <a:custGeom>
                  <a:avLst/>
                  <a:gdLst>
                    <a:gd name="T0" fmla="*/ 83 w 118"/>
                    <a:gd name="T1" fmla="*/ 8 h 93"/>
                    <a:gd name="T2" fmla="*/ 73 w 118"/>
                    <a:gd name="T3" fmla="*/ 1 h 93"/>
                    <a:gd name="T4" fmla="*/ 36 w 118"/>
                    <a:gd name="T5" fmla="*/ 8 h 93"/>
                    <a:gd name="T6" fmla="*/ 1 w 118"/>
                    <a:gd name="T7" fmla="*/ 24 h 93"/>
                    <a:gd name="T8" fmla="*/ 1 w 118"/>
                    <a:gd name="T9" fmla="*/ 25 h 93"/>
                    <a:gd name="T10" fmla="*/ 5 w 118"/>
                    <a:gd name="T11" fmla="*/ 57 h 93"/>
                    <a:gd name="T12" fmla="*/ 85 w 118"/>
                    <a:gd name="T13" fmla="*/ 92 h 93"/>
                    <a:gd name="T14" fmla="*/ 104 w 118"/>
                    <a:gd name="T15" fmla="*/ 41 h 93"/>
                    <a:gd name="T16" fmla="*/ 83 w 118"/>
                    <a:gd name="T17" fmla="*/ 8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93">
                      <a:moveTo>
                        <a:pt x="83" y="8"/>
                      </a:moveTo>
                      <a:cubicBezTo>
                        <a:pt x="78" y="3"/>
                        <a:pt x="74" y="0"/>
                        <a:pt x="73" y="1"/>
                      </a:cubicBezTo>
                      <a:cubicBezTo>
                        <a:pt x="69" y="4"/>
                        <a:pt x="45" y="6"/>
                        <a:pt x="36" y="8"/>
                      </a:cubicBezTo>
                      <a:cubicBezTo>
                        <a:pt x="26" y="9"/>
                        <a:pt x="1" y="24"/>
                        <a:pt x="1" y="24"/>
                      </a:cubicBezTo>
                      <a:cubicBezTo>
                        <a:pt x="1" y="24"/>
                        <a:pt x="1" y="24"/>
                        <a:pt x="1" y="25"/>
                      </a:cubicBezTo>
                      <a:cubicBezTo>
                        <a:pt x="0" y="45"/>
                        <a:pt x="5" y="57"/>
                        <a:pt x="5" y="57"/>
                      </a:cubicBezTo>
                      <a:cubicBezTo>
                        <a:pt x="21" y="81"/>
                        <a:pt x="85" y="92"/>
                        <a:pt x="85" y="92"/>
                      </a:cubicBezTo>
                      <a:cubicBezTo>
                        <a:pt x="118" y="93"/>
                        <a:pt x="108" y="58"/>
                        <a:pt x="104" y="41"/>
                      </a:cubicBezTo>
                      <a:cubicBezTo>
                        <a:pt x="101" y="30"/>
                        <a:pt x="91" y="16"/>
                        <a:pt x="83" y="8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2C619E2A-301E-4ED3-9D0F-9D81A923C8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72684" y="4815069"/>
                  <a:ext cx="508111" cy="207256"/>
                </a:xfrm>
                <a:custGeom>
                  <a:avLst/>
                  <a:gdLst>
                    <a:gd name="T0" fmla="*/ 205 w 225"/>
                    <a:gd name="T1" fmla="*/ 10 h 92"/>
                    <a:gd name="T2" fmla="*/ 150 w 225"/>
                    <a:gd name="T3" fmla="*/ 17 h 92"/>
                    <a:gd name="T4" fmla="*/ 118 w 225"/>
                    <a:gd name="T5" fmla="*/ 1 h 92"/>
                    <a:gd name="T6" fmla="*/ 114 w 225"/>
                    <a:gd name="T7" fmla="*/ 1 h 92"/>
                    <a:gd name="T8" fmla="*/ 101 w 225"/>
                    <a:gd name="T9" fmla="*/ 17 h 92"/>
                    <a:gd name="T10" fmla="*/ 8 w 225"/>
                    <a:gd name="T11" fmla="*/ 58 h 92"/>
                    <a:gd name="T12" fmla="*/ 4 w 225"/>
                    <a:gd name="T13" fmla="*/ 64 h 92"/>
                    <a:gd name="T14" fmla="*/ 13 w 225"/>
                    <a:gd name="T15" fmla="*/ 84 h 92"/>
                    <a:gd name="T16" fmla="*/ 74 w 225"/>
                    <a:gd name="T17" fmla="*/ 74 h 92"/>
                    <a:gd name="T18" fmla="*/ 96 w 225"/>
                    <a:gd name="T19" fmla="*/ 57 h 92"/>
                    <a:gd name="T20" fmla="*/ 128 w 225"/>
                    <a:gd name="T21" fmla="*/ 64 h 92"/>
                    <a:gd name="T22" fmla="*/ 221 w 225"/>
                    <a:gd name="T23" fmla="*/ 26 h 92"/>
                    <a:gd name="T24" fmla="*/ 205 w 225"/>
                    <a:gd name="T25" fmla="*/ 1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5" h="92">
                      <a:moveTo>
                        <a:pt x="205" y="10"/>
                      </a:moveTo>
                      <a:cubicBezTo>
                        <a:pt x="193" y="16"/>
                        <a:pt x="156" y="17"/>
                        <a:pt x="150" y="17"/>
                      </a:cubicBezTo>
                      <a:cubicBezTo>
                        <a:pt x="145" y="17"/>
                        <a:pt x="125" y="5"/>
                        <a:pt x="118" y="1"/>
                      </a:cubicBezTo>
                      <a:cubicBezTo>
                        <a:pt x="117" y="0"/>
                        <a:pt x="115" y="0"/>
                        <a:pt x="114" y="1"/>
                      </a:cubicBezTo>
                      <a:cubicBezTo>
                        <a:pt x="108" y="4"/>
                        <a:pt x="101" y="17"/>
                        <a:pt x="101" y="17"/>
                      </a:cubicBezTo>
                      <a:cubicBezTo>
                        <a:pt x="77" y="73"/>
                        <a:pt x="8" y="58"/>
                        <a:pt x="8" y="58"/>
                      </a:cubicBezTo>
                      <a:cubicBezTo>
                        <a:pt x="6" y="60"/>
                        <a:pt x="5" y="62"/>
                        <a:pt x="4" y="64"/>
                      </a:cubicBezTo>
                      <a:cubicBezTo>
                        <a:pt x="0" y="77"/>
                        <a:pt x="13" y="84"/>
                        <a:pt x="13" y="84"/>
                      </a:cubicBezTo>
                      <a:cubicBezTo>
                        <a:pt x="22" y="92"/>
                        <a:pt x="74" y="74"/>
                        <a:pt x="74" y="74"/>
                      </a:cubicBezTo>
                      <a:cubicBezTo>
                        <a:pt x="74" y="57"/>
                        <a:pt x="90" y="58"/>
                        <a:pt x="96" y="57"/>
                      </a:cubicBezTo>
                      <a:cubicBezTo>
                        <a:pt x="101" y="56"/>
                        <a:pt x="128" y="64"/>
                        <a:pt x="128" y="64"/>
                      </a:cubicBezTo>
                      <a:cubicBezTo>
                        <a:pt x="182" y="61"/>
                        <a:pt x="221" y="26"/>
                        <a:pt x="221" y="26"/>
                      </a:cubicBezTo>
                      <a:cubicBezTo>
                        <a:pt x="225" y="9"/>
                        <a:pt x="205" y="10"/>
                        <a:pt x="205" y="10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8">
                  <a:extLst>
                    <a:ext uri="{FF2B5EF4-FFF2-40B4-BE49-F238E27FC236}">
                      <a16:creationId xmlns:a16="http://schemas.microsoft.com/office/drawing/2014/main" id="{7FEA24B3-22CA-412B-A476-3F8DCABB0D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61384" y="3411077"/>
                  <a:ext cx="598299" cy="1848112"/>
                </a:xfrm>
                <a:custGeom>
                  <a:avLst/>
                  <a:gdLst>
                    <a:gd name="T0" fmla="*/ 262 w 269"/>
                    <a:gd name="T1" fmla="*/ 311 h 819"/>
                    <a:gd name="T2" fmla="*/ 266 w 269"/>
                    <a:gd name="T3" fmla="*/ 195 h 819"/>
                    <a:gd name="T4" fmla="*/ 265 w 269"/>
                    <a:gd name="T5" fmla="*/ 106 h 819"/>
                    <a:gd name="T6" fmla="*/ 262 w 269"/>
                    <a:gd name="T7" fmla="*/ 107 h 819"/>
                    <a:gd name="T8" fmla="*/ 184 w 269"/>
                    <a:gd name="T9" fmla="*/ 108 h 819"/>
                    <a:gd name="T10" fmla="*/ 170 w 269"/>
                    <a:gd name="T11" fmla="*/ 86 h 819"/>
                    <a:gd name="T12" fmla="*/ 162 w 269"/>
                    <a:gd name="T13" fmla="*/ 89 h 819"/>
                    <a:gd name="T14" fmla="*/ 162 w 269"/>
                    <a:gd name="T15" fmla="*/ 115 h 819"/>
                    <a:gd name="T16" fmla="*/ 132 w 269"/>
                    <a:gd name="T17" fmla="*/ 140 h 819"/>
                    <a:gd name="T18" fmla="*/ 118 w 269"/>
                    <a:gd name="T19" fmla="*/ 115 h 819"/>
                    <a:gd name="T20" fmla="*/ 90 w 269"/>
                    <a:gd name="T21" fmla="*/ 123 h 819"/>
                    <a:gd name="T22" fmla="*/ 33 w 269"/>
                    <a:gd name="T23" fmla="*/ 0 h 819"/>
                    <a:gd name="T24" fmla="*/ 32 w 269"/>
                    <a:gd name="T25" fmla="*/ 10 h 819"/>
                    <a:gd name="T26" fmla="*/ 48 w 269"/>
                    <a:gd name="T27" fmla="*/ 162 h 819"/>
                    <a:gd name="T28" fmla="*/ 53 w 269"/>
                    <a:gd name="T29" fmla="*/ 191 h 819"/>
                    <a:gd name="T30" fmla="*/ 57 w 269"/>
                    <a:gd name="T31" fmla="*/ 311 h 819"/>
                    <a:gd name="T32" fmla="*/ 30 w 269"/>
                    <a:gd name="T33" fmla="*/ 426 h 819"/>
                    <a:gd name="T34" fmla="*/ 8 w 269"/>
                    <a:gd name="T35" fmla="*/ 628 h 819"/>
                    <a:gd name="T36" fmla="*/ 6 w 269"/>
                    <a:gd name="T37" fmla="*/ 768 h 819"/>
                    <a:gd name="T38" fmla="*/ 25 w 269"/>
                    <a:gd name="T39" fmla="*/ 819 h 819"/>
                    <a:gd name="T40" fmla="*/ 25 w 269"/>
                    <a:gd name="T41" fmla="*/ 818 h 819"/>
                    <a:gd name="T42" fmla="*/ 60 w 269"/>
                    <a:gd name="T43" fmla="*/ 802 h 819"/>
                    <a:gd name="T44" fmla="*/ 97 w 269"/>
                    <a:gd name="T45" fmla="*/ 795 h 819"/>
                    <a:gd name="T46" fmla="*/ 107 w 269"/>
                    <a:gd name="T47" fmla="*/ 802 h 819"/>
                    <a:gd name="T48" fmla="*/ 112 w 269"/>
                    <a:gd name="T49" fmla="*/ 756 h 819"/>
                    <a:gd name="T50" fmla="*/ 114 w 269"/>
                    <a:gd name="T51" fmla="*/ 692 h 819"/>
                    <a:gd name="T52" fmla="*/ 124 w 269"/>
                    <a:gd name="T53" fmla="*/ 659 h 819"/>
                    <a:gd name="T54" fmla="*/ 138 w 269"/>
                    <a:gd name="T55" fmla="*/ 555 h 819"/>
                    <a:gd name="T56" fmla="*/ 136 w 269"/>
                    <a:gd name="T57" fmla="*/ 663 h 819"/>
                    <a:gd name="T58" fmla="*/ 144 w 269"/>
                    <a:gd name="T59" fmla="*/ 686 h 819"/>
                    <a:gd name="T60" fmla="*/ 148 w 269"/>
                    <a:gd name="T61" fmla="*/ 680 h 819"/>
                    <a:gd name="T62" fmla="*/ 241 w 269"/>
                    <a:gd name="T63" fmla="*/ 639 h 819"/>
                    <a:gd name="T64" fmla="*/ 254 w 269"/>
                    <a:gd name="T65" fmla="*/ 623 h 819"/>
                    <a:gd name="T66" fmla="*/ 242 w 269"/>
                    <a:gd name="T67" fmla="*/ 491 h 819"/>
                    <a:gd name="T68" fmla="*/ 257 w 269"/>
                    <a:gd name="T69" fmla="*/ 388 h 819"/>
                    <a:gd name="T70" fmla="*/ 266 w 269"/>
                    <a:gd name="T71" fmla="*/ 344 h 819"/>
                    <a:gd name="T72" fmla="*/ 262 w 269"/>
                    <a:gd name="T73" fmla="*/ 311 h 819"/>
                    <a:gd name="connsiteX0" fmla="*/ 9676 w 9865"/>
                    <a:gd name="connsiteY0" fmla="*/ 3797 h 10000"/>
                    <a:gd name="connsiteX1" fmla="*/ 9824 w 9865"/>
                    <a:gd name="connsiteY1" fmla="*/ 2381 h 10000"/>
                    <a:gd name="connsiteX2" fmla="*/ 9787 w 9865"/>
                    <a:gd name="connsiteY2" fmla="*/ 1294 h 10000"/>
                    <a:gd name="connsiteX3" fmla="*/ 9676 w 9865"/>
                    <a:gd name="connsiteY3" fmla="*/ 1306 h 10000"/>
                    <a:gd name="connsiteX4" fmla="*/ 6776 w 9865"/>
                    <a:gd name="connsiteY4" fmla="*/ 1319 h 10000"/>
                    <a:gd name="connsiteX5" fmla="*/ 6256 w 9865"/>
                    <a:gd name="connsiteY5" fmla="*/ 1050 h 10000"/>
                    <a:gd name="connsiteX6" fmla="*/ 5958 w 9865"/>
                    <a:gd name="connsiteY6" fmla="*/ 1087 h 10000"/>
                    <a:gd name="connsiteX7" fmla="*/ 5958 w 9865"/>
                    <a:gd name="connsiteY7" fmla="*/ 1404 h 10000"/>
                    <a:gd name="connsiteX8" fmla="*/ 4843 w 9865"/>
                    <a:gd name="connsiteY8" fmla="*/ 1709 h 10000"/>
                    <a:gd name="connsiteX9" fmla="*/ 4323 w 9865"/>
                    <a:gd name="connsiteY9" fmla="*/ 1404 h 10000"/>
                    <a:gd name="connsiteX10" fmla="*/ 3282 w 9865"/>
                    <a:gd name="connsiteY10" fmla="*/ 1502 h 10000"/>
                    <a:gd name="connsiteX11" fmla="*/ 1163 w 9865"/>
                    <a:gd name="connsiteY11" fmla="*/ 0 h 10000"/>
                    <a:gd name="connsiteX12" fmla="*/ 1126 w 9865"/>
                    <a:gd name="connsiteY12" fmla="*/ 122 h 10000"/>
                    <a:gd name="connsiteX13" fmla="*/ 1720 w 9865"/>
                    <a:gd name="connsiteY13" fmla="*/ 1978 h 10000"/>
                    <a:gd name="connsiteX14" fmla="*/ 1906 w 9865"/>
                    <a:gd name="connsiteY14" fmla="*/ 2332 h 10000"/>
                    <a:gd name="connsiteX15" fmla="*/ 2055 w 9865"/>
                    <a:gd name="connsiteY15" fmla="*/ 3797 h 10000"/>
                    <a:gd name="connsiteX16" fmla="*/ 1051 w 9865"/>
                    <a:gd name="connsiteY16" fmla="*/ 5201 h 10000"/>
                    <a:gd name="connsiteX17" fmla="*/ 233 w 9865"/>
                    <a:gd name="connsiteY17" fmla="*/ 7668 h 10000"/>
                    <a:gd name="connsiteX18" fmla="*/ 159 w 9865"/>
                    <a:gd name="connsiteY18" fmla="*/ 9377 h 10000"/>
                    <a:gd name="connsiteX19" fmla="*/ 865 w 9865"/>
                    <a:gd name="connsiteY19" fmla="*/ 10000 h 10000"/>
                    <a:gd name="connsiteX20" fmla="*/ 865 w 9865"/>
                    <a:gd name="connsiteY20" fmla="*/ 9988 h 10000"/>
                    <a:gd name="connsiteX21" fmla="*/ 2166 w 9865"/>
                    <a:gd name="connsiteY21" fmla="*/ 9792 h 10000"/>
                    <a:gd name="connsiteX22" fmla="*/ 3542 w 9865"/>
                    <a:gd name="connsiteY22" fmla="*/ 9707 h 10000"/>
                    <a:gd name="connsiteX23" fmla="*/ 3914 w 9865"/>
                    <a:gd name="connsiteY23" fmla="*/ 9792 h 10000"/>
                    <a:gd name="connsiteX24" fmla="*/ 4100 w 9865"/>
                    <a:gd name="connsiteY24" fmla="*/ 9231 h 10000"/>
                    <a:gd name="connsiteX25" fmla="*/ 4174 w 9865"/>
                    <a:gd name="connsiteY25" fmla="*/ 8449 h 10000"/>
                    <a:gd name="connsiteX26" fmla="*/ 4546 w 9865"/>
                    <a:gd name="connsiteY26" fmla="*/ 8046 h 10000"/>
                    <a:gd name="connsiteX27" fmla="*/ 5066 w 9865"/>
                    <a:gd name="connsiteY27" fmla="*/ 6777 h 10000"/>
                    <a:gd name="connsiteX28" fmla="*/ 4992 w 9865"/>
                    <a:gd name="connsiteY28" fmla="*/ 8095 h 10000"/>
                    <a:gd name="connsiteX29" fmla="*/ 5289 w 9865"/>
                    <a:gd name="connsiteY29" fmla="*/ 8376 h 10000"/>
                    <a:gd name="connsiteX30" fmla="*/ 5438 w 9865"/>
                    <a:gd name="connsiteY30" fmla="*/ 8303 h 10000"/>
                    <a:gd name="connsiteX31" fmla="*/ 8942 w 9865"/>
                    <a:gd name="connsiteY31" fmla="*/ 7818 h 10000"/>
                    <a:gd name="connsiteX32" fmla="*/ 9378 w 9865"/>
                    <a:gd name="connsiteY32" fmla="*/ 7607 h 10000"/>
                    <a:gd name="connsiteX33" fmla="*/ 8932 w 9865"/>
                    <a:gd name="connsiteY33" fmla="*/ 5995 h 10000"/>
                    <a:gd name="connsiteX34" fmla="*/ 9490 w 9865"/>
                    <a:gd name="connsiteY34" fmla="*/ 4737 h 10000"/>
                    <a:gd name="connsiteX35" fmla="*/ 9824 w 9865"/>
                    <a:gd name="connsiteY35" fmla="*/ 4200 h 10000"/>
                    <a:gd name="connsiteX36" fmla="*/ 9676 w 9865"/>
                    <a:gd name="connsiteY36" fmla="*/ 3797 h 10000"/>
                    <a:gd name="connsiteX0" fmla="*/ 9808 w 10000"/>
                    <a:gd name="connsiteY0" fmla="*/ 3797 h 10000"/>
                    <a:gd name="connsiteX1" fmla="*/ 9958 w 10000"/>
                    <a:gd name="connsiteY1" fmla="*/ 2381 h 10000"/>
                    <a:gd name="connsiteX2" fmla="*/ 9921 w 10000"/>
                    <a:gd name="connsiteY2" fmla="*/ 1294 h 10000"/>
                    <a:gd name="connsiteX3" fmla="*/ 9808 w 10000"/>
                    <a:gd name="connsiteY3" fmla="*/ 1306 h 10000"/>
                    <a:gd name="connsiteX4" fmla="*/ 6869 w 10000"/>
                    <a:gd name="connsiteY4" fmla="*/ 1319 h 10000"/>
                    <a:gd name="connsiteX5" fmla="*/ 6342 w 10000"/>
                    <a:gd name="connsiteY5" fmla="*/ 1050 h 10000"/>
                    <a:gd name="connsiteX6" fmla="*/ 6040 w 10000"/>
                    <a:gd name="connsiteY6" fmla="*/ 1087 h 10000"/>
                    <a:gd name="connsiteX7" fmla="*/ 6040 w 10000"/>
                    <a:gd name="connsiteY7" fmla="*/ 1404 h 10000"/>
                    <a:gd name="connsiteX8" fmla="*/ 4909 w 10000"/>
                    <a:gd name="connsiteY8" fmla="*/ 1709 h 10000"/>
                    <a:gd name="connsiteX9" fmla="*/ 4382 w 10000"/>
                    <a:gd name="connsiteY9" fmla="*/ 1404 h 10000"/>
                    <a:gd name="connsiteX10" fmla="*/ 3327 w 10000"/>
                    <a:gd name="connsiteY10" fmla="*/ 1502 h 10000"/>
                    <a:gd name="connsiteX11" fmla="*/ 1179 w 10000"/>
                    <a:gd name="connsiteY11" fmla="*/ 0 h 10000"/>
                    <a:gd name="connsiteX12" fmla="*/ 1141 w 10000"/>
                    <a:gd name="connsiteY12" fmla="*/ 122 h 10000"/>
                    <a:gd name="connsiteX13" fmla="*/ 1744 w 10000"/>
                    <a:gd name="connsiteY13" fmla="*/ 1978 h 10000"/>
                    <a:gd name="connsiteX14" fmla="*/ 1932 w 10000"/>
                    <a:gd name="connsiteY14" fmla="*/ 2332 h 10000"/>
                    <a:gd name="connsiteX15" fmla="*/ 2083 w 10000"/>
                    <a:gd name="connsiteY15" fmla="*/ 3797 h 10000"/>
                    <a:gd name="connsiteX16" fmla="*/ 1065 w 10000"/>
                    <a:gd name="connsiteY16" fmla="*/ 5201 h 10000"/>
                    <a:gd name="connsiteX17" fmla="*/ 236 w 10000"/>
                    <a:gd name="connsiteY17" fmla="*/ 7668 h 10000"/>
                    <a:gd name="connsiteX18" fmla="*/ 161 w 10000"/>
                    <a:gd name="connsiteY18" fmla="*/ 9377 h 10000"/>
                    <a:gd name="connsiteX19" fmla="*/ 877 w 10000"/>
                    <a:gd name="connsiteY19" fmla="*/ 10000 h 10000"/>
                    <a:gd name="connsiteX20" fmla="*/ 877 w 10000"/>
                    <a:gd name="connsiteY20" fmla="*/ 9988 h 10000"/>
                    <a:gd name="connsiteX21" fmla="*/ 2196 w 10000"/>
                    <a:gd name="connsiteY21" fmla="*/ 9792 h 10000"/>
                    <a:gd name="connsiteX22" fmla="*/ 3590 w 10000"/>
                    <a:gd name="connsiteY22" fmla="*/ 9707 h 10000"/>
                    <a:gd name="connsiteX23" fmla="*/ 3968 w 10000"/>
                    <a:gd name="connsiteY23" fmla="*/ 9792 h 10000"/>
                    <a:gd name="connsiteX24" fmla="*/ 4156 w 10000"/>
                    <a:gd name="connsiteY24" fmla="*/ 9231 h 10000"/>
                    <a:gd name="connsiteX25" fmla="*/ 4231 w 10000"/>
                    <a:gd name="connsiteY25" fmla="*/ 8449 h 10000"/>
                    <a:gd name="connsiteX26" fmla="*/ 4608 w 10000"/>
                    <a:gd name="connsiteY26" fmla="*/ 8046 h 10000"/>
                    <a:gd name="connsiteX27" fmla="*/ 5135 w 10000"/>
                    <a:gd name="connsiteY27" fmla="*/ 6777 h 10000"/>
                    <a:gd name="connsiteX28" fmla="*/ 5060 w 10000"/>
                    <a:gd name="connsiteY28" fmla="*/ 8095 h 10000"/>
                    <a:gd name="connsiteX29" fmla="*/ 5361 w 10000"/>
                    <a:gd name="connsiteY29" fmla="*/ 8376 h 10000"/>
                    <a:gd name="connsiteX30" fmla="*/ 7907 w 10000"/>
                    <a:gd name="connsiteY30" fmla="*/ 8272 h 10000"/>
                    <a:gd name="connsiteX31" fmla="*/ 9064 w 10000"/>
                    <a:gd name="connsiteY31" fmla="*/ 7818 h 10000"/>
                    <a:gd name="connsiteX32" fmla="*/ 9506 w 10000"/>
                    <a:gd name="connsiteY32" fmla="*/ 7607 h 10000"/>
                    <a:gd name="connsiteX33" fmla="*/ 9054 w 10000"/>
                    <a:gd name="connsiteY33" fmla="*/ 5995 h 10000"/>
                    <a:gd name="connsiteX34" fmla="*/ 9620 w 10000"/>
                    <a:gd name="connsiteY34" fmla="*/ 4737 h 10000"/>
                    <a:gd name="connsiteX35" fmla="*/ 9958 w 10000"/>
                    <a:gd name="connsiteY35" fmla="*/ 4200 h 10000"/>
                    <a:gd name="connsiteX36" fmla="*/ 9808 w 10000"/>
                    <a:gd name="connsiteY36" fmla="*/ 3797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0000" h="10000">
                      <a:moveTo>
                        <a:pt x="9808" y="3797"/>
                      </a:moveTo>
                      <a:cubicBezTo>
                        <a:pt x="9808" y="3419"/>
                        <a:pt x="9883" y="2564"/>
                        <a:pt x="9958" y="2381"/>
                      </a:cubicBezTo>
                      <a:cubicBezTo>
                        <a:pt x="10072" y="2198"/>
                        <a:pt x="9921" y="1294"/>
                        <a:pt x="9921" y="1294"/>
                      </a:cubicBezTo>
                      <a:cubicBezTo>
                        <a:pt x="9883" y="1294"/>
                        <a:pt x="9846" y="1306"/>
                        <a:pt x="9808" y="1306"/>
                      </a:cubicBezTo>
                      <a:cubicBezTo>
                        <a:pt x="8753" y="1538"/>
                        <a:pt x="7321" y="1429"/>
                        <a:pt x="6869" y="1319"/>
                      </a:cubicBezTo>
                      <a:cubicBezTo>
                        <a:pt x="6342" y="1209"/>
                        <a:pt x="6342" y="1050"/>
                        <a:pt x="6342" y="1050"/>
                      </a:cubicBezTo>
                      <a:cubicBezTo>
                        <a:pt x="6342" y="1050"/>
                        <a:pt x="6228" y="1062"/>
                        <a:pt x="6040" y="1087"/>
                      </a:cubicBezTo>
                      <a:cubicBezTo>
                        <a:pt x="6077" y="1197"/>
                        <a:pt x="6077" y="1355"/>
                        <a:pt x="6040" y="1404"/>
                      </a:cubicBezTo>
                      <a:cubicBezTo>
                        <a:pt x="6002" y="1465"/>
                        <a:pt x="4909" y="1709"/>
                        <a:pt x="4909" y="1709"/>
                      </a:cubicBezTo>
                      <a:cubicBezTo>
                        <a:pt x="4608" y="1697"/>
                        <a:pt x="4457" y="1538"/>
                        <a:pt x="4382" y="1404"/>
                      </a:cubicBezTo>
                      <a:cubicBezTo>
                        <a:pt x="3779" y="1563"/>
                        <a:pt x="3327" y="1502"/>
                        <a:pt x="3327" y="1502"/>
                      </a:cubicBezTo>
                      <a:cubicBezTo>
                        <a:pt x="1442" y="98"/>
                        <a:pt x="1179" y="0"/>
                        <a:pt x="1179" y="0"/>
                      </a:cubicBezTo>
                      <a:cubicBezTo>
                        <a:pt x="1141" y="49"/>
                        <a:pt x="1141" y="85"/>
                        <a:pt x="1141" y="122"/>
                      </a:cubicBezTo>
                      <a:cubicBezTo>
                        <a:pt x="576" y="1502"/>
                        <a:pt x="1669" y="1734"/>
                        <a:pt x="1744" y="1978"/>
                      </a:cubicBezTo>
                      <a:cubicBezTo>
                        <a:pt x="1782" y="2222"/>
                        <a:pt x="1744" y="1978"/>
                        <a:pt x="1932" y="2332"/>
                      </a:cubicBezTo>
                      <a:cubicBezTo>
                        <a:pt x="2121" y="2686"/>
                        <a:pt x="2083" y="3797"/>
                        <a:pt x="2083" y="3797"/>
                      </a:cubicBezTo>
                      <a:cubicBezTo>
                        <a:pt x="1442" y="4200"/>
                        <a:pt x="1065" y="4957"/>
                        <a:pt x="1065" y="5201"/>
                      </a:cubicBezTo>
                      <a:cubicBezTo>
                        <a:pt x="1065" y="5446"/>
                        <a:pt x="538" y="6825"/>
                        <a:pt x="236" y="7668"/>
                      </a:cubicBezTo>
                      <a:cubicBezTo>
                        <a:pt x="-65" y="8523"/>
                        <a:pt x="-65" y="9035"/>
                        <a:pt x="161" y="9377"/>
                      </a:cubicBezTo>
                      <a:cubicBezTo>
                        <a:pt x="350" y="9609"/>
                        <a:pt x="688" y="9866"/>
                        <a:pt x="877" y="10000"/>
                      </a:cubicBezTo>
                      <a:lnTo>
                        <a:pt x="877" y="9988"/>
                      </a:lnTo>
                      <a:cubicBezTo>
                        <a:pt x="877" y="9988"/>
                        <a:pt x="1820" y="9805"/>
                        <a:pt x="2196" y="9792"/>
                      </a:cubicBezTo>
                      <a:cubicBezTo>
                        <a:pt x="2535" y="9768"/>
                        <a:pt x="3439" y="9744"/>
                        <a:pt x="3590" y="9707"/>
                      </a:cubicBezTo>
                      <a:cubicBezTo>
                        <a:pt x="3628" y="9695"/>
                        <a:pt x="3779" y="9731"/>
                        <a:pt x="3968" y="9792"/>
                      </a:cubicBezTo>
                      <a:cubicBezTo>
                        <a:pt x="3930" y="9658"/>
                        <a:pt x="3892" y="9524"/>
                        <a:pt x="4156" y="9231"/>
                      </a:cubicBezTo>
                      <a:cubicBezTo>
                        <a:pt x="4457" y="8864"/>
                        <a:pt x="4231" y="8584"/>
                        <a:pt x="4231" y="8449"/>
                      </a:cubicBezTo>
                      <a:cubicBezTo>
                        <a:pt x="4231" y="8327"/>
                        <a:pt x="4194" y="8327"/>
                        <a:pt x="4608" y="8046"/>
                      </a:cubicBezTo>
                      <a:cubicBezTo>
                        <a:pt x="4984" y="7766"/>
                        <a:pt x="5135" y="6777"/>
                        <a:pt x="5135" y="6777"/>
                      </a:cubicBezTo>
                      <a:cubicBezTo>
                        <a:pt x="5249" y="7021"/>
                        <a:pt x="4947" y="7741"/>
                        <a:pt x="5060" y="8095"/>
                      </a:cubicBezTo>
                      <a:cubicBezTo>
                        <a:pt x="5098" y="8230"/>
                        <a:pt x="5210" y="8327"/>
                        <a:pt x="5361" y="8376"/>
                      </a:cubicBezTo>
                      <a:cubicBezTo>
                        <a:pt x="5399" y="8352"/>
                        <a:pt x="7290" y="8365"/>
                        <a:pt x="7907" y="8272"/>
                      </a:cubicBezTo>
                      <a:cubicBezTo>
                        <a:pt x="8525" y="8179"/>
                        <a:pt x="8798" y="7929"/>
                        <a:pt x="9064" y="7818"/>
                      </a:cubicBezTo>
                      <a:cubicBezTo>
                        <a:pt x="9330" y="7707"/>
                        <a:pt x="9280" y="7643"/>
                        <a:pt x="9506" y="7607"/>
                      </a:cubicBezTo>
                      <a:cubicBezTo>
                        <a:pt x="9732" y="7082"/>
                        <a:pt x="9394" y="6361"/>
                        <a:pt x="9054" y="5995"/>
                      </a:cubicBezTo>
                      <a:cubicBezTo>
                        <a:pt x="8716" y="5592"/>
                        <a:pt x="9168" y="5104"/>
                        <a:pt x="9620" y="4737"/>
                      </a:cubicBezTo>
                      <a:cubicBezTo>
                        <a:pt x="10072" y="4383"/>
                        <a:pt x="9958" y="4200"/>
                        <a:pt x="9958" y="4200"/>
                      </a:cubicBezTo>
                      <a:cubicBezTo>
                        <a:pt x="9657" y="4042"/>
                        <a:pt x="9808" y="3797"/>
                        <a:pt x="9808" y="379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" name="Freeform 9">
                  <a:extLst>
                    <a:ext uri="{FF2B5EF4-FFF2-40B4-BE49-F238E27FC236}">
                      <a16:creationId xmlns:a16="http://schemas.microsoft.com/office/drawing/2014/main" id="{C257A5C2-935B-4E2C-BE12-72A3115F4A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23019" y="3612603"/>
                  <a:ext cx="102196" cy="114612"/>
                </a:xfrm>
                <a:custGeom>
                  <a:avLst/>
                  <a:gdLst>
                    <a:gd name="T0" fmla="*/ 14 w 45"/>
                    <a:gd name="T1" fmla="*/ 51 h 51"/>
                    <a:gd name="T2" fmla="*/ 44 w 45"/>
                    <a:gd name="T3" fmla="*/ 26 h 51"/>
                    <a:gd name="T4" fmla="*/ 44 w 45"/>
                    <a:gd name="T5" fmla="*/ 0 h 51"/>
                    <a:gd name="T6" fmla="*/ 0 w 45"/>
                    <a:gd name="T7" fmla="*/ 26 h 51"/>
                    <a:gd name="T8" fmla="*/ 0 w 45"/>
                    <a:gd name="T9" fmla="*/ 26 h 51"/>
                    <a:gd name="T10" fmla="*/ 14 w 45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51">
                      <a:moveTo>
                        <a:pt x="14" y="51"/>
                      </a:moveTo>
                      <a:cubicBezTo>
                        <a:pt x="14" y="51"/>
                        <a:pt x="43" y="31"/>
                        <a:pt x="44" y="26"/>
                      </a:cubicBezTo>
                      <a:cubicBezTo>
                        <a:pt x="45" y="22"/>
                        <a:pt x="45" y="9"/>
                        <a:pt x="44" y="0"/>
                      </a:cubicBezTo>
                      <a:cubicBezTo>
                        <a:pt x="32" y="6"/>
                        <a:pt x="11" y="17"/>
                        <a:pt x="0" y="26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2" y="37"/>
                        <a:pt x="6" y="50"/>
                        <a:pt x="14" y="51"/>
                      </a:cubicBezTo>
                      <a:close/>
                    </a:path>
                  </a:pathLst>
                </a:custGeom>
                <a:solidFill>
                  <a:srgbClr val="BE71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" name="Freeform 10">
                  <a:extLst>
                    <a:ext uri="{FF2B5EF4-FFF2-40B4-BE49-F238E27FC236}">
                      <a16:creationId xmlns:a16="http://schemas.microsoft.com/office/drawing/2014/main" id="{CA9E13B2-1A93-4DE7-A793-5CA1FED63A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8194" y="2389124"/>
                  <a:ext cx="1910" cy="4776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0 w 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1" y="1"/>
                        <a:pt x="0" y="1"/>
                        <a:pt x="0" y="2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" name="Freeform 12">
                  <a:extLst>
                    <a:ext uri="{FF2B5EF4-FFF2-40B4-BE49-F238E27FC236}">
                      <a16:creationId xmlns:a16="http://schemas.microsoft.com/office/drawing/2014/main" id="{3E7C98AE-F7A7-4282-9EB6-28B1783724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01522" y="3149381"/>
                  <a:ext cx="77363" cy="117477"/>
                </a:xfrm>
                <a:custGeom>
                  <a:avLst/>
                  <a:gdLst>
                    <a:gd name="T0" fmla="*/ 9 w 34"/>
                    <a:gd name="T1" fmla="*/ 0 h 52"/>
                    <a:gd name="T2" fmla="*/ 31 w 34"/>
                    <a:gd name="T3" fmla="*/ 20 h 52"/>
                    <a:gd name="T4" fmla="*/ 34 w 34"/>
                    <a:gd name="T5" fmla="*/ 19 h 52"/>
                    <a:gd name="T6" fmla="*/ 9 w 34"/>
                    <a:gd name="T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52">
                      <a:moveTo>
                        <a:pt x="9" y="0"/>
                      </a:moveTo>
                      <a:cubicBezTo>
                        <a:pt x="0" y="52"/>
                        <a:pt x="31" y="20"/>
                        <a:pt x="31" y="20"/>
                      </a:cubicBezTo>
                      <a:cubicBezTo>
                        <a:pt x="32" y="20"/>
                        <a:pt x="33" y="19"/>
                        <a:pt x="34" y="19"/>
                      </a:cubicBezTo>
                      <a:cubicBezTo>
                        <a:pt x="21" y="14"/>
                        <a:pt x="14" y="7"/>
                        <a:pt x="9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7CAA5E72-DCE6-439E-8C88-22632389C4B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33810" y="2387214"/>
                  <a:ext cx="205346" cy="606486"/>
                </a:xfrm>
                <a:custGeom>
                  <a:avLst/>
                  <a:gdLst>
                    <a:gd name="T0" fmla="*/ 82 w 91"/>
                    <a:gd name="T1" fmla="*/ 161 h 269"/>
                    <a:gd name="T2" fmla="*/ 47 w 91"/>
                    <a:gd name="T3" fmla="*/ 77 h 269"/>
                    <a:gd name="T4" fmla="*/ 42 w 91"/>
                    <a:gd name="T5" fmla="*/ 54 h 269"/>
                    <a:gd name="T6" fmla="*/ 47 w 91"/>
                    <a:gd name="T7" fmla="*/ 61 h 269"/>
                    <a:gd name="T8" fmla="*/ 41 w 91"/>
                    <a:gd name="T9" fmla="*/ 46 h 269"/>
                    <a:gd name="T10" fmla="*/ 41 w 91"/>
                    <a:gd name="T11" fmla="*/ 20 h 269"/>
                    <a:gd name="T12" fmla="*/ 18 w 91"/>
                    <a:gd name="T13" fmla="*/ 0 h 269"/>
                    <a:gd name="T14" fmla="*/ 16 w 91"/>
                    <a:gd name="T15" fmla="*/ 1 h 269"/>
                    <a:gd name="T16" fmla="*/ 15 w 91"/>
                    <a:gd name="T17" fmla="*/ 3 h 269"/>
                    <a:gd name="T18" fmla="*/ 23 w 91"/>
                    <a:gd name="T19" fmla="*/ 21 h 269"/>
                    <a:gd name="T20" fmla="*/ 18 w 91"/>
                    <a:gd name="T21" fmla="*/ 19 h 269"/>
                    <a:gd name="T22" fmla="*/ 14 w 91"/>
                    <a:gd name="T23" fmla="*/ 45 h 269"/>
                    <a:gd name="T24" fmla="*/ 0 w 91"/>
                    <a:gd name="T25" fmla="*/ 73 h 269"/>
                    <a:gd name="T26" fmla="*/ 27 w 91"/>
                    <a:gd name="T27" fmla="*/ 105 h 269"/>
                    <a:gd name="T28" fmla="*/ 31 w 91"/>
                    <a:gd name="T29" fmla="*/ 109 h 269"/>
                    <a:gd name="T30" fmla="*/ 66 w 91"/>
                    <a:gd name="T31" fmla="*/ 188 h 269"/>
                    <a:gd name="T32" fmla="*/ 82 w 91"/>
                    <a:gd name="T33" fmla="*/ 258 h 269"/>
                    <a:gd name="T34" fmla="*/ 82 w 91"/>
                    <a:gd name="T35" fmla="*/ 161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1" h="269">
                      <a:moveTo>
                        <a:pt x="82" y="161"/>
                      </a:moveTo>
                      <a:cubicBezTo>
                        <a:pt x="82" y="149"/>
                        <a:pt x="57" y="89"/>
                        <a:pt x="47" y="77"/>
                      </a:cubicBezTo>
                      <a:cubicBezTo>
                        <a:pt x="38" y="65"/>
                        <a:pt x="42" y="54"/>
                        <a:pt x="42" y="54"/>
                      </a:cubicBezTo>
                      <a:cubicBezTo>
                        <a:pt x="42" y="54"/>
                        <a:pt x="44" y="57"/>
                        <a:pt x="47" y="61"/>
                      </a:cubicBezTo>
                      <a:cubicBezTo>
                        <a:pt x="43" y="53"/>
                        <a:pt x="41" y="48"/>
                        <a:pt x="41" y="46"/>
                      </a:cubicBezTo>
                      <a:cubicBezTo>
                        <a:pt x="39" y="38"/>
                        <a:pt x="41" y="20"/>
                        <a:pt x="41" y="20"/>
                      </a:cubicBezTo>
                      <a:cubicBezTo>
                        <a:pt x="41" y="16"/>
                        <a:pt x="18" y="0"/>
                        <a:pt x="18" y="0"/>
                      </a:cubicBezTo>
                      <a:cubicBezTo>
                        <a:pt x="17" y="0"/>
                        <a:pt x="17" y="0"/>
                        <a:pt x="16" y="1"/>
                      </a:cubicBezTo>
                      <a:cubicBezTo>
                        <a:pt x="16" y="2"/>
                        <a:pt x="15" y="2"/>
                        <a:pt x="15" y="3"/>
                      </a:cubicBezTo>
                      <a:cubicBezTo>
                        <a:pt x="11" y="11"/>
                        <a:pt x="23" y="21"/>
                        <a:pt x="23" y="21"/>
                      </a:cubicBezTo>
                      <a:cubicBezTo>
                        <a:pt x="23" y="21"/>
                        <a:pt x="21" y="20"/>
                        <a:pt x="18" y="19"/>
                      </a:cubicBezTo>
                      <a:cubicBezTo>
                        <a:pt x="23" y="30"/>
                        <a:pt x="17" y="37"/>
                        <a:pt x="14" y="45"/>
                      </a:cubicBezTo>
                      <a:cubicBezTo>
                        <a:pt x="11" y="53"/>
                        <a:pt x="5" y="65"/>
                        <a:pt x="0" y="73"/>
                      </a:cubicBezTo>
                      <a:cubicBezTo>
                        <a:pt x="7" y="82"/>
                        <a:pt x="15" y="91"/>
                        <a:pt x="27" y="105"/>
                      </a:cubicBezTo>
                      <a:cubicBezTo>
                        <a:pt x="29" y="106"/>
                        <a:pt x="30" y="108"/>
                        <a:pt x="31" y="109"/>
                      </a:cubicBezTo>
                      <a:cubicBezTo>
                        <a:pt x="67" y="153"/>
                        <a:pt x="66" y="188"/>
                        <a:pt x="66" y="188"/>
                      </a:cubicBezTo>
                      <a:cubicBezTo>
                        <a:pt x="77" y="269"/>
                        <a:pt x="82" y="258"/>
                        <a:pt x="82" y="258"/>
                      </a:cubicBezTo>
                      <a:cubicBezTo>
                        <a:pt x="91" y="246"/>
                        <a:pt x="82" y="173"/>
                        <a:pt x="82" y="161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" name="Freeform 16">
                  <a:extLst>
                    <a:ext uri="{FF2B5EF4-FFF2-40B4-BE49-F238E27FC236}">
                      <a16:creationId xmlns:a16="http://schemas.microsoft.com/office/drawing/2014/main" id="{867CFB7A-1D22-40F2-8C2B-BE49243C607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0047" y="2402496"/>
                  <a:ext cx="24833" cy="27698"/>
                </a:xfrm>
                <a:custGeom>
                  <a:avLst/>
                  <a:gdLst>
                    <a:gd name="T0" fmla="*/ 0 w 11"/>
                    <a:gd name="T1" fmla="*/ 5 h 12"/>
                    <a:gd name="T2" fmla="*/ 11 w 11"/>
                    <a:gd name="T3" fmla="*/ 12 h 12"/>
                    <a:gd name="T4" fmla="*/ 5 w 11"/>
                    <a:gd name="T5" fmla="*/ 0 h 12"/>
                    <a:gd name="T6" fmla="*/ 0 w 11"/>
                    <a:gd name="T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2">
                      <a:moveTo>
                        <a:pt x="0" y="5"/>
                      </a:moveTo>
                      <a:cubicBezTo>
                        <a:pt x="5" y="8"/>
                        <a:pt x="9" y="10"/>
                        <a:pt x="11" y="12"/>
                      </a:cubicBezTo>
                      <a:cubicBezTo>
                        <a:pt x="10" y="8"/>
                        <a:pt x="8" y="5"/>
                        <a:pt x="5" y="0"/>
                      </a:cubicBezTo>
                      <a:cubicBezTo>
                        <a:pt x="3" y="2"/>
                        <a:pt x="2" y="4"/>
                        <a:pt x="0" y="5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" name="Freeform 17">
                  <a:extLst>
                    <a:ext uri="{FF2B5EF4-FFF2-40B4-BE49-F238E27FC236}">
                      <a16:creationId xmlns:a16="http://schemas.microsoft.com/office/drawing/2014/main" id="{DA73169D-2A24-4E0F-A674-DB603623F2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72309" y="1856305"/>
                  <a:ext cx="352303" cy="451312"/>
                </a:xfrm>
                <a:custGeom>
                  <a:avLst/>
                  <a:gdLst>
                    <a:gd name="T0" fmla="*/ 153 w 161"/>
                    <a:gd name="T1" fmla="*/ 12 h 196"/>
                    <a:gd name="T2" fmla="*/ 126 w 161"/>
                    <a:gd name="T3" fmla="*/ 10 h 196"/>
                    <a:gd name="T4" fmla="*/ 69 w 161"/>
                    <a:gd name="T5" fmla="*/ 1 h 196"/>
                    <a:gd name="T6" fmla="*/ 32 w 161"/>
                    <a:gd name="T7" fmla="*/ 19 h 196"/>
                    <a:gd name="T8" fmla="*/ 8 w 161"/>
                    <a:gd name="T9" fmla="*/ 65 h 196"/>
                    <a:gd name="T10" fmla="*/ 1 w 161"/>
                    <a:gd name="T11" fmla="*/ 118 h 196"/>
                    <a:gd name="T12" fmla="*/ 10 w 161"/>
                    <a:gd name="T13" fmla="*/ 174 h 196"/>
                    <a:gd name="T14" fmla="*/ 13 w 161"/>
                    <a:gd name="T15" fmla="*/ 165 h 196"/>
                    <a:gd name="T16" fmla="*/ 18 w 161"/>
                    <a:gd name="T17" fmla="*/ 181 h 196"/>
                    <a:gd name="T18" fmla="*/ 29 w 161"/>
                    <a:gd name="T19" fmla="*/ 194 h 196"/>
                    <a:gd name="T20" fmla="*/ 30 w 161"/>
                    <a:gd name="T21" fmla="*/ 192 h 196"/>
                    <a:gd name="T22" fmla="*/ 30 w 161"/>
                    <a:gd name="T23" fmla="*/ 191 h 196"/>
                    <a:gd name="T24" fmla="*/ 31 w 161"/>
                    <a:gd name="T25" fmla="*/ 190 h 196"/>
                    <a:gd name="T26" fmla="*/ 31 w 161"/>
                    <a:gd name="T27" fmla="*/ 190 h 196"/>
                    <a:gd name="T28" fmla="*/ 32 w 161"/>
                    <a:gd name="T29" fmla="*/ 190 h 196"/>
                    <a:gd name="T30" fmla="*/ 32 w 161"/>
                    <a:gd name="T31" fmla="*/ 189 h 196"/>
                    <a:gd name="T32" fmla="*/ 33 w 161"/>
                    <a:gd name="T33" fmla="*/ 189 h 196"/>
                    <a:gd name="T34" fmla="*/ 33 w 161"/>
                    <a:gd name="T35" fmla="*/ 189 h 196"/>
                    <a:gd name="T36" fmla="*/ 34 w 161"/>
                    <a:gd name="T37" fmla="*/ 189 h 196"/>
                    <a:gd name="T38" fmla="*/ 34 w 161"/>
                    <a:gd name="T39" fmla="*/ 189 h 196"/>
                    <a:gd name="T40" fmla="*/ 35 w 161"/>
                    <a:gd name="T41" fmla="*/ 189 h 196"/>
                    <a:gd name="T42" fmla="*/ 36 w 161"/>
                    <a:gd name="T43" fmla="*/ 190 h 196"/>
                    <a:gd name="T44" fmla="*/ 38 w 161"/>
                    <a:gd name="T45" fmla="*/ 190 h 196"/>
                    <a:gd name="T46" fmla="*/ 46 w 161"/>
                    <a:gd name="T47" fmla="*/ 196 h 196"/>
                    <a:gd name="T48" fmla="*/ 49 w 161"/>
                    <a:gd name="T49" fmla="*/ 194 h 196"/>
                    <a:gd name="T50" fmla="*/ 49 w 161"/>
                    <a:gd name="T51" fmla="*/ 194 h 196"/>
                    <a:gd name="T52" fmla="*/ 71 w 161"/>
                    <a:gd name="T53" fmla="*/ 170 h 196"/>
                    <a:gd name="T54" fmla="*/ 70 w 161"/>
                    <a:gd name="T55" fmla="*/ 105 h 196"/>
                    <a:gd name="T56" fmla="*/ 91 w 161"/>
                    <a:gd name="T57" fmla="*/ 109 h 196"/>
                    <a:gd name="T58" fmla="*/ 119 w 161"/>
                    <a:gd name="T59" fmla="*/ 120 h 196"/>
                    <a:gd name="T60" fmla="*/ 136 w 161"/>
                    <a:gd name="T61" fmla="*/ 60 h 196"/>
                    <a:gd name="T62" fmla="*/ 154 w 161"/>
                    <a:gd name="T63" fmla="*/ 36 h 196"/>
                    <a:gd name="T64" fmla="*/ 155 w 161"/>
                    <a:gd name="T65" fmla="*/ 37 h 196"/>
                    <a:gd name="T66" fmla="*/ 153 w 161"/>
                    <a:gd name="T67" fmla="*/ 12 h 196"/>
                    <a:gd name="connsiteX0" fmla="*/ 9445 w 9707"/>
                    <a:gd name="connsiteY0" fmla="*/ 566 h 9954"/>
                    <a:gd name="connsiteX1" fmla="*/ 7768 w 9707"/>
                    <a:gd name="connsiteY1" fmla="*/ 464 h 9954"/>
                    <a:gd name="connsiteX2" fmla="*/ 4228 w 9707"/>
                    <a:gd name="connsiteY2" fmla="*/ 5 h 9954"/>
                    <a:gd name="connsiteX3" fmla="*/ 1930 w 9707"/>
                    <a:gd name="connsiteY3" fmla="*/ 923 h 9954"/>
                    <a:gd name="connsiteX4" fmla="*/ 439 w 9707"/>
                    <a:gd name="connsiteY4" fmla="*/ 3270 h 9954"/>
                    <a:gd name="connsiteX5" fmla="*/ 4 w 9707"/>
                    <a:gd name="connsiteY5" fmla="*/ 5974 h 9954"/>
                    <a:gd name="connsiteX6" fmla="*/ 563 w 9707"/>
                    <a:gd name="connsiteY6" fmla="*/ 8832 h 9954"/>
                    <a:gd name="connsiteX7" fmla="*/ 749 w 9707"/>
                    <a:gd name="connsiteY7" fmla="*/ 8372 h 9954"/>
                    <a:gd name="connsiteX8" fmla="*/ 1060 w 9707"/>
                    <a:gd name="connsiteY8" fmla="*/ 9189 h 9954"/>
                    <a:gd name="connsiteX9" fmla="*/ 1743 w 9707"/>
                    <a:gd name="connsiteY9" fmla="*/ 9852 h 9954"/>
                    <a:gd name="connsiteX10" fmla="*/ 1805 w 9707"/>
                    <a:gd name="connsiteY10" fmla="*/ 9750 h 9954"/>
                    <a:gd name="connsiteX11" fmla="*/ 1805 w 9707"/>
                    <a:gd name="connsiteY11" fmla="*/ 9699 h 9954"/>
                    <a:gd name="connsiteX12" fmla="*/ 1867 w 9707"/>
                    <a:gd name="connsiteY12" fmla="*/ 9648 h 9954"/>
                    <a:gd name="connsiteX13" fmla="*/ 1867 w 9707"/>
                    <a:gd name="connsiteY13" fmla="*/ 9648 h 9954"/>
                    <a:gd name="connsiteX14" fmla="*/ 1930 w 9707"/>
                    <a:gd name="connsiteY14" fmla="*/ 9648 h 9954"/>
                    <a:gd name="connsiteX15" fmla="*/ 1930 w 9707"/>
                    <a:gd name="connsiteY15" fmla="*/ 9597 h 9954"/>
                    <a:gd name="connsiteX16" fmla="*/ 1992 w 9707"/>
                    <a:gd name="connsiteY16" fmla="*/ 9597 h 9954"/>
                    <a:gd name="connsiteX17" fmla="*/ 1992 w 9707"/>
                    <a:gd name="connsiteY17" fmla="*/ 9597 h 9954"/>
                    <a:gd name="connsiteX18" fmla="*/ 2054 w 9707"/>
                    <a:gd name="connsiteY18" fmla="*/ 9597 h 9954"/>
                    <a:gd name="connsiteX19" fmla="*/ 2054 w 9707"/>
                    <a:gd name="connsiteY19" fmla="*/ 9597 h 9954"/>
                    <a:gd name="connsiteX20" fmla="*/ 2116 w 9707"/>
                    <a:gd name="connsiteY20" fmla="*/ 9597 h 9954"/>
                    <a:gd name="connsiteX21" fmla="*/ 2178 w 9707"/>
                    <a:gd name="connsiteY21" fmla="*/ 9648 h 9954"/>
                    <a:gd name="connsiteX22" fmla="*/ 2302 w 9707"/>
                    <a:gd name="connsiteY22" fmla="*/ 9648 h 9954"/>
                    <a:gd name="connsiteX23" fmla="*/ 2799 w 9707"/>
                    <a:gd name="connsiteY23" fmla="*/ 9954 h 9954"/>
                    <a:gd name="connsiteX24" fmla="*/ 2985 w 9707"/>
                    <a:gd name="connsiteY24" fmla="*/ 9852 h 9954"/>
                    <a:gd name="connsiteX25" fmla="*/ 2985 w 9707"/>
                    <a:gd name="connsiteY25" fmla="*/ 9852 h 9954"/>
                    <a:gd name="connsiteX26" fmla="*/ 4352 w 9707"/>
                    <a:gd name="connsiteY26" fmla="*/ 8627 h 9954"/>
                    <a:gd name="connsiteX27" fmla="*/ 4290 w 9707"/>
                    <a:gd name="connsiteY27" fmla="*/ 5311 h 9954"/>
                    <a:gd name="connsiteX28" fmla="*/ 5594 w 9707"/>
                    <a:gd name="connsiteY28" fmla="*/ 5515 h 9954"/>
                    <a:gd name="connsiteX29" fmla="*/ 7333 w 9707"/>
                    <a:gd name="connsiteY29" fmla="*/ 6076 h 9954"/>
                    <a:gd name="connsiteX30" fmla="*/ 9139 w 9707"/>
                    <a:gd name="connsiteY30" fmla="*/ 3825 h 9954"/>
                    <a:gd name="connsiteX31" fmla="*/ 9507 w 9707"/>
                    <a:gd name="connsiteY31" fmla="*/ 1791 h 9954"/>
                    <a:gd name="connsiteX32" fmla="*/ 9569 w 9707"/>
                    <a:gd name="connsiteY32" fmla="*/ 1842 h 9954"/>
                    <a:gd name="connsiteX33" fmla="*/ 9445 w 9707"/>
                    <a:gd name="connsiteY33" fmla="*/ 566 h 9954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763 w 10000"/>
                    <a:gd name="connsiteY28" fmla="*/ 5540 h 10000"/>
                    <a:gd name="connsiteX29" fmla="*/ 7554 w 10000"/>
                    <a:gd name="connsiteY29" fmla="*/ 6104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763 w 10000"/>
                    <a:gd name="connsiteY28" fmla="*/ 5540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663 w 10000"/>
                    <a:gd name="connsiteY27" fmla="*/ 5499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727 w 10000"/>
                    <a:gd name="connsiteY26" fmla="*/ 8862 h 10000"/>
                    <a:gd name="connsiteX27" fmla="*/ 4663 w 10000"/>
                    <a:gd name="connsiteY27" fmla="*/ 5499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191"/>
                    <a:gd name="connsiteX1" fmla="*/ 8002 w 10000"/>
                    <a:gd name="connsiteY1" fmla="*/ 466 h 10191"/>
                    <a:gd name="connsiteX2" fmla="*/ 4356 w 10000"/>
                    <a:gd name="connsiteY2" fmla="*/ 5 h 10191"/>
                    <a:gd name="connsiteX3" fmla="*/ 1988 w 10000"/>
                    <a:gd name="connsiteY3" fmla="*/ 927 h 10191"/>
                    <a:gd name="connsiteX4" fmla="*/ 452 w 10000"/>
                    <a:gd name="connsiteY4" fmla="*/ 3285 h 10191"/>
                    <a:gd name="connsiteX5" fmla="*/ 4 w 10000"/>
                    <a:gd name="connsiteY5" fmla="*/ 6002 h 10191"/>
                    <a:gd name="connsiteX6" fmla="*/ 580 w 10000"/>
                    <a:gd name="connsiteY6" fmla="*/ 8873 h 10191"/>
                    <a:gd name="connsiteX7" fmla="*/ 772 w 10000"/>
                    <a:gd name="connsiteY7" fmla="*/ 8411 h 10191"/>
                    <a:gd name="connsiteX8" fmla="*/ 1092 w 10000"/>
                    <a:gd name="connsiteY8" fmla="*/ 9231 h 10191"/>
                    <a:gd name="connsiteX9" fmla="*/ 1796 w 10000"/>
                    <a:gd name="connsiteY9" fmla="*/ 9898 h 10191"/>
                    <a:gd name="connsiteX10" fmla="*/ 1859 w 10000"/>
                    <a:gd name="connsiteY10" fmla="*/ 9795 h 10191"/>
                    <a:gd name="connsiteX11" fmla="*/ 1859 w 10000"/>
                    <a:gd name="connsiteY11" fmla="*/ 9744 h 10191"/>
                    <a:gd name="connsiteX12" fmla="*/ 1923 w 10000"/>
                    <a:gd name="connsiteY12" fmla="*/ 9693 h 10191"/>
                    <a:gd name="connsiteX13" fmla="*/ 1923 w 10000"/>
                    <a:gd name="connsiteY13" fmla="*/ 9693 h 10191"/>
                    <a:gd name="connsiteX14" fmla="*/ 1988 w 10000"/>
                    <a:gd name="connsiteY14" fmla="*/ 9693 h 10191"/>
                    <a:gd name="connsiteX15" fmla="*/ 1988 w 10000"/>
                    <a:gd name="connsiteY15" fmla="*/ 9641 h 10191"/>
                    <a:gd name="connsiteX16" fmla="*/ 2052 w 10000"/>
                    <a:gd name="connsiteY16" fmla="*/ 9641 h 10191"/>
                    <a:gd name="connsiteX17" fmla="*/ 2052 w 10000"/>
                    <a:gd name="connsiteY17" fmla="*/ 9641 h 10191"/>
                    <a:gd name="connsiteX18" fmla="*/ 2116 w 10000"/>
                    <a:gd name="connsiteY18" fmla="*/ 9641 h 10191"/>
                    <a:gd name="connsiteX19" fmla="*/ 2116 w 10000"/>
                    <a:gd name="connsiteY19" fmla="*/ 9641 h 10191"/>
                    <a:gd name="connsiteX20" fmla="*/ 2180 w 10000"/>
                    <a:gd name="connsiteY20" fmla="*/ 9641 h 10191"/>
                    <a:gd name="connsiteX21" fmla="*/ 2244 w 10000"/>
                    <a:gd name="connsiteY21" fmla="*/ 9693 h 10191"/>
                    <a:gd name="connsiteX22" fmla="*/ 2371 w 10000"/>
                    <a:gd name="connsiteY22" fmla="*/ 9693 h 10191"/>
                    <a:gd name="connsiteX23" fmla="*/ 2883 w 10000"/>
                    <a:gd name="connsiteY23" fmla="*/ 10000 h 10191"/>
                    <a:gd name="connsiteX24" fmla="*/ 3075 w 10000"/>
                    <a:gd name="connsiteY24" fmla="*/ 9898 h 10191"/>
                    <a:gd name="connsiteX25" fmla="*/ 3400 w 10000"/>
                    <a:gd name="connsiteY25" fmla="*/ 10191 h 10191"/>
                    <a:gd name="connsiteX26" fmla="*/ 4727 w 10000"/>
                    <a:gd name="connsiteY26" fmla="*/ 8862 h 10191"/>
                    <a:gd name="connsiteX27" fmla="*/ 4663 w 10000"/>
                    <a:gd name="connsiteY27" fmla="*/ 5499 h 10191"/>
                    <a:gd name="connsiteX28" fmla="*/ 5682 w 10000"/>
                    <a:gd name="connsiteY28" fmla="*/ 5768 h 10191"/>
                    <a:gd name="connsiteX29" fmla="*/ 7473 w 10000"/>
                    <a:gd name="connsiteY29" fmla="*/ 6462 h 10191"/>
                    <a:gd name="connsiteX30" fmla="*/ 9008 w 10000"/>
                    <a:gd name="connsiteY30" fmla="*/ 3160 h 10191"/>
                    <a:gd name="connsiteX31" fmla="*/ 9794 w 10000"/>
                    <a:gd name="connsiteY31" fmla="*/ 1799 h 10191"/>
                    <a:gd name="connsiteX32" fmla="*/ 9858 w 10000"/>
                    <a:gd name="connsiteY32" fmla="*/ 1851 h 10191"/>
                    <a:gd name="connsiteX33" fmla="*/ 9730 w 10000"/>
                    <a:gd name="connsiteY33" fmla="*/ 569 h 10191"/>
                    <a:gd name="connsiteX0" fmla="*/ 9730 w 10000"/>
                    <a:gd name="connsiteY0" fmla="*/ 569 h 10253"/>
                    <a:gd name="connsiteX1" fmla="*/ 8002 w 10000"/>
                    <a:gd name="connsiteY1" fmla="*/ 466 h 10253"/>
                    <a:gd name="connsiteX2" fmla="*/ 4356 w 10000"/>
                    <a:gd name="connsiteY2" fmla="*/ 5 h 10253"/>
                    <a:gd name="connsiteX3" fmla="*/ 1988 w 10000"/>
                    <a:gd name="connsiteY3" fmla="*/ 927 h 10253"/>
                    <a:gd name="connsiteX4" fmla="*/ 452 w 10000"/>
                    <a:gd name="connsiteY4" fmla="*/ 3285 h 10253"/>
                    <a:gd name="connsiteX5" fmla="*/ 4 w 10000"/>
                    <a:gd name="connsiteY5" fmla="*/ 6002 h 10253"/>
                    <a:gd name="connsiteX6" fmla="*/ 580 w 10000"/>
                    <a:gd name="connsiteY6" fmla="*/ 8873 h 10253"/>
                    <a:gd name="connsiteX7" fmla="*/ 772 w 10000"/>
                    <a:gd name="connsiteY7" fmla="*/ 8411 h 10253"/>
                    <a:gd name="connsiteX8" fmla="*/ 1092 w 10000"/>
                    <a:gd name="connsiteY8" fmla="*/ 9231 h 10253"/>
                    <a:gd name="connsiteX9" fmla="*/ 1796 w 10000"/>
                    <a:gd name="connsiteY9" fmla="*/ 9898 h 10253"/>
                    <a:gd name="connsiteX10" fmla="*/ 1859 w 10000"/>
                    <a:gd name="connsiteY10" fmla="*/ 9795 h 10253"/>
                    <a:gd name="connsiteX11" fmla="*/ 1859 w 10000"/>
                    <a:gd name="connsiteY11" fmla="*/ 9744 h 10253"/>
                    <a:gd name="connsiteX12" fmla="*/ 1923 w 10000"/>
                    <a:gd name="connsiteY12" fmla="*/ 9693 h 10253"/>
                    <a:gd name="connsiteX13" fmla="*/ 1923 w 10000"/>
                    <a:gd name="connsiteY13" fmla="*/ 9693 h 10253"/>
                    <a:gd name="connsiteX14" fmla="*/ 1988 w 10000"/>
                    <a:gd name="connsiteY14" fmla="*/ 9693 h 10253"/>
                    <a:gd name="connsiteX15" fmla="*/ 1988 w 10000"/>
                    <a:gd name="connsiteY15" fmla="*/ 9641 h 10253"/>
                    <a:gd name="connsiteX16" fmla="*/ 2052 w 10000"/>
                    <a:gd name="connsiteY16" fmla="*/ 9641 h 10253"/>
                    <a:gd name="connsiteX17" fmla="*/ 2052 w 10000"/>
                    <a:gd name="connsiteY17" fmla="*/ 9641 h 10253"/>
                    <a:gd name="connsiteX18" fmla="*/ 2116 w 10000"/>
                    <a:gd name="connsiteY18" fmla="*/ 9641 h 10253"/>
                    <a:gd name="connsiteX19" fmla="*/ 2116 w 10000"/>
                    <a:gd name="connsiteY19" fmla="*/ 9641 h 10253"/>
                    <a:gd name="connsiteX20" fmla="*/ 2180 w 10000"/>
                    <a:gd name="connsiteY20" fmla="*/ 9641 h 10253"/>
                    <a:gd name="connsiteX21" fmla="*/ 2244 w 10000"/>
                    <a:gd name="connsiteY21" fmla="*/ 9693 h 10253"/>
                    <a:gd name="connsiteX22" fmla="*/ 2371 w 10000"/>
                    <a:gd name="connsiteY22" fmla="*/ 9693 h 10253"/>
                    <a:gd name="connsiteX23" fmla="*/ 2883 w 10000"/>
                    <a:gd name="connsiteY23" fmla="*/ 10000 h 10253"/>
                    <a:gd name="connsiteX24" fmla="*/ 3400 w 10000"/>
                    <a:gd name="connsiteY24" fmla="*/ 10191 h 10253"/>
                    <a:gd name="connsiteX25" fmla="*/ 4727 w 10000"/>
                    <a:gd name="connsiteY25" fmla="*/ 8862 h 10253"/>
                    <a:gd name="connsiteX26" fmla="*/ 4663 w 10000"/>
                    <a:gd name="connsiteY26" fmla="*/ 5499 h 10253"/>
                    <a:gd name="connsiteX27" fmla="*/ 5682 w 10000"/>
                    <a:gd name="connsiteY27" fmla="*/ 5768 h 10253"/>
                    <a:gd name="connsiteX28" fmla="*/ 7473 w 10000"/>
                    <a:gd name="connsiteY28" fmla="*/ 6462 h 10253"/>
                    <a:gd name="connsiteX29" fmla="*/ 9008 w 10000"/>
                    <a:gd name="connsiteY29" fmla="*/ 3160 h 10253"/>
                    <a:gd name="connsiteX30" fmla="*/ 9794 w 10000"/>
                    <a:gd name="connsiteY30" fmla="*/ 1799 h 10253"/>
                    <a:gd name="connsiteX31" fmla="*/ 9858 w 10000"/>
                    <a:gd name="connsiteY31" fmla="*/ 1851 h 10253"/>
                    <a:gd name="connsiteX32" fmla="*/ 9730 w 10000"/>
                    <a:gd name="connsiteY32" fmla="*/ 569 h 10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10000" h="10253">
                      <a:moveTo>
                        <a:pt x="9730" y="569"/>
                      </a:moveTo>
                      <a:cubicBezTo>
                        <a:pt x="8963" y="722"/>
                        <a:pt x="8451" y="517"/>
                        <a:pt x="8002" y="466"/>
                      </a:cubicBezTo>
                      <a:cubicBezTo>
                        <a:pt x="7618" y="364"/>
                        <a:pt x="5380" y="-46"/>
                        <a:pt x="4356" y="5"/>
                      </a:cubicBezTo>
                      <a:cubicBezTo>
                        <a:pt x="3332" y="56"/>
                        <a:pt x="2308" y="569"/>
                        <a:pt x="1988" y="927"/>
                      </a:cubicBezTo>
                      <a:cubicBezTo>
                        <a:pt x="1604" y="1287"/>
                        <a:pt x="772" y="2363"/>
                        <a:pt x="452" y="3285"/>
                      </a:cubicBezTo>
                      <a:cubicBezTo>
                        <a:pt x="68" y="4208"/>
                        <a:pt x="68" y="4106"/>
                        <a:pt x="4" y="6002"/>
                      </a:cubicBezTo>
                      <a:cubicBezTo>
                        <a:pt x="-60" y="7847"/>
                        <a:pt x="644" y="9180"/>
                        <a:pt x="580" y="8873"/>
                      </a:cubicBezTo>
                      <a:cubicBezTo>
                        <a:pt x="452" y="8564"/>
                        <a:pt x="644" y="8052"/>
                        <a:pt x="772" y="8411"/>
                      </a:cubicBezTo>
                      <a:cubicBezTo>
                        <a:pt x="837" y="8770"/>
                        <a:pt x="1092" y="9231"/>
                        <a:pt x="1092" y="9231"/>
                      </a:cubicBezTo>
                      <a:cubicBezTo>
                        <a:pt x="1284" y="9488"/>
                        <a:pt x="1540" y="9744"/>
                        <a:pt x="1796" y="9898"/>
                      </a:cubicBezTo>
                      <a:cubicBezTo>
                        <a:pt x="1796" y="9846"/>
                        <a:pt x="1796" y="9846"/>
                        <a:pt x="1859" y="9795"/>
                      </a:cubicBezTo>
                      <a:lnTo>
                        <a:pt x="1859" y="9744"/>
                      </a:lnTo>
                      <a:cubicBezTo>
                        <a:pt x="1859" y="9744"/>
                        <a:pt x="1923" y="9744"/>
                        <a:pt x="1923" y="9693"/>
                      </a:cubicBezTo>
                      <a:lnTo>
                        <a:pt x="1923" y="9693"/>
                      </a:lnTo>
                      <a:lnTo>
                        <a:pt x="1988" y="9693"/>
                      </a:lnTo>
                      <a:lnTo>
                        <a:pt x="1988" y="9641"/>
                      </a:lnTo>
                      <a:lnTo>
                        <a:pt x="2052" y="9641"/>
                      </a:lnTo>
                      <a:lnTo>
                        <a:pt x="2052" y="9641"/>
                      </a:lnTo>
                      <a:lnTo>
                        <a:pt x="2116" y="9641"/>
                      </a:lnTo>
                      <a:lnTo>
                        <a:pt x="2116" y="9641"/>
                      </a:lnTo>
                      <a:lnTo>
                        <a:pt x="2180" y="9641"/>
                      </a:lnTo>
                      <a:cubicBezTo>
                        <a:pt x="2244" y="9641"/>
                        <a:pt x="2244" y="9641"/>
                        <a:pt x="2244" y="9693"/>
                      </a:cubicBezTo>
                      <a:lnTo>
                        <a:pt x="2371" y="9693"/>
                      </a:lnTo>
                      <a:cubicBezTo>
                        <a:pt x="2371" y="9693"/>
                        <a:pt x="2564" y="9795"/>
                        <a:pt x="2883" y="10000"/>
                      </a:cubicBezTo>
                      <a:cubicBezTo>
                        <a:pt x="3055" y="10083"/>
                        <a:pt x="3093" y="10381"/>
                        <a:pt x="3400" y="10191"/>
                      </a:cubicBezTo>
                      <a:cubicBezTo>
                        <a:pt x="3707" y="10001"/>
                        <a:pt x="4663" y="9529"/>
                        <a:pt x="4727" y="8862"/>
                      </a:cubicBezTo>
                      <a:cubicBezTo>
                        <a:pt x="4791" y="7735"/>
                        <a:pt x="4215" y="5908"/>
                        <a:pt x="4663" y="5499"/>
                      </a:cubicBezTo>
                      <a:cubicBezTo>
                        <a:pt x="5047" y="5089"/>
                        <a:pt x="5214" y="5608"/>
                        <a:pt x="5682" y="5768"/>
                      </a:cubicBezTo>
                      <a:cubicBezTo>
                        <a:pt x="6150" y="5929"/>
                        <a:pt x="6897" y="6770"/>
                        <a:pt x="7473" y="6462"/>
                      </a:cubicBezTo>
                      <a:cubicBezTo>
                        <a:pt x="8049" y="6103"/>
                        <a:pt x="9136" y="3672"/>
                        <a:pt x="9008" y="3160"/>
                      </a:cubicBezTo>
                      <a:cubicBezTo>
                        <a:pt x="8944" y="2596"/>
                        <a:pt x="9346" y="1646"/>
                        <a:pt x="9794" y="1799"/>
                      </a:cubicBezTo>
                      <a:lnTo>
                        <a:pt x="9858" y="1851"/>
                      </a:lnTo>
                      <a:cubicBezTo>
                        <a:pt x="10242" y="825"/>
                        <a:pt x="9730" y="569"/>
                        <a:pt x="9730" y="56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ECD230E6-0796-4338-AB4C-0A7388100A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73354" y="1928768"/>
                  <a:ext cx="359116" cy="485189"/>
                </a:xfrm>
                <a:custGeom>
                  <a:avLst/>
                  <a:gdLst>
                    <a:gd name="T0" fmla="*/ 136 w 159"/>
                    <a:gd name="T1" fmla="*/ 108 h 215"/>
                    <a:gd name="T2" fmla="*/ 155 w 159"/>
                    <a:gd name="T3" fmla="*/ 100 h 215"/>
                    <a:gd name="T4" fmla="*/ 137 w 159"/>
                    <a:gd name="T5" fmla="*/ 72 h 215"/>
                    <a:gd name="T6" fmla="*/ 130 w 159"/>
                    <a:gd name="T7" fmla="*/ 55 h 215"/>
                    <a:gd name="T8" fmla="*/ 109 w 159"/>
                    <a:gd name="T9" fmla="*/ 4 h 215"/>
                    <a:gd name="T10" fmla="*/ 108 w 159"/>
                    <a:gd name="T11" fmla="*/ 3 h 215"/>
                    <a:gd name="T12" fmla="*/ 90 w 159"/>
                    <a:gd name="T13" fmla="*/ 27 h 215"/>
                    <a:gd name="T14" fmla="*/ 73 w 159"/>
                    <a:gd name="T15" fmla="*/ 87 h 215"/>
                    <a:gd name="T16" fmla="*/ 45 w 159"/>
                    <a:gd name="T17" fmla="*/ 76 h 215"/>
                    <a:gd name="T18" fmla="*/ 24 w 159"/>
                    <a:gd name="T19" fmla="*/ 72 h 215"/>
                    <a:gd name="T20" fmla="*/ 25 w 159"/>
                    <a:gd name="T21" fmla="*/ 137 h 215"/>
                    <a:gd name="T22" fmla="*/ 15 w 159"/>
                    <a:gd name="T23" fmla="*/ 155 h 215"/>
                    <a:gd name="T24" fmla="*/ 0 w 159"/>
                    <a:gd name="T25" fmla="*/ 163 h 215"/>
                    <a:gd name="T26" fmla="*/ 6 w 159"/>
                    <a:gd name="T27" fmla="*/ 167 h 215"/>
                    <a:gd name="T28" fmla="*/ 78 w 159"/>
                    <a:gd name="T29" fmla="*/ 215 h 215"/>
                    <a:gd name="T30" fmla="*/ 83 w 159"/>
                    <a:gd name="T31" fmla="*/ 210 h 215"/>
                    <a:gd name="T32" fmla="*/ 86 w 159"/>
                    <a:gd name="T33" fmla="*/ 206 h 215"/>
                    <a:gd name="T34" fmla="*/ 87 w 159"/>
                    <a:gd name="T35" fmla="*/ 204 h 215"/>
                    <a:gd name="T36" fmla="*/ 96 w 159"/>
                    <a:gd name="T37" fmla="*/ 180 h 215"/>
                    <a:gd name="T38" fmla="*/ 128 w 159"/>
                    <a:gd name="T39" fmla="*/ 164 h 215"/>
                    <a:gd name="T40" fmla="*/ 140 w 159"/>
                    <a:gd name="T41" fmla="*/ 139 h 215"/>
                    <a:gd name="T42" fmla="*/ 136 w 159"/>
                    <a:gd name="T43" fmla="*/ 120 h 215"/>
                    <a:gd name="T44" fmla="*/ 136 w 159"/>
                    <a:gd name="T45" fmla="*/ 108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9" h="215">
                      <a:moveTo>
                        <a:pt x="136" y="108"/>
                      </a:moveTo>
                      <a:cubicBezTo>
                        <a:pt x="159" y="107"/>
                        <a:pt x="155" y="100"/>
                        <a:pt x="155" y="100"/>
                      </a:cubicBezTo>
                      <a:cubicBezTo>
                        <a:pt x="157" y="96"/>
                        <a:pt x="137" y="72"/>
                        <a:pt x="137" y="72"/>
                      </a:cubicBezTo>
                      <a:cubicBezTo>
                        <a:pt x="131" y="66"/>
                        <a:pt x="130" y="55"/>
                        <a:pt x="130" y="55"/>
                      </a:cubicBezTo>
                      <a:cubicBezTo>
                        <a:pt x="129" y="26"/>
                        <a:pt x="113" y="8"/>
                        <a:pt x="109" y="4"/>
                      </a:cubicBezTo>
                      <a:cubicBezTo>
                        <a:pt x="108" y="3"/>
                        <a:pt x="108" y="3"/>
                        <a:pt x="108" y="3"/>
                      </a:cubicBezTo>
                      <a:cubicBezTo>
                        <a:pt x="101" y="0"/>
                        <a:pt x="89" y="16"/>
                        <a:pt x="90" y="27"/>
                      </a:cubicBezTo>
                      <a:cubicBezTo>
                        <a:pt x="92" y="37"/>
                        <a:pt x="82" y="80"/>
                        <a:pt x="73" y="87"/>
                      </a:cubicBezTo>
                      <a:cubicBezTo>
                        <a:pt x="64" y="93"/>
                        <a:pt x="57" y="85"/>
                        <a:pt x="45" y="76"/>
                      </a:cubicBezTo>
                      <a:cubicBezTo>
                        <a:pt x="33" y="67"/>
                        <a:pt x="30" y="64"/>
                        <a:pt x="24" y="72"/>
                      </a:cubicBezTo>
                      <a:cubicBezTo>
                        <a:pt x="17" y="80"/>
                        <a:pt x="26" y="115"/>
                        <a:pt x="25" y="137"/>
                      </a:cubicBezTo>
                      <a:cubicBezTo>
                        <a:pt x="24" y="145"/>
                        <a:pt x="20" y="151"/>
                        <a:pt x="15" y="155"/>
                      </a:cubicBezTo>
                      <a:cubicBezTo>
                        <a:pt x="10" y="159"/>
                        <a:pt x="4" y="161"/>
                        <a:pt x="0" y="163"/>
                      </a:cubicBezTo>
                      <a:cubicBezTo>
                        <a:pt x="1" y="164"/>
                        <a:pt x="4" y="166"/>
                        <a:pt x="6" y="167"/>
                      </a:cubicBezTo>
                      <a:cubicBezTo>
                        <a:pt x="25" y="180"/>
                        <a:pt x="59" y="203"/>
                        <a:pt x="78" y="215"/>
                      </a:cubicBezTo>
                      <a:cubicBezTo>
                        <a:pt x="80" y="214"/>
                        <a:pt x="81" y="212"/>
                        <a:pt x="83" y="210"/>
                      </a:cubicBezTo>
                      <a:cubicBezTo>
                        <a:pt x="84" y="209"/>
                        <a:pt x="85" y="207"/>
                        <a:pt x="86" y="206"/>
                      </a:cubicBezTo>
                      <a:cubicBezTo>
                        <a:pt x="86" y="205"/>
                        <a:pt x="87" y="205"/>
                        <a:pt x="87" y="204"/>
                      </a:cubicBezTo>
                      <a:cubicBezTo>
                        <a:pt x="98" y="188"/>
                        <a:pt x="96" y="180"/>
                        <a:pt x="96" y="180"/>
                      </a:cubicBezTo>
                      <a:cubicBezTo>
                        <a:pt x="98" y="164"/>
                        <a:pt x="106" y="165"/>
                        <a:pt x="128" y="164"/>
                      </a:cubicBezTo>
                      <a:cubicBezTo>
                        <a:pt x="144" y="163"/>
                        <a:pt x="144" y="151"/>
                        <a:pt x="140" y="139"/>
                      </a:cubicBezTo>
                      <a:cubicBezTo>
                        <a:pt x="136" y="128"/>
                        <a:pt x="136" y="120"/>
                        <a:pt x="136" y="120"/>
                      </a:cubicBezTo>
                      <a:lnTo>
                        <a:pt x="136" y="108"/>
                      </a:lnTo>
                      <a:close/>
                    </a:path>
                  </a:pathLst>
                </a:custGeom>
                <a:solidFill>
                  <a:srgbClr val="BE7742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19">
                  <a:extLst>
                    <a:ext uri="{FF2B5EF4-FFF2-40B4-BE49-F238E27FC236}">
                      <a16:creationId xmlns:a16="http://schemas.microsoft.com/office/drawing/2014/main" id="{08F4BCAC-CC52-4A16-A4F4-F48F1794E5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33240" y="2279288"/>
                  <a:ext cx="252145" cy="272203"/>
                </a:xfrm>
                <a:custGeom>
                  <a:avLst/>
                  <a:gdLst>
                    <a:gd name="T0" fmla="*/ 107 w 112"/>
                    <a:gd name="T1" fmla="*/ 67 h 121"/>
                    <a:gd name="T2" fmla="*/ 96 w 112"/>
                    <a:gd name="T3" fmla="*/ 60 h 121"/>
                    <a:gd name="T4" fmla="*/ 24 w 112"/>
                    <a:gd name="T5" fmla="*/ 12 h 121"/>
                    <a:gd name="T6" fmla="*/ 18 w 112"/>
                    <a:gd name="T7" fmla="*/ 8 h 121"/>
                    <a:gd name="T8" fmla="*/ 10 w 112"/>
                    <a:gd name="T9" fmla="*/ 2 h 121"/>
                    <a:gd name="T10" fmla="*/ 1 w 112"/>
                    <a:gd name="T11" fmla="*/ 4 h 121"/>
                    <a:gd name="T12" fmla="*/ 0 w 112"/>
                    <a:gd name="T13" fmla="*/ 17 h 121"/>
                    <a:gd name="T14" fmla="*/ 0 w 112"/>
                    <a:gd name="T15" fmla="*/ 20 h 121"/>
                    <a:gd name="T16" fmla="*/ 14 w 112"/>
                    <a:gd name="T17" fmla="*/ 29 h 121"/>
                    <a:gd name="T18" fmla="*/ 89 w 112"/>
                    <a:gd name="T19" fmla="*/ 121 h 121"/>
                    <a:gd name="T20" fmla="*/ 103 w 112"/>
                    <a:gd name="T21" fmla="*/ 93 h 121"/>
                    <a:gd name="T22" fmla="*/ 107 w 112"/>
                    <a:gd name="T23" fmla="*/ 67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2" h="121">
                      <a:moveTo>
                        <a:pt x="107" y="67"/>
                      </a:moveTo>
                      <a:cubicBezTo>
                        <a:pt x="105" y="65"/>
                        <a:pt x="101" y="63"/>
                        <a:pt x="96" y="60"/>
                      </a:cubicBezTo>
                      <a:cubicBezTo>
                        <a:pt x="77" y="48"/>
                        <a:pt x="43" y="25"/>
                        <a:pt x="24" y="12"/>
                      </a:cubicBezTo>
                      <a:cubicBezTo>
                        <a:pt x="22" y="11"/>
                        <a:pt x="19" y="9"/>
                        <a:pt x="18" y="8"/>
                      </a:cubicBezTo>
                      <a:cubicBezTo>
                        <a:pt x="13" y="4"/>
                        <a:pt x="10" y="2"/>
                        <a:pt x="10" y="2"/>
                      </a:cubicBezTo>
                      <a:cubicBezTo>
                        <a:pt x="5" y="0"/>
                        <a:pt x="3" y="1"/>
                        <a:pt x="1" y="4"/>
                      </a:cubicBezTo>
                      <a:cubicBezTo>
                        <a:pt x="1" y="9"/>
                        <a:pt x="0" y="13"/>
                        <a:pt x="0" y="17"/>
                      </a:cubicBezTo>
                      <a:cubicBezTo>
                        <a:pt x="0" y="18"/>
                        <a:pt x="0" y="19"/>
                        <a:pt x="0" y="20"/>
                      </a:cubicBezTo>
                      <a:cubicBezTo>
                        <a:pt x="7" y="19"/>
                        <a:pt x="14" y="29"/>
                        <a:pt x="14" y="29"/>
                      </a:cubicBezTo>
                      <a:cubicBezTo>
                        <a:pt x="62" y="84"/>
                        <a:pt x="73" y="100"/>
                        <a:pt x="89" y="121"/>
                      </a:cubicBezTo>
                      <a:cubicBezTo>
                        <a:pt x="94" y="113"/>
                        <a:pt x="100" y="101"/>
                        <a:pt x="103" y="93"/>
                      </a:cubicBezTo>
                      <a:cubicBezTo>
                        <a:pt x="106" y="85"/>
                        <a:pt x="112" y="78"/>
                        <a:pt x="107" y="67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20">
                  <a:extLst>
                    <a:ext uri="{FF2B5EF4-FFF2-40B4-BE49-F238E27FC236}">
                      <a16:creationId xmlns:a16="http://schemas.microsoft.com/office/drawing/2014/main" id="{EB6B6C00-EA8B-48EA-A52E-8A3B3EF6F7F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0553" y="2377663"/>
                  <a:ext cx="70677" cy="173828"/>
                </a:xfrm>
                <a:custGeom>
                  <a:avLst/>
                  <a:gdLst>
                    <a:gd name="T0" fmla="*/ 31 w 31"/>
                    <a:gd name="T1" fmla="*/ 77 h 77"/>
                    <a:gd name="T2" fmla="*/ 22 w 31"/>
                    <a:gd name="T3" fmla="*/ 59 h 77"/>
                    <a:gd name="T4" fmla="*/ 19 w 31"/>
                    <a:gd name="T5" fmla="*/ 31 h 77"/>
                    <a:gd name="T6" fmla="*/ 3 w 31"/>
                    <a:gd name="T7" fmla="*/ 7 h 77"/>
                    <a:gd name="T8" fmla="*/ 13 w 31"/>
                    <a:gd name="T9" fmla="*/ 9 h 77"/>
                    <a:gd name="T10" fmla="*/ 29 w 31"/>
                    <a:gd name="T11" fmla="*/ 24 h 77"/>
                    <a:gd name="T12" fmla="*/ 29 w 31"/>
                    <a:gd name="T13" fmla="*/ 54 h 77"/>
                    <a:gd name="T14" fmla="*/ 29 w 31"/>
                    <a:gd name="T15" fmla="*/ 68 h 77"/>
                    <a:gd name="T16" fmla="*/ 31 w 31"/>
                    <a:gd name="T17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" h="77">
                      <a:moveTo>
                        <a:pt x="31" y="77"/>
                      </a:moveTo>
                      <a:cubicBezTo>
                        <a:pt x="31" y="77"/>
                        <a:pt x="23" y="65"/>
                        <a:pt x="22" y="59"/>
                      </a:cubicBezTo>
                      <a:cubicBezTo>
                        <a:pt x="21" y="53"/>
                        <a:pt x="21" y="35"/>
                        <a:pt x="19" y="31"/>
                      </a:cubicBezTo>
                      <a:cubicBezTo>
                        <a:pt x="19" y="31"/>
                        <a:pt x="0" y="19"/>
                        <a:pt x="3" y="7"/>
                      </a:cubicBezTo>
                      <a:cubicBezTo>
                        <a:pt x="3" y="7"/>
                        <a:pt x="3" y="0"/>
                        <a:pt x="13" y="9"/>
                      </a:cubicBezTo>
                      <a:cubicBezTo>
                        <a:pt x="13" y="9"/>
                        <a:pt x="28" y="20"/>
                        <a:pt x="29" y="24"/>
                      </a:cubicBezTo>
                      <a:cubicBezTo>
                        <a:pt x="29" y="27"/>
                        <a:pt x="27" y="48"/>
                        <a:pt x="29" y="54"/>
                      </a:cubicBezTo>
                      <a:cubicBezTo>
                        <a:pt x="31" y="61"/>
                        <a:pt x="29" y="66"/>
                        <a:pt x="29" y="68"/>
                      </a:cubicBezTo>
                      <a:cubicBezTo>
                        <a:pt x="29" y="70"/>
                        <a:pt x="31" y="77"/>
                        <a:pt x="31" y="77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" name="Freeform 25">
                  <a:extLst>
                    <a:ext uri="{FF2B5EF4-FFF2-40B4-BE49-F238E27FC236}">
                      <a16:creationId xmlns:a16="http://schemas.microsoft.com/office/drawing/2014/main" id="{02A5FFDD-FF53-49C7-98BB-9F6DCB54D3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21580" y="2992780"/>
                  <a:ext cx="286806" cy="212731"/>
                </a:xfrm>
                <a:custGeom>
                  <a:avLst/>
                  <a:gdLst>
                    <a:gd name="T0" fmla="*/ 110 w 133"/>
                    <a:gd name="T1" fmla="*/ 42 h 96"/>
                    <a:gd name="T2" fmla="*/ 98 w 133"/>
                    <a:gd name="T3" fmla="*/ 45 h 96"/>
                    <a:gd name="T4" fmla="*/ 83 w 133"/>
                    <a:gd name="T5" fmla="*/ 46 h 96"/>
                    <a:gd name="T6" fmla="*/ 73 w 133"/>
                    <a:gd name="T7" fmla="*/ 33 h 96"/>
                    <a:gd name="T8" fmla="*/ 83 w 133"/>
                    <a:gd name="T9" fmla="*/ 23 h 96"/>
                    <a:gd name="T10" fmla="*/ 90 w 133"/>
                    <a:gd name="T11" fmla="*/ 18 h 96"/>
                    <a:gd name="T12" fmla="*/ 102 w 133"/>
                    <a:gd name="T13" fmla="*/ 8 h 96"/>
                    <a:gd name="T14" fmla="*/ 87 w 133"/>
                    <a:gd name="T15" fmla="*/ 6 h 96"/>
                    <a:gd name="T16" fmla="*/ 81 w 133"/>
                    <a:gd name="T17" fmla="*/ 10 h 96"/>
                    <a:gd name="T18" fmla="*/ 53 w 133"/>
                    <a:gd name="T19" fmla="*/ 19 h 96"/>
                    <a:gd name="T20" fmla="*/ 36 w 133"/>
                    <a:gd name="T21" fmla="*/ 23 h 96"/>
                    <a:gd name="T22" fmla="*/ 20 w 133"/>
                    <a:gd name="T23" fmla="*/ 28 h 96"/>
                    <a:gd name="T24" fmla="*/ 23 w 133"/>
                    <a:gd name="T25" fmla="*/ 29 h 96"/>
                    <a:gd name="T26" fmla="*/ 3 w 133"/>
                    <a:gd name="T27" fmla="*/ 57 h 96"/>
                    <a:gd name="T28" fmla="*/ 1 w 133"/>
                    <a:gd name="T29" fmla="*/ 69 h 96"/>
                    <a:gd name="T30" fmla="*/ 0 w 133"/>
                    <a:gd name="T31" fmla="*/ 73 h 96"/>
                    <a:gd name="T32" fmla="*/ 25 w 133"/>
                    <a:gd name="T33" fmla="*/ 92 h 96"/>
                    <a:gd name="T34" fmla="*/ 30 w 133"/>
                    <a:gd name="T35" fmla="*/ 91 h 96"/>
                    <a:gd name="T36" fmla="*/ 35 w 133"/>
                    <a:gd name="T37" fmla="*/ 95 h 96"/>
                    <a:gd name="T38" fmla="*/ 45 w 133"/>
                    <a:gd name="T39" fmla="*/ 96 h 96"/>
                    <a:gd name="T40" fmla="*/ 54 w 133"/>
                    <a:gd name="T41" fmla="*/ 89 h 96"/>
                    <a:gd name="T42" fmla="*/ 67 w 133"/>
                    <a:gd name="T43" fmla="*/ 84 h 96"/>
                    <a:gd name="T44" fmla="*/ 69 w 133"/>
                    <a:gd name="T45" fmla="*/ 83 h 96"/>
                    <a:gd name="T46" fmla="*/ 76 w 133"/>
                    <a:gd name="T47" fmla="*/ 73 h 96"/>
                    <a:gd name="T48" fmla="*/ 87 w 133"/>
                    <a:gd name="T49" fmla="*/ 63 h 96"/>
                    <a:gd name="T50" fmla="*/ 100 w 133"/>
                    <a:gd name="T51" fmla="*/ 58 h 96"/>
                    <a:gd name="T52" fmla="*/ 118 w 133"/>
                    <a:gd name="T53" fmla="*/ 53 h 96"/>
                    <a:gd name="T54" fmla="*/ 110 w 133"/>
                    <a:gd name="T55" fmla="*/ 42 h 96"/>
                    <a:gd name="connsiteX0" fmla="*/ 8271 w 9533"/>
                    <a:gd name="connsiteY0" fmla="*/ 4021 h 9647"/>
                    <a:gd name="connsiteX1" fmla="*/ 7368 w 9533"/>
                    <a:gd name="connsiteY1" fmla="*/ 4334 h 9647"/>
                    <a:gd name="connsiteX2" fmla="*/ 6241 w 9533"/>
                    <a:gd name="connsiteY2" fmla="*/ 4438 h 9647"/>
                    <a:gd name="connsiteX3" fmla="*/ 5489 w 9533"/>
                    <a:gd name="connsiteY3" fmla="*/ 3084 h 9647"/>
                    <a:gd name="connsiteX4" fmla="*/ 6241 w 9533"/>
                    <a:gd name="connsiteY4" fmla="*/ 2042 h 9647"/>
                    <a:gd name="connsiteX5" fmla="*/ 6767 w 9533"/>
                    <a:gd name="connsiteY5" fmla="*/ 1521 h 9647"/>
                    <a:gd name="connsiteX6" fmla="*/ 7669 w 9533"/>
                    <a:gd name="connsiteY6" fmla="*/ 479 h 9647"/>
                    <a:gd name="connsiteX7" fmla="*/ 6541 w 9533"/>
                    <a:gd name="connsiteY7" fmla="*/ 271 h 9647"/>
                    <a:gd name="connsiteX8" fmla="*/ 6090 w 9533"/>
                    <a:gd name="connsiteY8" fmla="*/ 688 h 9647"/>
                    <a:gd name="connsiteX9" fmla="*/ 3985 w 9533"/>
                    <a:gd name="connsiteY9" fmla="*/ 1625 h 9647"/>
                    <a:gd name="connsiteX10" fmla="*/ 2707 w 9533"/>
                    <a:gd name="connsiteY10" fmla="*/ 2042 h 9647"/>
                    <a:gd name="connsiteX11" fmla="*/ 1504 w 9533"/>
                    <a:gd name="connsiteY11" fmla="*/ 2563 h 9647"/>
                    <a:gd name="connsiteX12" fmla="*/ 1729 w 9533"/>
                    <a:gd name="connsiteY12" fmla="*/ 2667 h 9647"/>
                    <a:gd name="connsiteX13" fmla="*/ 226 w 9533"/>
                    <a:gd name="connsiteY13" fmla="*/ 5584 h 9647"/>
                    <a:gd name="connsiteX14" fmla="*/ 75 w 9533"/>
                    <a:gd name="connsiteY14" fmla="*/ 6834 h 9647"/>
                    <a:gd name="connsiteX15" fmla="*/ 0 w 9533"/>
                    <a:gd name="connsiteY15" fmla="*/ 7250 h 9647"/>
                    <a:gd name="connsiteX16" fmla="*/ 1880 w 9533"/>
                    <a:gd name="connsiteY16" fmla="*/ 9229 h 9647"/>
                    <a:gd name="connsiteX17" fmla="*/ 2256 w 9533"/>
                    <a:gd name="connsiteY17" fmla="*/ 9125 h 9647"/>
                    <a:gd name="connsiteX18" fmla="*/ 3383 w 9533"/>
                    <a:gd name="connsiteY18" fmla="*/ 9646 h 9647"/>
                    <a:gd name="connsiteX19" fmla="*/ 4060 w 9533"/>
                    <a:gd name="connsiteY19" fmla="*/ 8917 h 9647"/>
                    <a:gd name="connsiteX20" fmla="*/ 5038 w 9533"/>
                    <a:gd name="connsiteY20" fmla="*/ 8396 h 9647"/>
                    <a:gd name="connsiteX21" fmla="*/ 5188 w 9533"/>
                    <a:gd name="connsiteY21" fmla="*/ 8292 h 9647"/>
                    <a:gd name="connsiteX22" fmla="*/ 5714 w 9533"/>
                    <a:gd name="connsiteY22" fmla="*/ 7250 h 9647"/>
                    <a:gd name="connsiteX23" fmla="*/ 6541 w 9533"/>
                    <a:gd name="connsiteY23" fmla="*/ 6209 h 9647"/>
                    <a:gd name="connsiteX24" fmla="*/ 7519 w 9533"/>
                    <a:gd name="connsiteY24" fmla="*/ 5688 h 9647"/>
                    <a:gd name="connsiteX25" fmla="*/ 8872 w 9533"/>
                    <a:gd name="connsiteY25" fmla="*/ 5167 h 9647"/>
                    <a:gd name="connsiteX26" fmla="*/ 8271 w 9533"/>
                    <a:gd name="connsiteY26" fmla="*/ 4021 h 9647"/>
                    <a:gd name="connsiteX0" fmla="*/ 8676 w 10000"/>
                    <a:gd name="connsiteY0" fmla="*/ 4168 h 10171"/>
                    <a:gd name="connsiteX1" fmla="*/ 7729 w 10000"/>
                    <a:gd name="connsiteY1" fmla="*/ 4493 h 10171"/>
                    <a:gd name="connsiteX2" fmla="*/ 6547 w 10000"/>
                    <a:gd name="connsiteY2" fmla="*/ 4600 h 10171"/>
                    <a:gd name="connsiteX3" fmla="*/ 5758 w 10000"/>
                    <a:gd name="connsiteY3" fmla="*/ 3197 h 10171"/>
                    <a:gd name="connsiteX4" fmla="*/ 6547 w 10000"/>
                    <a:gd name="connsiteY4" fmla="*/ 2117 h 10171"/>
                    <a:gd name="connsiteX5" fmla="*/ 7098 w 10000"/>
                    <a:gd name="connsiteY5" fmla="*/ 1577 h 10171"/>
                    <a:gd name="connsiteX6" fmla="*/ 8045 w 10000"/>
                    <a:gd name="connsiteY6" fmla="*/ 497 h 10171"/>
                    <a:gd name="connsiteX7" fmla="*/ 6861 w 10000"/>
                    <a:gd name="connsiteY7" fmla="*/ 281 h 10171"/>
                    <a:gd name="connsiteX8" fmla="*/ 6388 w 10000"/>
                    <a:gd name="connsiteY8" fmla="*/ 713 h 10171"/>
                    <a:gd name="connsiteX9" fmla="*/ 4180 w 10000"/>
                    <a:gd name="connsiteY9" fmla="*/ 1684 h 10171"/>
                    <a:gd name="connsiteX10" fmla="*/ 2840 w 10000"/>
                    <a:gd name="connsiteY10" fmla="*/ 2117 h 10171"/>
                    <a:gd name="connsiteX11" fmla="*/ 1578 w 10000"/>
                    <a:gd name="connsiteY11" fmla="*/ 2657 h 10171"/>
                    <a:gd name="connsiteX12" fmla="*/ 1814 w 10000"/>
                    <a:gd name="connsiteY12" fmla="*/ 2765 h 10171"/>
                    <a:gd name="connsiteX13" fmla="*/ 237 w 10000"/>
                    <a:gd name="connsiteY13" fmla="*/ 5788 h 10171"/>
                    <a:gd name="connsiteX14" fmla="*/ 79 w 10000"/>
                    <a:gd name="connsiteY14" fmla="*/ 7084 h 10171"/>
                    <a:gd name="connsiteX15" fmla="*/ 0 w 10000"/>
                    <a:gd name="connsiteY15" fmla="*/ 7515 h 10171"/>
                    <a:gd name="connsiteX16" fmla="*/ 1972 w 10000"/>
                    <a:gd name="connsiteY16" fmla="*/ 9567 h 10171"/>
                    <a:gd name="connsiteX17" fmla="*/ 2782 w 10000"/>
                    <a:gd name="connsiteY17" fmla="*/ 10142 h 10171"/>
                    <a:gd name="connsiteX18" fmla="*/ 3549 w 10000"/>
                    <a:gd name="connsiteY18" fmla="*/ 9999 h 10171"/>
                    <a:gd name="connsiteX19" fmla="*/ 4259 w 10000"/>
                    <a:gd name="connsiteY19" fmla="*/ 9243 h 10171"/>
                    <a:gd name="connsiteX20" fmla="*/ 5285 w 10000"/>
                    <a:gd name="connsiteY20" fmla="*/ 8703 h 10171"/>
                    <a:gd name="connsiteX21" fmla="*/ 5442 w 10000"/>
                    <a:gd name="connsiteY21" fmla="*/ 8595 h 10171"/>
                    <a:gd name="connsiteX22" fmla="*/ 5994 w 10000"/>
                    <a:gd name="connsiteY22" fmla="*/ 7515 h 10171"/>
                    <a:gd name="connsiteX23" fmla="*/ 6861 w 10000"/>
                    <a:gd name="connsiteY23" fmla="*/ 6436 h 10171"/>
                    <a:gd name="connsiteX24" fmla="*/ 7887 w 10000"/>
                    <a:gd name="connsiteY24" fmla="*/ 5896 h 10171"/>
                    <a:gd name="connsiteX25" fmla="*/ 9307 w 10000"/>
                    <a:gd name="connsiteY25" fmla="*/ 5356 h 10171"/>
                    <a:gd name="connsiteX26" fmla="*/ 8676 w 10000"/>
                    <a:gd name="connsiteY26" fmla="*/ 4168 h 10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0000" h="10171">
                      <a:moveTo>
                        <a:pt x="8676" y="4168"/>
                      </a:moveTo>
                      <a:cubicBezTo>
                        <a:pt x="8282" y="4276"/>
                        <a:pt x="7966" y="4384"/>
                        <a:pt x="7729" y="4493"/>
                      </a:cubicBezTo>
                      <a:cubicBezTo>
                        <a:pt x="6861" y="4816"/>
                        <a:pt x="6783" y="4708"/>
                        <a:pt x="6547" y="4600"/>
                      </a:cubicBezTo>
                      <a:cubicBezTo>
                        <a:pt x="6231" y="4384"/>
                        <a:pt x="5758" y="3412"/>
                        <a:pt x="5758" y="3197"/>
                      </a:cubicBezTo>
                      <a:cubicBezTo>
                        <a:pt x="5758" y="2980"/>
                        <a:pt x="5363" y="2872"/>
                        <a:pt x="6547" y="2117"/>
                      </a:cubicBezTo>
                      <a:cubicBezTo>
                        <a:pt x="6783" y="1901"/>
                        <a:pt x="6941" y="1792"/>
                        <a:pt x="7098" y="1577"/>
                      </a:cubicBezTo>
                      <a:cubicBezTo>
                        <a:pt x="7887" y="1037"/>
                        <a:pt x="8045" y="713"/>
                        <a:pt x="8045" y="497"/>
                      </a:cubicBezTo>
                      <a:cubicBezTo>
                        <a:pt x="8045" y="281"/>
                        <a:pt x="7966" y="-367"/>
                        <a:pt x="6861" y="281"/>
                      </a:cubicBezTo>
                      <a:cubicBezTo>
                        <a:pt x="6704" y="389"/>
                        <a:pt x="6547" y="497"/>
                        <a:pt x="6388" y="713"/>
                      </a:cubicBezTo>
                      <a:cubicBezTo>
                        <a:pt x="4811" y="2009"/>
                        <a:pt x="4417" y="1684"/>
                        <a:pt x="4180" y="1684"/>
                      </a:cubicBezTo>
                      <a:cubicBezTo>
                        <a:pt x="4023" y="1684"/>
                        <a:pt x="3470" y="1792"/>
                        <a:pt x="2840" y="2117"/>
                      </a:cubicBezTo>
                      <a:cubicBezTo>
                        <a:pt x="2445" y="2332"/>
                        <a:pt x="1972" y="2549"/>
                        <a:pt x="1578" y="2657"/>
                      </a:cubicBezTo>
                      <a:cubicBezTo>
                        <a:pt x="1735" y="2765"/>
                        <a:pt x="1814" y="2765"/>
                        <a:pt x="1814" y="2765"/>
                      </a:cubicBezTo>
                      <a:cubicBezTo>
                        <a:pt x="1025" y="3412"/>
                        <a:pt x="237" y="5788"/>
                        <a:pt x="237" y="5788"/>
                      </a:cubicBezTo>
                      <a:cubicBezTo>
                        <a:pt x="157" y="6327"/>
                        <a:pt x="79" y="6760"/>
                        <a:pt x="79" y="7084"/>
                      </a:cubicBezTo>
                      <a:cubicBezTo>
                        <a:pt x="0" y="7300"/>
                        <a:pt x="0" y="7407"/>
                        <a:pt x="0" y="7515"/>
                      </a:cubicBezTo>
                      <a:cubicBezTo>
                        <a:pt x="394" y="8271"/>
                        <a:pt x="946" y="9028"/>
                        <a:pt x="1972" y="9567"/>
                      </a:cubicBezTo>
                      <a:cubicBezTo>
                        <a:pt x="2129" y="9459"/>
                        <a:pt x="2702" y="10142"/>
                        <a:pt x="2782" y="10142"/>
                      </a:cubicBezTo>
                      <a:cubicBezTo>
                        <a:pt x="3045" y="10214"/>
                        <a:pt x="3303" y="10149"/>
                        <a:pt x="3549" y="9999"/>
                      </a:cubicBezTo>
                      <a:cubicBezTo>
                        <a:pt x="3795" y="9849"/>
                        <a:pt x="4023" y="9676"/>
                        <a:pt x="4259" y="9243"/>
                      </a:cubicBezTo>
                      <a:cubicBezTo>
                        <a:pt x="4417" y="8703"/>
                        <a:pt x="4732" y="9351"/>
                        <a:pt x="5285" y="8703"/>
                      </a:cubicBezTo>
                      <a:cubicBezTo>
                        <a:pt x="5363" y="8703"/>
                        <a:pt x="5442" y="8595"/>
                        <a:pt x="5442" y="8595"/>
                      </a:cubicBezTo>
                      <a:cubicBezTo>
                        <a:pt x="5442" y="8595"/>
                        <a:pt x="5758" y="8380"/>
                        <a:pt x="5994" y="7515"/>
                      </a:cubicBezTo>
                      <a:cubicBezTo>
                        <a:pt x="6231" y="6652"/>
                        <a:pt x="6547" y="6867"/>
                        <a:pt x="6861" y="6436"/>
                      </a:cubicBezTo>
                      <a:cubicBezTo>
                        <a:pt x="6941" y="6112"/>
                        <a:pt x="7335" y="6004"/>
                        <a:pt x="7887" y="5896"/>
                      </a:cubicBezTo>
                      <a:cubicBezTo>
                        <a:pt x="8360" y="5788"/>
                        <a:pt x="8912" y="5679"/>
                        <a:pt x="9307" y="5356"/>
                      </a:cubicBezTo>
                      <a:cubicBezTo>
                        <a:pt x="10174" y="4600"/>
                        <a:pt x="10490" y="3412"/>
                        <a:pt x="8676" y="4168"/>
                      </a:cubicBezTo>
                      <a:close/>
                    </a:path>
                  </a:pathLst>
                </a:custGeom>
                <a:solidFill>
                  <a:srgbClr val="BE77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26">
                  <a:extLst>
                    <a:ext uri="{FF2B5EF4-FFF2-40B4-BE49-F238E27FC236}">
                      <a16:creationId xmlns:a16="http://schemas.microsoft.com/office/drawing/2014/main" id="{95563752-EEFC-40DA-9EC3-54CBF8FFAC0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78610" y="2317492"/>
                  <a:ext cx="927018" cy="1395419"/>
                </a:xfrm>
                <a:custGeom>
                  <a:avLst/>
                  <a:gdLst>
                    <a:gd name="T0" fmla="*/ 408 w 415"/>
                    <a:gd name="T1" fmla="*/ 390 h 613"/>
                    <a:gd name="T2" fmla="*/ 400 w 415"/>
                    <a:gd name="T3" fmla="*/ 389 h 613"/>
                    <a:gd name="T4" fmla="*/ 379 w 415"/>
                    <a:gd name="T5" fmla="*/ 365 h 613"/>
                    <a:gd name="T6" fmla="*/ 401 w 415"/>
                    <a:gd name="T7" fmla="*/ 325 h 613"/>
                    <a:gd name="T8" fmla="*/ 324 w 415"/>
                    <a:gd name="T9" fmla="*/ 308 h 613"/>
                    <a:gd name="T10" fmla="*/ 329 w 415"/>
                    <a:gd name="T11" fmla="*/ 276 h 613"/>
                    <a:gd name="T12" fmla="*/ 309 w 415"/>
                    <a:gd name="T13" fmla="*/ 192 h 613"/>
                    <a:gd name="T14" fmla="*/ 253 w 415"/>
                    <a:gd name="T15" fmla="*/ 92 h 613"/>
                    <a:gd name="T16" fmla="*/ 253 w 415"/>
                    <a:gd name="T17" fmla="*/ 108 h 613"/>
                    <a:gd name="T18" fmla="*/ 288 w 415"/>
                    <a:gd name="T19" fmla="*/ 289 h 613"/>
                    <a:gd name="T20" fmla="*/ 237 w 415"/>
                    <a:gd name="T21" fmla="*/ 140 h 613"/>
                    <a:gd name="T22" fmla="*/ 206 w 415"/>
                    <a:gd name="T23" fmla="*/ 104 h 613"/>
                    <a:gd name="T24" fmla="*/ 193 w 415"/>
                    <a:gd name="T25" fmla="*/ 86 h 613"/>
                    <a:gd name="T26" fmla="*/ 189 w 415"/>
                    <a:gd name="T27" fmla="*/ 81 h 613"/>
                    <a:gd name="T28" fmla="*/ 185 w 415"/>
                    <a:gd name="T29" fmla="*/ 76 h 613"/>
                    <a:gd name="T30" fmla="*/ 181 w 415"/>
                    <a:gd name="T31" fmla="*/ 72 h 613"/>
                    <a:gd name="T32" fmla="*/ 177 w 415"/>
                    <a:gd name="T33" fmla="*/ 66 h 613"/>
                    <a:gd name="T34" fmla="*/ 172 w 415"/>
                    <a:gd name="T35" fmla="*/ 61 h 613"/>
                    <a:gd name="T36" fmla="*/ 166 w 415"/>
                    <a:gd name="T37" fmla="*/ 53 h 613"/>
                    <a:gd name="T38" fmla="*/ 161 w 415"/>
                    <a:gd name="T39" fmla="*/ 47 h 613"/>
                    <a:gd name="T40" fmla="*/ 155 w 415"/>
                    <a:gd name="T41" fmla="*/ 40 h 613"/>
                    <a:gd name="T42" fmla="*/ 148 w 415"/>
                    <a:gd name="T43" fmla="*/ 31 h 613"/>
                    <a:gd name="T44" fmla="*/ 140 w 415"/>
                    <a:gd name="T45" fmla="*/ 23 h 613"/>
                    <a:gd name="T46" fmla="*/ 131 w 415"/>
                    <a:gd name="T47" fmla="*/ 12 h 613"/>
                    <a:gd name="T48" fmla="*/ 117 w 415"/>
                    <a:gd name="T49" fmla="*/ 0 h 613"/>
                    <a:gd name="T50" fmla="*/ 107 w 415"/>
                    <a:gd name="T51" fmla="*/ 19 h 613"/>
                    <a:gd name="T52" fmla="*/ 37 w 415"/>
                    <a:gd name="T53" fmla="*/ 77 h 613"/>
                    <a:gd name="T54" fmla="*/ 23 w 415"/>
                    <a:gd name="T55" fmla="*/ 295 h 613"/>
                    <a:gd name="T56" fmla="*/ 49 w 415"/>
                    <a:gd name="T57" fmla="*/ 411 h 613"/>
                    <a:gd name="T58" fmla="*/ 72 w 415"/>
                    <a:gd name="T59" fmla="*/ 485 h 613"/>
                    <a:gd name="T60" fmla="*/ 157 w 415"/>
                    <a:gd name="T61" fmla="*/ 600 h 613"/>
                    <a:gd name="T62" fmla="*/ 201 w 415"/>
                    <a:gd name="T63" fmla="*/ 574 h 613"/>
                    <a:gd name="T64" fmla="*/ 223 w 415"/>
                    <a:gd name="T65" fmla="*/ 593 h 613"/>
                    <a:gd name="T66" fmla="*/ 308 w 415"/>
                    <a:gd name="T67" fmla="*/ 532 h 613"/>
                    <a:gd name="T68" fmla="*/ 381 w 415"/>
                    <a:gd name="T69" fmla="*/ 413 h 613"/>
                    <a:gd name="T70" fmla="*/ 415 w 415"/>
                    <a:gd name="T71" fmla="*/ 393 h 613"/>
                    <a:gd name="connsiteX0" fmla="*/ 9846 w 9894"/>
                    <a:gd name="connsiteY0" fmla="*/ 6378 h 9933"/>
                    <a:gd name="connsiteX1" fmla="*/ 9725 w 9894"/>
                    <a:gd name="connsiteY1" fmla="*/ 6362 h 9933"/>
                    <a:gd name="connsiteX2" fmla="*/ 9605 w 9894"/>
                    <a:gd name="connsiteY2" fmla="*/ 6330 h 9933"/>
                    <a:gd name="connsiteX3" fmla="*/ 9533 w 9894"/>
                    <a:gd name="connsiteY3" fmla="*/ 6346 h 9933"/>
                    <a:gd name="connsiteX4" fmla="*/ 9002 w 9894"/>
                    <a:gd name="connsiteY4" fmla="*/ 6020 h 9933"/>
                    <a:gd name="connsiteX5" fmla="*/ 9027 w 9894"/>
                    <a:gd name="connsiteY5" fmla="*/ 5954 h 9933"/>
                    <a:gd name="connsiteX6" fmla="*/ 9075 w 9894"/>
                    <a:gd name="connsiteY6" fmla="*/ 5759 h 9933"/>
                    <a:gd name="connsiteX7" fmla="*/ 9557 w 9894"/>
                    <a:gd name="connsiteY7" fmla="*/ 5302 h 9933"/>
                    <a:gd name="connsiteX8" fmla="*/ 9484 w 9894"/>
                    <a:gd name="connsiteY8" fmla="*/ 5285 h 9933"/>
                    <a:gd name="connsiteX9" fmla="*/ 7701 w 9894"/>
                    <a:gd name="connsiteY9" fmla="*/ 5024 h 9933"/>
                    <a:gd name="connsiteX10" fmla="*/ 7870 w 9894"/>
                    <a:gd name="connsiteY10" fmla="*/ 4633 h 9933"/>
                    <a:gd name="connsiteX11" fmla="*/ 7822 w 9894"/>
                    <a:gd name="connsiteY11" fmla="*/ 4502 h 9933"/>
                    <a:gd name="connsiteX12" fmla="*/ 7508 w 9894"/>
                    <a:gd name="connsiteY12" fmla="*/ 3654 h 9933"/>
                    <a:gd name="connsiteX13" fmla="*/ 7340 w 9894"/>
                    <a:gd name="connsiteY13" fmla="*/ 3132 h 9933"/>
                    <a:gd name="connsiteX14" fmla="*/ 6521 w 9894"/>
                    <a:gd name="connsiteY14" fmla="*/ 2072 h 9933"/>
                    <a:gd name="connsiteX15" fmla="*/ 5990 w 9894"/>
                    <a:gd name="connsiteY15" fmla="*/ 1501 h 9933"/>
                    <a:gd name="connsiteX16" fmla="*/ 5870 w 9894"/>
                    <a:gd name="connsiteY16" fmla="*/ 1387 h 9933"/>
                    <a:gd name="connsiteX17" fmla="*/ 5990 w 9894"/>
                    <a:gd name="connsiteY17" fmla="*/ 1762 h 9933"/>
                    <a:gd name="connsiteX18" fmla="*/ 6834 w 9894"/>
                    <a:gd name="connsiteY18" fmla="*/ 3132 h 9933"/>
                    <a:gd name="connsiteX19" fmla="*/ 6834 w 9894"/>
                    <a:gd name="connsiteY19" fmla="*/ 4715 h 9933"/>
                    <a:gd name="connsiteX20" fmla="*/ 6448 w 9894"/>
                    <a:gd name="connsiteY20" fmla="*/ 3573 h 9933"/>
                    <a:gd name="connsiteX21" fmla="*/ 5605 w 9894"/>
                    <a:gd name="connsiteY21" fmla="*/ 2284 h 9933"/>
                    <a:gd name="connsiteX22" fmla="*/ 5508 w 9894"/>
                    <a:gd name="connsiteY22" fmla="*/ 2219 h 9933"/>
                    <a:gd name="connsiteX23" fmla="*/ 4858 w 9894"/>
                    <a:gd name="connsiteY23" fmla="*/ 1697 h 9933"/>
                    <a:gd name="connsiteX24" fmla="*/ 4545 w 9894"/>
                    <a:gd name="connsiteY24" fmla="*/ 1419 h 9933"/>
                    <a:gd name="connsiteX25" fmla="*/ 4545 w 9894"/>
                    <a:gd name="connsiteY25" fmla="*/ 1403 h 9933"/>
                    <a:gd name="connsiteX26" fmla="*/ 4496 w 9894"/>
                    <a:gd name="connsiteY26" fmla="*/ 1370 h 9933"/>
                    <a:gd name="connsiteX27" fmla="*/ 4448 w 9894"/>
                    <a:gd name="connsiteY27" fmla="*/ 1321 h 9933"/>
                    <a:gd name="connsiteX28" fmla="*/ 4400 w 9894"/>
                    <a:gd name="connsiteY28" fmla="*/ 1289 h 9933"/>
                    <a:gd name="connsiteX29" fmla="*/ 4352 w 9894"/>
                    <a:gd name="connsiteY29" fmla="*/ 1240 h 9933"/>
                    <a:gd name="connsiteX30" fmla="*/ 4328 w 9894"/>
                    <a:gd name="connsiteY30" fmla="*/ 1223 h 9933"/>
                    <a:gd name="connsiteX31" fmla="*/ 4255 w 9894"/>
                    <a:gd name="connsiteY31" fmla="*/ 1175 h 9933"/>
                    <a:gd name="connsiteX32" fmla="*/ 4231 w 9894"/>
                    <a:gd name="connsiteY32" fmla="*/ 1142 h 9933"/>
                    <a:gd name="connsiteX33" fmla="*/ 4159 w 9894"/>
                    <a:gd name="connsiteY33" fmla="*/ 1077 h 9933"/>
                    <a:gd name="connsiteX34" fmla="*/ 4111 w 9894"/>
                    <a:gd name="connsiteY34" fmla="*/ 1044 h 9933"/>
                    <a:gd name="connsiteX35" fmla="*/ 4039 w 9894"/>
                    <a:gd name="connsiteY35" fmla="*/ 995 h 9933"/>
                    <a:gd name="connsiteX36" fmla="*/ 4014 w 9894"/>
                    <a:gd name="connsiteY36" fmla="*/ 962 h 9933"/>
                    <a:gd name="connsiteX37" fmla="*/ 3894 w 9894"/>
                    <a:gd name="connsiteY37" fmla="*/ 865 h 9933"/>
                    <a:gd name="connsiteX38" fmla="*/ 3894 w 9894"/>
                    <a:gd name="connsiteY38" fmla="*/ 865 h 9933"/>
                    <a:gd name="connsiteX39" fmla="*/ 3774 w 9894"/>
                    <a:gd name="connsiteY39" fmla="*/ 767 h 9933"/>
                    <a:gd name="connsiteX40" fmla="*/ 3749 w 9894"/>
                    <a:gd name="connsiteY40" fmla="*/ 734 h 9933"/>
                    <a:gd name="connsiteX41" fmla="*/ 3629 w 9894"/>
                    <a:gd name="connsiteY41" fmla="*/ 653 h 9933"/>
                    <a:gd name="connsiteX42" fmla="*/ 3605 w 9894"/>
                    <a:gd name="connsiteY42" fmla="*/ 636 h 9933"/>
                    <a:gd name="connsiteX43" fmla="*/ 3460 w 9894"/>
                    <a:gd name="connsiteY43" fmla="*/ 506 h 9933"/>
                    <a:gd name="connsiteX44" fmla="*/ 3412 w 9894"/>
                    <a:gd name="connsiteY44" fmla="*/ 473 h 9933"/>
                    <a:gd name="connsiteX45" fmla="*/ 3267 w 9894"/>
                    <a:gd name="connsiteY45" fmla="*/ 375 h 9933"/>
                    <a:gd name="connsiteX46" fmla="*/ 3219 w 9894"/>
                    <a:gd name="connsiteY46" fmla="*/ 343 h 9933"/>
                    <a:gd name="connsiteX47" fmla="*/ 3051 w 9894"/>
                    <a:gd name="connsiteY47" fmla="*/ 196 h 9933"/>
                    <a:gd name="connsiteX48" fmla="*/ 2713 w 9894"/>
                    <a:gd name="connsiteY48" fmla="*/ 49 h 9933"/>
                    <a:gd name="connsiteX49" fmla="*/ 2713 w 9894"/>
                    <a:gd name="connsiteY49" fmla="*/ 0 h 9933"/>
                    <a:gd name="connsiteX50" fmla="*/ 2713 w 9894"/>
                    <a:gd name="connsiteY50" fmla="*/ 49 h 9933"/>
                    <a:gd name="connsiteX51" fmla="*/ 2472 w 9894"/>
                    <a:gd name="connsiteY51" fmla="*/ 310 h 9933"/>
                    <a:gd name="connsiteX52" fmla="*/ 1846 w 9894"/>
                    <a:gd name="connsiteY52" fmla="*/ 571 h 9933"/>
                    <a:gd name="connsiteX53" fmla="*/ 786 w 9894"/>
                    <a:gd name="connsiteY53" fmla="*/ 1256 h 9933"/>
                    <a:gd name="connsiteX54" fmla="*/ 14 w 9894"/>
                    <a:gd name="connsiteY54" fmla="*/ 3051 h 9933"/>
                    <a:gd name="connsiteX55" fmla="*/ 448 w 9894"/>
                    <a:gd name="connsiteY55" fmla="*/ 4812 h 9933"/>
                    <a:gd name="connsiteX56" fmla="*/ 761 w 9894"/>
                    <a:gd name="connsiteY56" fmla="*/ 5987 h 9933"/>
                    <a:gd name="connsiteX57" fmla="*/ 1075 w 9894"/>
                    <a:gd name="connsiteY57" fmla="*/ 6705 h 9933"/>
                    <a:gd name="connsiteX58" fmla="*/ 1605 w 9894"/>
                    <a:gd name="connsiteY58" fmla="*/ 8075 h 9933"/>
                    <a:gd name="connsiteX59" fmla="*/ 1629 w 9894"/>
                    <a:gd name="connsiteY59" fmla="*/ 7912 h 9933"/>
                    <a:gd name="connsiteX60" fmla="*/ 3002 w 9894"/>
                    <a:gd name="connsiteY60" fmla="*/ 9918 h 9933"/>
                    <a:gd name="connsiteX61" fmla="*/ 3677 w 9894"/>
                    <a:gd name="connsiteY61" fmla="*/ 9788 h 9933"/>
                    <a:gd name="connsiteX62" fmla="*/ 3677 w 9894"/>
                    <a:gd name="connsiteY62" fmla="*/ 9788 h 9933"/>
                    <a:gd name="connsiteX63" fmla="*/ 4737 w 9894"/>
                    <a:gd name="connsiteY63" fmla="*/ 9405 h 9933"/>
                    <a:gd name="connsiteX64" fmla="*/ 4930 w 9894"/>
                    <a:gd name="connsiteY64" fmla="*/ 9315 h 9933"/>
                    <a:gd name="connsiteX65" fmla="*/ 5267 w 9894"/>
                    <a:gd name="connsiteY65" fmla="*/ 9674 h 9933"/>
                    <a:gd name="connsiteX66" fmla="*/ 7147 w 9894"/>
                    <a:gd name="connsiteY66" fmla="*/ 9657 h 9933"/>
                    <a:gd name="connsiteX67" fmla="*/ 7316 w 9894"/>
                    <a:gd name="connsiteY67" fmla="*/ 8679 h 9933"/>
                    <a:gd name="connsiteX68" fmla="*/ 7147 w 9894"/>
                    <a:gd name="connsiteY68" fmla="*/ 6199 h 9933"/>
                    <a:gd name="connsiteX69" fmla="*/ 9075 w 9894"/>
                    <a:gd name="connsiteY69" fmla="*/ 6737 h 9933"/>
                    <a:gd name="connsiteX70" fmla="*/ 9075 w 9894"/>
                    <a:gd name="connsiteY70" fmla="*/ 6737 h 9933"/>
                    <a:gd name="connsiteX71" fmla="*/ 9894 w 9894"/>
                    <a:gd name="connsiteY71" fmla="*/ 6411 h 9933"/>
                    <a:gd name="connsiteX72" fmla="*/ 9846 w 9894"/>
                    <a:gd name="connsiteY72" fmla="*/ 6378 h 9933"/>
                    <a:gd name="connsiteX0" fmla="*/ 9951 w 10000"/>
                    <a:gd name="connsiteY0" fmla="*/ 6421 h 10000"/>
                    <a:gd name="connsiteX1" fmla="*/ 9829 w 10000"/>
                    <a:gd name="connsiteY1" fmla="*/ 6405 h 10000"/>
                    <a:gd name="connsiteX2" fmla="*/ 9708 w 10000"/>
                    <a:gd name="connsiteY2" fmla="*/ 6373 h 10000"/>
                    <a:gd name="connsiteX3" fmla="*/ 9635 w 10000"/>
                    <a:gd name="connsiteY3" fmla="*/ 6389 h 10000"/>
                    <a:gd name="connsiteX4" fmla="*/ 9098 w 10000"/>
                    <a:gd name="connsiteY4" fmla="*/ 6061 h 10000"/>
                    <a:gd name="connsiteX5" fmla="*/ 9124 w 10000"/>
                    <a:gd name="connsiteY5" fmla="*/ 5994 h 10000"/>
                    <a:gd name="connsiteX6" fmla="*/ 9172 w 10000"/>
                    <a:gd name="connsiteY6" fmla="*/ 5798 h 10000"/>
                    <a:gd name="connsiteX7" fmla="*/ 9659 w 10000"/>
                    <a:gd name="connsiteY7" fmla="*/ 5338 h 10000"/>
                    <a:gd name="connsiteX8" fmla="*/ 9586 w 10000"/>
                    <a:gd name="connsiteY8" fmla="*/ 5321 h 10000"/>
                    <a:gd name="connsiteX9" fmla="*/ 7784 w 10000"/>
                    <a:gd name="connsiteY9" fmla="*/ 5058 h 10000"/>
                    <a:gd name="connsiteX10" fmla="*/ 7954 w 10000"/>
                    <a:gd name="connsiteY10" fmla="*/ 4664 h 10000"/>
                    <a:gd name="connsiteX11" fmla="*/ 7906 w 10000"/>
                    <a:gd name="connsiteY11" fmla="*/ 4532 h 10000"/>
                    <a:gd name="connsiteX12" fmla="*/ 7588 w 10000"/>
                    <a:gd name="connsiteY12" fmla="*/ 3679 h 10000"/>
                    <a:gd name="connsiteX13" fmla="*/ 7419 w 10000"/>
                    <a:gd name="connsiteY13" fmla="*/ 3153 h 10000"/>
                    <a:gd name="connsiteX14" fmla="*/ 6591 w 10000"/>
                    <a:gd name="connsiteY14" fmla="*/ 2086 h 10000"/>
                    <a:gd name="connsiteX15" fmla="*/ 6054 w 10000"/>
                    <a:gd name="connsiteY15" fmla="*/ 1511 h 10000"/>
                    <a:gd name="connsiteX16" fmla="*/ 5933 w 10000"/>
                    <a:gd name="connsiteY16" fmla="*/ 1396 h 10000"/>
                    <a:gd name="connsiteX17" fmla="*/ 6054 w 10000"/>
                    <a:gd name="connsiteY17" fmla="*/ 1774 h 10000"/>
                    <a:gd name="connsiteX18" fmla="*/ 6907 w 10000"/>
                    <a:gd name="connsiteY18" fmla="*/ 3153 h 10000"/>
                    <a:gd name="connsiteX19" fmla="*/ 6907 w 10000"/>
                    <a:gd name="connsiteY19" fmla="*/ 4747 h 10000"/>
                    <a:gd name="connsiteX20" fmla="*/ 6517 w 10000"/>
                    <a:gd name="connsiteY20" fmla="*/ 3597 h 10000"/>
                    <a:gd name="connsiteX21" fmla="*/ 5665 w 10000"/>
                    <a:gd name="connsiteY21" fmla="*/ 2299 h 10000"/>
                    <a:gd name="connsiteX22" fmla="*/ 5567 w 10000"/>
                    <a:gd name="connsiteY22" fmla="*/ 2234 h 10000"/>
                    <a:gd name="connsiteX23" fmla="*/ 4910 w 10000"/>
                    <a:gd name="connsiteY23" fmla="*/ 1708 h 10000"/>
                    <a:gd name="connsiteX24" fmla="*/ 4594 w 10000"/>
                    <a:gd name="connsiteY24" fmla="*/ 1429 h 10000"/>
                    <a:gd name="connsiteX25" fmla="*/ 4594 w 10000"/>
                    <a:gd name="connsiteY25" fmla="*/ 1412 h 10000"/>
                    <a:gd name="connsiteX26" fmla="*/ 4544 w 10000"/>
                    <a:gd name="connsiteY26" fmla="*/ 1379 h 10000"/>
                    <a:gd name="connsiteX27" fmla="*/ 4496 w 10000"/>
                    <a:gd name="connsiteY27" fmla="*/ 1330 h 10000"/>
                    <a:gd name="connsiteX28" fmla="*/ 4447 w 10000"/>
                    <a:gd name="connsiteY28" fmla="*/ 1298 h 10000"/>
                    <a:gd name="connsiteX29" fmla="*/ 4399 w 10000"/>
                    <a:gd name="connsiteY29" fmla="*/ 1248 h 10000"/>
                    <a:gd name="connsiteX30" fmla="*/ 4374 w 10000"/>
                    <a:gd name="connsiteY30" fmla="*/ 1231 h 10000"/>
                    <a:gd name="connsiteX31" fmla="*/ 4301 w 10000"/>
                    <a:gd name="connsiteY31" fmla="*/ 1183 h 10000"/>
                    <a:gd name="connsiteX32" fmla="*/ 4276 w 10000"/>
                    <a:gd name="connsiteY32" fmla="*/ 1150 h 10000"/>
                    <a:gd name="connsiteX33" fmla="*/ 4204 w 10000"/>
                    <a:gd name="connsiteY33" fmla="*/ 1084 h 10000"/>
                    <a:gd name="connsiteX34" fmla="*/ 4155 w 10000"/>
                    <a:gd name="connsiteY34" fmla="*/ 1051 h 10000"/>
                    <a:gd name="connsiteX35" fmla="*/ 4082 w 10000"/>
                    <a:gd name="connsiteY35" fmla="*/ 1002 h 10000"/>
                    <a:gd name="connsiteX36" fmla="*/ 4057 w 10000"/>
                    <a:gd name="connsiteY36" fmla="*/ 968 h 10000"/>
                    <a:gd name="connsiteX37" fmla="*/ 3936 w 10000"/>
                    <a:gd name="connsiteY37" fmla="*/ 871 h 10000"/>
                    <a:gd name="connsiteX38" fmla="*/ 3936 w 10000"/>
                    <a:gd name="connsiteY38" fmla="*/ 871 h 10000"/>
                    <a:gd name="connsiteX39" fmla="*/ 3814 w 10000"/>
                    <a:gd name="connsiteY39" fmla="*/ 772 h 10000"/>
                    <a:gd name="connsiteX40" fmla="*/ 3789 w 10000"/>
                    <a:gd name="connsiteY40" fmla="*/ 739 h 10000"/>
                    <a:gd name="connsiteX41" fmla="*/ 3668 w 10000"/>
                    <a:gd name="connsiteY41" fmla="*/ 657 h 10000"/>
                    <a:gd name="connsiteX42" fmla="*/ 3644 w 10000"/>
                    <a:gd name="connsiteY42" fmla="*/ 640 h 10000"/>
                    <a:gd name="connsiteX43" fmla="*/ 3497 w 10000"/>
                    <a:gd name="connsiteY43" fmla="*/ 509 h 10000"/>
                    <a:gd name="connsiteX44" fmla="*/ 3449 w 10000"/>
                    <a:gd name="connsiteY44" fmla="*/ 476 h 10000"/>
                    <a:gd name="connsiteX45" fmla="*/ 3302 w 10000"/>
                    <a:gd name="connsiteY45" fmla="*/ 378 h 10000"/>
                    <a:gd name="connsiteX46" fmla="*/ 3253 w 10000"/>
                    <a:gd name="connsiteY46" fmla="*/ 345 h 10000"/>
                    <a:gd name="connsiteX47" fmla="*/ 3084 w 10000"/>
                    <a:gd name="connsiteY47" fmla="*/ 197 h 10000"/>
                    <a:gd name="connsiteX48" fmla="*/ 2742 w 10000"/>
                    <a:gd name="connsiteY48" fmla="*/ 49 h 10000"/>
                    <a:gd name="connsiteX49" fmla="*/ 2742 w 10000"/>
                    <a:gd name="connsiteY49" fmla="*/ 0 h 10000"/>
                    <a:gd name="connsiteX50" fmla="*/ 2742 w 10000"/>
                    <a:gd name="connsiteY50" fmla="*/ 49 h 10000"/>
                    <a:gd name="connsiteX51" fmla="*/ 2498 w 10000"/>
                    <a:gd name="connsiteY51" fmla="*/ 312 h 10000"/>
                    <a:gd name="connsiteX52" fmla="*/ 1866 w 10000"/>
                    <a:gd name="connsiteY52" fmla="*/ 575 h 10000"/>
                    <a:gd name="connsiteX53" fmla="*/ 794 w 10000"/>
                    <a:gd name="connsiteY53" fmla="*/ 1264 h 10000"/>
                    <a:gd name="connsiteX54" fmla="*/ 14 w 10000"/>
                    <a:gd name="connsiteY54" fmla="*/ 3072 h 10000"/>
                    <a:gd name="connsiteX55" fmla="*/ 453 w 10000"/>
                    <a:gd name="connsiteY55" fmla="*/ 4844 h 10000"/>
                    <a:gd name="connsiteX56" fmla="*/ 769 w 10000"/>
                    <a:gd name="connsiteY56" fmla="*/ 6027 h 10000"/>
                    <a:gd name="connsiteX57" fmla="*/ 1087 w 10000"/>
                    <a:gd name="connsiteY57" fmla="*/ 6750 h 10000"/>
                    <a:gd name="connsiteX58" fmla="*/ 1622 w 10000"/>
                    <a:gd name="connsiteY58" fmla="*/ 8129 h 10000"/>
                    <a:gd name="connsiteX59" fmla="*/ 1646 w 10000"/>
                    <a:gd name="connsiteY59" fmla="*/ 7965 h 10000"/>
                    <a:gd name="connsiteX60" fmla="*/ 3034 w 10000"/>
                    <a:gd name="connsiteY60" fmla="*/ 9985 h 10000"/>
                    <a:gd name="connsiteX61" fmla="*/ 3716 w 10000"/>
                    <a:gd name="connsiteY61" fmla="*/ 9854 h 10000"/>
                    <a:gd name="connsiteX62" fmla="*/ 4788 w 10000"/>
                    <a:gd name="connsiteY62" fmla="*/ 9468 h 10000"/>
                    <a:gd name="connsiteX63" fmla="*/ 4983 w 10000"/>
                    <a:gd name="connsiteY63" fmla="*/ 9378 h 10000"/>
                    <a:gd name="connsiteX64" fmla="*/ 5323 w 10000"/>
                    <a:gd name="connsiteY64" fmla="*/ 9739 h 10000"/>
                    <a:gd name="connsiteX65" fmla="*/ 7224 w 10000"/>
                    <a:gd name="connsiteY65" fmla="*/ 9722 h 10000"/>
                    <a:gd name="connsiteX66" fmla="*/ 7394 w 10000"/>
                    <a:gd name="connsiteY66" fmla="*/ 8738 h 10000"/>
                    <a:gd name="connsiteX67" fmla="*/ 7224 w 10000"/>
                    <a:gd name="connsiteY67" fmla="*/ 6241 h 10000"/>
                    <a:gd name="connsiteX68" fmla="*/ 9172 w 10000"/>
                    <a:gd name="connsiteY68" fmla="*/ 6782 h 10000"/>
                    <a:gd name="connsiteX69" fmla="*/ 9172 w 10000"/>
                    <a:gd name="connsiteY69" fmla="*/ 6782 h 10000"/>
                    <a:gd name="connsiteX70" fmla="*/ 10000 w 10000"/>
                    <a:gd name="connsiteY70" fmla="*/ 6454 h 10000"/>
                    <a:gd name="connsiteX71" fmla="*/ 9951 w 10000"/>
                    <a:gd name="connsiteY71" fmla="*/ 6421 h 10000"/>
                    <a:gd name="connsiteX0" fmla="*/ 9951 w 10000"/>
                    <a:gd name="connsiteY0" fmla="*/ 6421 h 10000"/>
                    <a:gd name="connsiteX1" fmla="*/ 9829 w 10000"/>
                    <a:gd name="connsiteY1" fmla="*/ 6405 h 10000"/>
                    <a:gd name="connsiteX2" fmla="*/ 9708 w 10000"/>
                    <a:gd name="connsiteY2" fmla="*/ 6373 h 10000"/>
                    <a:gd name="connsiteX3" fmla="*/ 9635 w 10000"/>
                    <a:gd name="connsiteY3" fmla="*/ 6389 h 10000"/>
                    <a:gd name="connsiteX4" fmla="*/ 9098 w 10000"/>
                    <a:gd name="connsiteY4" fmla="*/ 6061 h 10000"/>
                    <a:gd name="connsiteX5" fmla="*/ 9124 w 10000"/>
                    <a:gd name="connsiteY5" fmla="*/ 5994 h 10000"/>
                    <a:gd name="connsiteX6" fmla="*/ 9172 w 10000"/>
                    <a:gd name="connsiteY6" fmla="*/ 5798 h 10000"/>
                    <a:gd name="connsiteX7" fmla="*/ 9659 w 10000"/>
                    <a:gd name="connsiteY7" fmla="*/ 5338 h 10000"/>
                    <a:gd name="connsiteX8" fmla="*/ 9586 w 10000"/>
                    <a:gd name="connsiteY8" fmla="*/ 5321 h 10000"/>
                    <a:gd name="connsiteX9" fmla="*/ 7784 w 10000"/>
                    <a:gd name="connsiteY9" fmla="*/ 5058 h 10000"/>
                    <a:gd name="connsiteX10" fmla="*/ 7954 w 10000"/>
                    <a:gd name="connsiteY10" fmla="*/ 4664 h 10000"/>
                    <a:gd name="connsiteX11" fmla="*/ 7906 w 10000"/>
                    <a:gd name="connsiteY11" fmla="*/ 4532 h 10000"/>
                    <a:gd name="connsiteX12" fmla="*/ 7588 w 10000"/>
                    <a:gd name="connsiteY12" fmla="*/ 3679 h 10000"/>
                    <a:gd name="connsiteX13" fmla="*/ 7419 w 10000"/>
                    <a:gd name="connsiteY13" fmla="*/ 3153 h 10000"/>
                    <a:gd name="connsiteX14" fmla="*/ 6591 w 10000"/>
                    <a:gd name="connsiteY14" fmla="*/ 2086 h 10000"/>
                    <a:gd name="connsiteX15" fmla="*/ 6054 w 10000"/>
                    <a:gd name="connsiteY15" fmla="*/ 1511 h 10000"/>
                    <a:gd name="connsiteX16" fmla="*/ 5933 w 10000"/>
                    <a:gd name="connsiteY16" fmla="*/ 1396 h 10000"/>
                    <a:gd name="connsiteX17" fmla="*/ 6054 w 10000"/>
                    <a:gd name="connsiteY17" fmla="*/ 1774 h 10000"/>
                    <a:gd name="connsiteX18" fmla="*/ 6907 w 10000"/>
                    <a:gd name="connsiteY18" fmla="*/ 3153 h 10000"/>
                    <a:gd name="connsiteX19" fmla="*/ 6907 w 10000"/>
                    <a:gd name="connsiteY19" fmla="*/ 4747 h 10000"/>
                    <a:gd name="connsiteX20" fmla="*/ 6517 w 10000"/>
                    <a:gd name="connsiteY20" fmla="*/ 3597 h 10000"/>
                    <a:gd name="connsiteX21" fmla="*/ 5665 w 10000"/>
                    <a:gd name="connsiteY21" fmla="*/ 2299 h 10000"/>
                    <a:gd name="connsiteX22" fmla="*/ 5567 w 10000"/>
                    <a:gd name="connsiteY22" fmla="*/ 2234 h 10000"/>
                    <a:gd name="connsiteX23" fmla="*/ 4910 w 10000"/>
                    <a:gd name="connsiteY23" fmla="*/ 1708 h 10000"/>
                    <a:gd name="connsiteX24" fmla="*/ 4594 w 10000"/>
                    <a:gd name="connsiteY24" fmla="*/ 1429 h 10000"/>
                    <a:gd name="connsiteX25" fmla="*/ 4594 w 10000"/>
                    <a:gd name="connsiteY25" fmla="*/ 1412 h 10000"/>
                    <a:gd name="connsiteX26" fmla="*/ 4544 w 10000"/>
                    <a:gd name="connsiteY26" fmla="*/ 1379 h 10000"/>
                    <a:gd name="connsiteX27" fmla="*/ 4496 w 10000"/>
                    <a:gd name="connsiteY27" fmla="*/ 1330 h 10000"/>
                    <a:gd name="connsiteX28" fmla="*/ 4447 w 10000"/>
                    <a:gd name="connsiteY28" fmla="*/ 1298 h 10000"/>
                    <a:gd name="connsiteX29" fmla="*/ 4399 w 10000"/>
                    <a:gd name="connsiteY29" fmla="*/ 1248 h 10000"/>
                    <a:gd name="connsiteX30" fmla="*/ 4374 w 10000"/>
                    <a:gd name="connsiteY30" fmla="*/ 1231 h 10000"/>
                    <a:gd name="connsiteX31" fmla="*/ 4301 w 10000"/>
                    <a:gd name="connsiteY31" fmla="*/ 1183 h 10000"/>
                    <a:gd name="connsiteX32" fmla="*/ 4276 w 10000"/>
                    <a:gd name="connsiteY32" fmla="*/ 1150 h 10000"/>
                    <a:gd name="connsiteX33" fmla="*/ 4204 w 10000"/>
                    <a:gd name="connsiteY33" fmla="*/ 1084 h 10000"/>
                    <a:gd name="connsiteX34" fmla="*/ 4155 w 10000"/>
                    <a:gd name="connsiteY34" fmla="*/ 1051 h 10000"/>
                    <a:gd name="connsiteX35" fmla="*/ 4082 w 10000"/>
                    <a:gd name="connsiteY35" fmla="*/ 1002 h 10000"/>
                    <a:gd name="connsiteX36" fmla="*/ 4057 w 10000"/>
                    <a:gd name="connsiteY36" fmla="*/ 968 h 10000"/>
                    <a:gd name="connsiteX37" fmla="*/ 3936 w 10000"/>
                    <a:gd name="connsiteY37" fmla="*/ 871 h 10000"/>
                    <a:gd name="connsiteX38" fmla="*/ 3936 w 10000"/>
                    <a:gd name="connsiteY38" fmla="*/ 871 h 10000"/>
                    <a:gd name="connsiteX39" fmla="*/ 3814 w 10000"/>
                    <a:gd name="connsiteY39" fmla="*/ 772 h 10000"/>
                    <a:gd name="connsiteX40" fmla="*/ 3789 w 10000"/>
                    <a:gd name="connsiteY40" fmla="*/ 739 h 10000"/>
                    <a:gd name="connsiteX41" fmla="*/ 3668 w 10000"/>
                    <a:gd name="connsiteY41" fmla="*/ 657 h 10000"/>
                    <a:gd name="connsiteX42" fmla="*/ 3644 w 10000"/>
                    <a:gd name="connsiteY42" fmla="*/ 640 h 10000"/>
                    <a:gd name="connsiteX43" fmla="*/ 3497 w 10000"/>
                    <a:gd name="connsiteY43" fmla="*/ 509 h 10000"/>
                    <a:gd name="connsiteX44" fmla="*/ 3449 w 10000"/>
                    <a:gd name="connsiteY44" fmla="*/ 476 h 10000"/>
                    <a:gd name="connsiteX45" fmla="*/ 3302 w 10000"/>
                    <a:gd name="connsiteY45" fmla="*/ 378 h 10000"/>
                    <a:gd name="connsiteX46" fmla="*/ 3253 w 10000"/>
                    <a:gd name="connsiteY46" fmla="*/ 345 h 10000"/>
                    <a:gd name="connsiteX47" fmla="*/ 3084 w 10000"/>
                    <a:gd name="connsiteY47" fmla="*/ 197 h 10000"/>
                    <a:gd name="connsiteX48" fmla="*/ 2742 w 10000"/>
                    <a:gd name="connsiteY48" fmla="*/ 49 h 10000"/>
                    <a:gd name="connsiteX49" fmla="*/ 2742 w 10000"/>
                    <a:gd name="connsiteY49" fmla="*/ 0 h 10000"/>
                    <a:gd name="connsiteX50" fmla="*/ 2742 w 10000"/>
                    <a:gd name="connsiteY50" fmla="*/ 49 h 10000"/>
                    <a:gd name="connsiteX51" fmla="*/ 2498 w 10000"/>
                    <a:gd name="connsiteY51" fmla="*/ 312 h 10000"/>
                    <a:gd name="connsiteX52" fmla="*/ 1866 w 10000"/>
                    <a:gd name="connsiteY52" fmla="*/ 575 h 10000"/>
                    <a:gd name="connsiteX53" fmla="*/ 794 w 10000"/>
                    <a:gd name="connsiteY53" fmla="*/ 1264 h 10000"/>
                    <a:gd name="connsiteX54" fmla="*/ 14 w 10000"/>
                    <a:gd name="connsiteY54" fmla="*/ 3072 h 10000"/>
                    <a:gd name="connsiteX55" fmla="*/ 453 w 10000"/>
                    <a:gd name="connsiteY55" fmla="*/ 4844 h 10000"/>
                    <a:gd name="connsiteX56" fmla="*/ 769 w 10000"/>
                    <a:gd name="connsiteY56" fmla="*/ 6027 h 10000"/>
                    <a:gd name="connsiteX57" fmla="*/ 1087 w 10000"/>
                    <a:gd name="connsiteY57" fmla="*/ 6750 h 10000"/>
                    <a:gd name="connsiteX58" fmla="*/ 1622 w 10000"/>
                    <a:gd name="connsiteY58" fmla="*/ 8129 h 10000"/>
                    <a:gd name="connsiteX59" fmla="*/ 1646 w 10000"/>
                    <a:gd name="connsiteY59" fmla="*/ 7965 h 10000"/>
                    <a:gd name="connsiteX60" fmla="*/ 3034 w 10000"/>
                    <a:gd name="connsiteY60" fmla="*/ 9985 h 10000"/>
                    <a:gd name="connsiteX61" fmla="*/ 3716 w 10000"/>
                    <a:gd name="connsiteY61" fmla="*/ 9854 h 10000"/>
                    <a:gd name="connsiteX62" fmla="*/ 4788 w 10000"/>
                    <a:gd name="connsiteY62" fmla="*/ 9468 h 10000"/>
                    <a:gd name="connsiteX63" fmla="*/ 4962 w 10000"/>
                    <a:gd name="connsiteY63" fmla="*/ 9448 h 10000"/>
                    <a:gd name="connsiteX64" fmla="*/ 5323 w 10000"/>
                    <a:gd name="connsiteY64" fmla="*/ 9739 h 10000"/>
                    <a:gd name="connsiteX65" fmla="*/ 7224 w 10000"/>
                    <a:gd name="connsiteY65" fmla="*/ 9722 h 10000"/>
                    <a:gd name="connsiteX66" fmla="*/ 7394 w 10000"/>
                    <a:gd name="connsiteY66" fmla="*/ 8738 h 10000"/>
                    <a:gd name="connsiteX67" fmla="*/ 7224 w 10000"/>
                    <a:gd name="connsiteY67" fmla="*/ 6241 h 10000"/>
                    <a:gd name="connsiteX68" fmla="*/ 9172 w 10000"/>
                    <a:gd name="connsiteY68" fmla="*/ 6782 h 10000"/>
                    <a:gd name="connsiteX69" fmla="*/ 9172 w 10000"/>
                    <a:gd name="connsiteY69" fmla="*/ 6782 h 10000"/>
                    <a:gd name="connsiteX70" fmla="*/ 10000 w 10000"/>
                    <a:gd name="connsiteY70" fmla="*/ 6454 h 10000"/>
                    <a:gd name="connsiteX71" fmla="*/ 9951 w 10000"/>
                    <a:gd name="connsiteY71" fmla="*/ 6421 h 10000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23 w 10000"/>
                    <a:gd name="connsiteY64" fmla="*/ 9739 h 10158"/>
                    <a:gd name="connsiteX65" fmla="*/ 7224 w 10000"/>
                    <a:gd name="connsiteY65" fmla="*/ 9722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49 w 10000"/>
                    <a:gd name="connsiteY64" fmla="*/ 9843 h 10158"/>
                    <a:gd name="connsiteX65" fmla="*/ 7224 w 10000"/>
                    <a:gd name="connsiteY65" fmla="*/ 9722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49 w 10000"/>
                    <a:gd name="connsiteY64" fmla="*/ 9843 h 10158"/>
                    <a:gd name="connsiteX65" fmla="*/ 7224 w 10000"/>
                    <a:gd name="connsiteY65" fmla="*/ 9791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0000" h="10158">
                      <a:moveTo>
                        <a:pt x="9951" y="6421"/>
                      </a:moveTo>
                      <a:cubicBezTo>
                        <a:pt x="9927" y="6405"/>
                        <a:pt x="9879" y="6405"/>
                        <a:pt x="9829" y="6405"/>
                      </a:cubicBezTo>
                      <a:cubicBezTo>
                        <a:pt x="9781" y="6389"/>
                        <a:pt x="9732" y="6389"/>
                        <a:pt x="9708" y="6373"/>
                      </a:cubicBezTo>
                      <a:cubicBezTo>
                        <a:pt x="9684" y="6373"/>
                        <a:pt x="9659" y="6389"/>
                        <a:pt x="9635" y="6389"/>
                      </a:cubicBezTo>
                      <a:cubicBezTo>
                        <a:pt x="9635" y="6389"/>
                        <a:pt x="8880" y="6914"/>
                        <a:pt x="9098" y="6061"/>
                      </a:cubicBezTo>
                      <a:cubicBezTo>
                        <a:pt x="9098" y="6043"/>
                        <a:pt x="9098" y="6027"/>
                        <a:pt x="9124" y="5994"/>
                      </a:cubicBezTo>
                      <a:cubicBezTo>
                        <a:pt x="9124" y="5945"/>
                        <a:pt x="9148" y="5879"/>
                        <a:pt x="9172" y="5798"/>
                      </a:cubicBezTo>
                      <a:cubicBezTo>
                        <a:pt x="9172" y="5798"/>
                        <a:pt x="9416" y="5436"/>
                        <a:pt x="9659" y="5338"/>
                      </a:cubicBezTo>
                      <a:cubicBezTo>
                        <a:pt x="9659" y="5338"/>
                        <a:pt x="9635" y="5338"/>
                        <a:pt x="9586" y="5321"/>
                      </a:cubicBezTo>
                      <a:cubicBezTo>
                        <a:pt x="9342" y="5288"/>
                        <a:pt x="8490" y="5140"/>
                        <a:pt x="7784" y="5058"/>
                      </a:cubicBezTo>
                      <a:cubicBezTo>
                        <a:pt x="7784" y="5058"/>
                        <a:pt x="8003" y="4911"/>
                        <a:pt x="7954" y="4664"/>
                      </a:cubicBezTo>
                      <a:cubicBezTo>
                        <a:pt x="7954" y="4631"/>
                        <a:pt x="7930" y="4582"/>
                        <a:pt x="7906" y="4532"/>
                      </a:cubicBezTo>
                      <a:cubicBezTo>
                        <a:pt x="7759" y="4204"/>
                        <a:pt x="7588" y="3761"/>
                        <a:pt x="7588" y="3679"/>
                      </a:cubicBezTo>
                      <a:cubicBezTo>
                        <a:pt x="7588" y="3597"/>
                        <a:pt x="7564" y="3268"/>
                        <a:pt x="7419" y="3153"/>
                      </a:cubicBezTo>
                      <a:cubicBezTo>
                        <a:pt x="7296" y="3038"/>
                        <a:pt x="6809" y="2365"/>
                        <a:pt x="6591" y="2086"/>
                      </a:cubicBezTo>
                      <a:cubicBezTo>
                        <a:pt x="6420" y="1889"/>
                        <a:pt x="6176" y="1642"/>
                        <a:pt x="6054" y="1511"/>
                      </a:cubicBezTo>
                      <a:cubicBezTo>
                        <a:pt x="5981" y="1446"/>
                        <a:pt x="5933" y="1396"/>
                        <a:pt x="5933" y="1396"/>
                      </a:cubicBezTo>
                      <a:cubicBezTo>
                        <a:pt x="5933" y="1396"/>
                        <a:pt x="5836" y="1577"/>
                        <a:pt x="6054" y="1774"/>
                      </a:cubicBezTo>
                      <a:cubicBezTo>
                        <a:pt x="6298" y="1971"/>
                        <a:pt x="6907" y="2956"/>
                        <a:pt x="6907" y="3153"/>
                      </a:cubicBezTo>
                      <a:cubicBezTo>
                        <a:pt x="6907" y="3350"/>
                        <a:pt x="7127" y="4549"/>
                        <a:pt x="6907" y="4747"/>
                      </a:cubicBezTo>
                      <a:cubicBezTo>
                        <a:pt x="6907" y="4747"/>
                        <a:pt x="6785" y="4927"/>
                        <a:pt x="6517" y="3597"/>
                      </a:cubicBezTo>
                      <a:cubicBezTo>
                        <a:pt x="6517" y="3597"/>
                        <a:pt x="6541" y="3022"/>
                        <a:pt x="5665" y="2299"/>
                      </a:cubicBezTo>
                      <a:cubicBezTo>
                        <a:pt x="5641" y="2283"/>
                        <a:pt x="5617" y="2250"/>
                        <a:pt x="5567" y="2234"/>
                      </a:cubicBezTo>
                      <a:cubicBezTo>
                        <a:pt x="5275" y="2003"/>
                        <a:pt x="5081" y="1855"/>
                        <a:pt x="4910" y="1708"/>
                      </a:cubicBezTo>
                      <a:cubicBezTo>
                        <a:pt x="4812" y="1610"/>
                        <a:pt x="4715" y="1527"/>
                        <a:pt x="4594" y="1429"/>
                      </a:cubicBezTo>
                      <a:lnTo>
                        <a:pt x="4594" y="1412"/>
                      </a:lnTo>
                      <a:cubicBezTo>
                        <a:pt x="4577" y="1401"/>
                        <a:pt x="4561" y="1390"/>
                        <a:pt x="4544" y="1379"/>
                      </a:cubicBezTo>
                      <a:cubicBezTo>
                        <a:pt x="4520" y="1363"/>
                        <a:pt x="4520" y="1347"/>
                        <a:pt x="4496" y="1330"/>
                      </a:cubicBezTo>
                      <a:cubicBezTo>
                        <a:pt x="4471" y="1330"/>
                        <a:pt x="4471" y="1314"/>
                        <a:pt x="4447" y="1298"/>
                      </a:cubicBezTo>
                      <a:cubicBezTo>
                        <a:pt x="4447" y="1281"/>
                        <a:pt x="4423" y="1264"/>
                        <a:pt x="4399" y="1248"/>
                      </a:cubicBezTo>
                      <a:cubicBezTo>
                        <a:pt x="4391" y="1242"/>
                        <a:pt x="4382" y="1237"/>
                        <a:pt x="4374" y="1231"/>
                      </a:cubicBezTo>
                      <a:lnTo>
                        <a:pt x="4301" y="1183"/>
                      </a:lnTo>
                      <a:cubicBezTo>
                        <a:pt x="4301" y="1166"/>
                        <a:pt x="4301" y="1166"/>
                        <a:pt x="4276" y="1150"/>
                      </a:cubicBezTo>
                      <a:cubicBezTo>
                        <a:pt x="4252" y="1134"/>
                        <a:pt x="4228" y="1100"/>
                        <a:pt x="4204" y="1084"/>
                      </a:cubicBezTo>
                      <a:cubicBezTo>
                        <a:pt x="4188" y="1073"/>
                        <a:pt x="4171" y="1062"/>
                        <a:pt x="4155" y="1051"/>
                      </a:cubicBezTo>
                      <a:cubicBezTo>
                        <a:pt x="4131" y="1035"/>
                        <a:pt x="4107" y="1018"/>
                        <a:pt x="4082" y="1002"/>
                      </a:cubicBezTo>
                      <a:cubicBezTo>
                        <a:pt x="4082" y="986"/>
                        <a:pt x="4057" y="986"/>
                        <a:pt x="4057" y="968"/>
                      </a:cubicBezTo>
                      <a:cubicBezTo>
                        <a:pt x="4033" y="936"/>
                        <a:pt x="3984" y="903"/>
                        <a:pt x="3936" y="871"/>
                      </a:cubicBezTo>
                      <a:lnTo>
                        <a:pt x="3936" y="871"/>
                      </a:lnTo>
                      <a:cubicBezTo>
                        <a:pt x="3887" y="838"/>
                        <a:pt x="3863" y="804"/>
                        <a:pt x="3814" y="772"/>
                      </a:cubicBezTo>
                      <a:cubicBezTo>
                        <a:pt x="3814" y="772"/>
                        <a:pt x="3789" y="755"/>
                        <a:pt x="3789" y="739"/>
                      </a:cubicBezTo>
                      <a:cubicBezTo>
                        <a:pt x="3741" y="723"/>
                        <a:pt x="3716" y="690"/>
                        <a:pt x="3668" y="657"/>
                      </a:cubicBezTo>
                      <a:cubicBezTo>
                        <a:pt x="3660" y="651"/>
                        <a:pt x="3652" y="646"/>
                        <a:pt x="3644" y="640"/>
                      </a:cubicBezTo>
                      <a:cubicBezTo>
                        <a:pt x="3595" y="591"/>
                        <a:pt x="3546" y="559"/>
                        <a:pt x="3497" y="509"/>
                      </a:cubicBezTo>
                      <a:cubicBezTo>
                        <a:pt x="3473" y="509"/>
                        <a:pt x="3449" y="492"/>
                        <a:pt x="3449" y="476"/>
                      </a:cubicBezTo>
                      <a:lnTo>
                        <a:pt x="3302" y="378"/>
                      </a:lnTo>
                      <a:cubicBezTo>
                        <a:pt x="3302" y="361"/>
                        <a:pt x="3278" y="361"/>
                        <a:pt x="3253" y="345"/>
                      </a:cubicBezTo>
                      <a:cubicBezTo>
                        <a:pt x="3205" y="296"/>
                        <a:pt x="3132" y="247"/>
                        <a:pt x="3084" y="197"/>
                      </a:cubicBezTo>
                      <a:cubicBezTo>
                        <a:pt x="3084" y="197"/>
                        <a:pt x="2913" y="33"/>
                        <a:pt x="2742" y="49"/>
                      </a:cubicBezTo>
                      <a:lnTo>
                        <a:pt x="2742" y="0"/>
                      </a:lnTo>
                      <a:lnTo>
                        <a:pt x="2742" y="49"/>
                      </a:lnTo>
                      <a:cubicBezTo>
                        <a:pt x="2645" y="65"/>
                        <a:pt x="2548" y="115"/>
                        <a:pt x="2498" y="312"/>
                      </a:cubicBezTo>
                      <a:cubicBezTo>
                        <a:pt x="2498" y="312"/>
                        <a:pt x="2231" y="509"/>
                        <a:pt x="1866" y="575"/>
                      </a:cubicBezTo>
                      <a:cubicBezTo>
                        <a:pt x="1524" y="640"/>
                        <a:pt x="988" y="1051"/>
                        <a:pt x="794" y="1264"/>
                      </a:cubicBezTo>
                      <a:cubicBezTo>
                        <a:pt x="599" y="1495"/>
                        <a:pt x="-107" y="2102"/>
                        <a:pt x="14" y="3072"/>
                      </a:cubicBezTo>
                      <a:cubicBezTo>
                        <a:pt x="161" y="4024"/>
                        <a:pt x="307" y="3744"/>
                        <a:pt x="453" y="4844"/>
                      </a:cubicBezTo>
                      <a:cubicBezTo>
                        <a:pt x="575" y="5929"/>
                        <a:pt x="843" y="5863"/>
                        <a:pt x="769" y="6027"/>
                      </a:cubicBezTo>
                      <a:cubicBezTo>
                        <a:pt x="696" y="6175"/>
                        <a:pt x="940" y="6504"/>
                        <a:pt x="1087" y="6750"/>
                      </a:cubicBezTo>
                      <a:cubicBezTo>
                        <a:pt x="1208" y="6914"/>
                        <a:pt x="1427" y="7555"/>
                        <a:pt x="1622" y="8129"/>
                      </a:cubicBezTo>
                      <a:cubicBezTo>
                        <a:pt x="1622" y="8080"/>
                        <a:pt x="1622" y="8031"/>
                        <a:pt x="1646" y="7965"/>
                      </a:cubicBezTo>
                      <a:cubicBezTo>
                        <a:pt x="1646" y="7965"/>
                        <a:pt x="2685" y="9662"/>
                        <a:pt x="3034" y="9985"/>
                      </a:cubicBezTo>
                      <a:cubicBezTo>
                        <a:pt x="3383" y="10308"/>
                        <a:pt x="3353" y="10119"/>
                        <a:pt x="3742" y="9906"/>
                      </a:cubicBezTo>
                      <a:cubicBezTo>
                        <a:pt x="4099" y="9777"/>
                        <a:pt x="4431" y="9597"/>
                        <a:pt x="4788" y="9468"/>
                      </a:cubicBezTo>
                      <a:cubicBezTo>
                        <a:pt x="4910" y="9435"/>
                        <a:pt x="4869" y="9386"/>
                        <a:pt x="4962" y="9448"/>
                      </a:cubicBezTo>
                      <a:cubicBezTo>
                        <a:pt x="5055" y="9510"/>
                        <a:pt x="5009" y="9695"/>
                        <a:pt x="5349" y="9843"/>
                      </a:cubicBezTo>
                      <a:cubicBezTo>
                        <a:pt x="5643" y="9991"/>
                        <a:pt x="6541" y="10103"/>
                        <a:pt x="7224" y="9791"/>
                      </a:cubicBezTo>
                      <a:cubicBezTo>
                        <a:pt x="7345" y="9611"/>
                        <a:pt x="7419" y="9246"/>
                        <a:pt x="7394" y="8738"/>
                      </a:cubicBezTo>
                      <a:cubicBezTo>
                        <a:pt x="7296" y="7473"/>
                        <a:pt x="7272" y="6306"/>
                        <a:pt x="7224" y="6241"/>
                      </a:cubicBezTo>
                      <a:cubicBezTo>
                        <a:pt x="7224" y="6241"/>
                        <a:pt x="8734" y="6733"/>
                        <a:pt x="9172" y="6782"/>
                      </a:cubicBezTo>
                      <a:lnTo>
                        <a:pt x="9172" y="6782"/>
                      </a:lnTo>
                      <a:cubicBezTo>
                        <a:pt x="9610" y="6832"/>
                        <a:pt x="10000" y="6454"/>
                        <a:pt x="10000" y="6454"/>
                      </a:cubicBezTo>
                      <a:cubicBezTo>
                        <a:pt x="9984" y="6443"/>
                        <a:pt x="9967" y="6432"/>
                        <a:pt x="9951" y="6421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50">
                  <a:extLst>
                    <a:ext uri="{FF2B5EF4-FFF2-40B4-BE49-F238E27FC236}">
                      <a16:creationId xmlns:a16="http://schemas.microsoft.com/office/drawing/2014/main" id="{433B830B-AB39-486F-97AF-A93BB0E6A71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33910" y="5257279"/>
                  <a:ext cx="169052" cy="130848"/>
                </a:xfrm>
                <a:custGeom>
                  <a:avLst/>
                  <a:gdLst>
                    <a:gd name="T0" fmla="*/ 3 w 75"/>
                    <a:gd name="T1" fmla="*/ 0 h 58"/>
                    <a:gd name="T2" fmla="*/ 31 w 75"/>
                    <a:gd name="T3" fmla="*/ 29 h 58"/>
                    <a:gd name="T4" fmla="*/ 74 w 75"/>
                    <a:gd name="T5" fmla="*/ 50 h 58"/>
                    <a:gd name="T6" fmla="*/ 52 w 75"/>
                    <a:gd name="T7" fmla="*/ 50 h 58"/>
                    <a:gd name="T8" fmla="*/ 2 w 75"/>
                    <a:gd name="T9" fmla="*/ 18 h 58"/>
                    <a:gd name="T10" fmla="*/ 3 w 75"/>
                    <a:gd name="T11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5" h="58">
                      <a:moveTo>
                        <a:pt x="3" y="0"/>
                      </a:moveTo>
                      <a:cubicBezTo>
                        <a:pt x="3" y="0"/>
                        <a:pt x="10" y="19"/>
                        <a:pt x="31" y="29"/>
                      </a:cubicBezTo>
                      <a:cubicBezTo>
                        <a:pt x="52" y="39"/>
                        <a:pt x="72" y="45"/>
                        <a:pt x="74" y="50"/>
                      </a:cubicBezTo>
                      <a:cubicBezTo>
                        <a:pt x="75" y="54"/>
                        <a:pt x="72" y="58"/>
                        <a:pt x="52" y="50"/>
                      </a:cubicBezTo>
                      <a:cubicBezTo>
                        <a:pt x="32" y="42"/>
                        <a:pt x="2" y="22"/>
                        <a:pt x="2" y="18"/>
                      </a:cubicBezTo>
                      <a:cubicBezTo>
                        <a:pt x="2" y="14"/>
                        <a:pt x="0" y="7"/>
                        <a:pt x="3" y="0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51">
                  <a:extLst>
                    <a:ext uri="{FF2B5EF4-FFF2-40B4-BE49-F238E27FC236}">
                      <a16:creationId xmlns:a16="http://schemas.microsoft.com/office/drawing/2014/main" id="{CC793846-9592-4101-ABD4-482390B3E71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6832" y="5220985"/>
                  <a:ext cx="63036" cy="51575"/>
                </a:xfrm>
                <a:custGeom>
                  <a:avLst/>
                  <a:gdLst>
                    <a:gd name="T0" fmla="*/ 28 w 28"/>
                    <a:gd name="T1" fmla="*/ 0 h 23"/>
                    <a:gd name="T2" fmla="*/ 25 w 28"/>
                    <a:gd name="T3" fmla="*/ 9 h 23"/>
                    <a:gd name="T4" fmla="*/ 23 w 28"/>
                    <a:gd name="T5" fmla="*/ 18 h 23"/>
                    <a:gd name="T6" fmla="*/ 4 w 28"/>
                    <a:gd name="T7" fmla="*/ 17 h 23"/>
                    <a:gd name="T8" fmla="*/ 10 w 28"/>
                    <a:gd name="T9" fmla="*/ 4 h 23"/>
                    <a:gd name="T10" fmla="*/ 28 w 28"/>
                    <a:gd name="T11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23">
                      <a:moveTo>
                        <a:pt x="28" y="0"/>
                      </a:moveTo>
                      <a:cubicBezTo>
                        <a:pt x="28" y="0"/>
                        <a:pt x="27" y="9"/>
                        <a:pt x="25" y="9"/>
                      </a:cubicBezTo>
                      <a:cubicBezTo>
                        <a:pt x="23" y="9"/>
                        <a:pt x="26" y="14"/>
                        <a:pt x="23" y="18"/>
                      </a:cubicBezTo>
                      <a:cubicBezTo>
                        <a:pt x="20" y="21"/>
                        <a:pt x="6" y="23"/>
                        <a:pt x="4" y="17"/>
                      </a:cubicBezTo>
                      <a:cubicBezTo>
                        <a:pt x="2" y="11"/>
                        <a:pt x="0" y="4"/>
                        <a:pt x="10" y="4"/>
                      </a:cubicBezTo>
                      <a:cubicBezTo>
                        <a:pt x="20" y="3"/>
                        <a:pt x="16" y="1"/>
                        <a:pt x="28" y="0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AA40EB41-14FA-4F3F-B089-9916A889A4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84046" y="4837991"/>
                  <a:ext cx="176693" cy="35339"/>
                </a:xfrm>
                <a:custGeom>
                  <a:avLst/>
                  <a:gdLst>
                    <a:gd name="T0" fmla="*/ 3 w 78"/>
                    <a:gd name="T1" fmla="*/ 3 h 16"/>
                    <a:gd name="T2" fmla="*/ 9 w 78"/>
                    <a:gd name="T3" fmla="*/ 12 h 16"/>
                    <a:gd name="T4" fmla="*/ 33 w 78"/>
                    <a:gd name="T5" fmla="*/ 13 h 16"/>
                    <a:gd name="T6" fmla="*/ 60 w 78"/>
                    <a:gd name="T7" fmla="*/ 8 h 16"/>
                    <a:gd name="T8" fmla="*/ 74 w 78"/>
                    <a:gd name="T9" fmla="*/ 0 h 16"/>
                    <a:gd name="T10" fmla="*/ 34 w 78"/>
                    <a:gd name="T11" fmla="*/ 6 h 16"/>
                    <a:gd name="T12" fmla="*/ 3 w 78"/>
                    <a:gd name="T13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" h="16">
                      <a:moveTo>
                        <a:pt x="3" y="3"/>
                      </a:moveTo>
                      <a:cubicBezTo>
                        <a:pt x="3" y="3"/>
                        <a:pt x="0" y="10"/>
                        <a:pt x="9" y="12"/>
                      </a:cubicBezTo>
                      <a:cubicBezTo>
                        <a:pt x="18" y="14"/>
                        <a:pt x="21" y="10"/>
                        <a:pt x="33" y="13"/>
                      </a:cubicBezTo>
                      <a:cubicBezTo>
                        <a:pt x="45" y="16"/>
                        <a:pt x="52" y="10"/>
                        <a:pt x="60" y="8"/>
                      </a:cubicBezTo>
                      <a:cubicBezTo>
                        <a:pt x="68" y="6"/>
                        <a:pt x="78" y="1"/>
                        <a:pt x="74" y="0"/>
                      </a:cubicBezTo>
                      <a:cubicBezTo>
                        <a:pt x="71" y="0"/>
                        <a:pt x="48" y="4"/>
                        <a:pt x="34" y="6"/>
                      </a:cubicBezTo>
                      <a:cubicBezTo>
                        <a:pt x="21" y="7"/>
                        <a:pt x="6" y="8"/>
                        <a:pt x="3" y="3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53">
                  <a:extLst>
                    <a:ext uri="{FF2B5EF4-FFF2-40B4-BE49-F238E27FC236}">
                      <a16:creationId xmlns:a16="http://schemas.microsoft.com/office/drawing/2014/main" id="{3ABF9891-09DA-483F-8274-2A4019EB7F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8743" y="4959289"/>
                  <a:ext cx="160456" cy="212031"/>
                </a:xfrm>
                <a:custGeom>
                  <a:avLst/>
                  <a:gdLst>
                    <a:gd name="T0" fmla="*/ 67 w 71"/>
                    <a:gd name="T1" fmla="*/ 0 h 94"/>
                    <a:gd name="T2" fmla="*/ 45 w 71"/>
                    <a:gd name="T3" fmla="*/ 36 h 94"/>
                    <a:gd name="T4" fmla="*/ 7 w 71"/>
                    <a:gd name="T5" fmla="*/ 64 h 94"/>
                    <a:gd name="T6" fmla="*/ 19 w 71"/>
                    <a:gd name="T7" fmla="*/ 73 h 94"/>
                    <a:gd name="T8" fmla="*/ 58 w 71"/>
                    <a:gd name="T9" fmla="*/ 81 h 94"/>
                    <a:gd name="T10" fmla="*/ 60 w 71"/>
                    <a:gd name="T11" fmla="*/ 94 h 94"/>
                    <a:gd name="T12" fmla="*/ 71 w 71"/>
                    <a:gd name="T13" fmla="*/ 39 h 94"/>
                    <a:gd name="T14" fmla="*/ 67 w 71"/>
                    <a:gd name="T15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94">
                      <a:moveTo>
                        <a:pt x="67" y="0"/>
                      </a:moveTo>
                      <a:cubicBezTo>
                        <a:pt x="67" y="0"/>
                        <a:pt x="51" y="32"/>
                        <a:pt x="45" y="36"/>
                      </a:cubicBezTo>
                      <a:cubicBezTo>
                        <a:pt x="38" y="41"/>
                        <a:pt x="13" y="56"/>
                        <a:pt x="7" y="64"/>
                      </a:cubicBezTo>
                      <a:cubicBezTo>
                        <a:pt x="0" y="73"/>
                        <a:pt x="1" y="73"/>
                        <a:pt x="19" y="73"/>
                      </a:cubicBezTo>
                      <a:cubicBezTo>
                        <a:pt x="37" y="73"/>
                        <a:pt x="55" y="76"/>
                        <a:pt x="58" y="81"/>
                      </a:cubicBezTo>
                      <a:cubicBezTo>
                        <a:pt x="61" y="86"/>
                        <a:pt x="60" y="94"/>
                        <a:pt x="60" y="94"/>
                      </a:cubicBezTo>
                      <a:cubicBezTo>
                        <a:pt x="60" y="94"/>
                        <a:pt x="71" y="62"/>
                        <a:pt x="71" y="39"/>
                      </a:cubicBezTo>
                      <a:cubicBezTo>
                        <a:pt x="71" y="16"/>
                        <a:pt x="67" y="0"/>
                        <a:pt x="67" y="0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" name="Freeform 54">
                  <a:extLst>
                    <a:ext uri="{FF2B5EF4-FFF2-40B4-BE49-F238E27FC236}">
                      <a16:creationId xmlns:a16="http://schemas.microsoft.com/office/drawing/2014/main" id="{138A7286-7BFA-4249-B2EB-2BF4C8B437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52727" y="4788326"/>
                  <a:ext cx="301810" cy="306586"/>
                </a:xfrm>
                <a:custGeom>
                  <a:avLst/>
                  <a:gdLst>
                    <a:gd name="T0" fmla="*/ 6 w 134"/>
                    <a:gd name="T1" fmla="*/ 136 h 136"/>
                    <a:gd name="T2" fmla="*/ 46 w 134"/>
                    <a:gd name="T3" fmla="*/ 73 h 136"/>
                    <a:gd name="T4" fmla="*/ 30 w 134"/>
                    <a:gd name="T5" fmla="*/ 122 h 136"/>
                    <a:gd name="T6" fmla="*/ 75 w 134"/>
                    <a:gd name="T7" fmla="*/ 84 h 136"/>
                    <a:gd name="T8" fmla="*/ 127 w 134"/>
                    <a:gd name="T9" fmla="*/ 45 h 136"/>
                    <a:gd name="T10" fmla="*/ 134 w 134"/>
                    <a:gd name="T11" fmla="*/ 3 h 136"/>
                    <a:gd name="T12" fmla="*/ 100 w 134"/>
                    <a:gd name="T13" fmla="*/ 30 h 136"/>
                    <a:gd name="T14" fmla="*/ 71 w 134"/>
                    <a:gd name="T15" fmla="*/ 30 h 136"/>
                    <a:gd name="T16" fmla="*/ 21 w 134"/>
                    <a:gd name="T17" fmla="*/ 73 h 136"/>
                    <a:gd name="T18" fmla="*/ 6 w 134"/>
                    <a:gd name="T19" fmla="*/ 136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4" h="136">
                      <a:moveTo>
                        <a:pt x="6" y="136"/>
                      </a:moveTo>
                      <a:cubicBezTo>
                        <a:pt x="6" y="136"/>
                        <a:pt x="40" y="93"/>
                        <a:pt x="46" y="73"/>
                      </a:cubicBezTo>
                      <a:cubicBezTo>
                        <a:pt x="52" y="53"/>
                        <a:pt x="26" y="122"/>
                        <a:pt x="30" y="122"/>
                      </a:cubicBezTo>
                      <a:cubicBezTo>
                        <a:pt x="33" y="123"/>
                        <a:pt x="61" y="97"/>
                        <a:pt x="75" y="84"/>
                      </a:cubicBezTo>
                      <a:cubicBezTo>
                        <a:pt x="89" y="72"/>
                        <a:pt x="124" y="50"/>
                        <a:pt x="127" y="45"/>
                      </a:cubicBezTo>
                      <a:cubicBezTo>
                        <a:pt x="130" y="40"/>
                        <a:pt x="134" y="6"/>
                        <a:pt x="134" y="3"/>
                      </a:cubicBezTo>
                      <a:cubicBezTo>
                        <a:pt x="134" y="0"/>
                        <a:pt x="114" y="22"/>
                        <a:pt x="100" y="30"/>
                      </a:cubicBezTo>
                      <a:cubicBezTo>
                        <a:pt x="86" y="37"/>
                        <a:pt x="101" y="17"/>
                        <a:pt x="71" y="30"/>
                      </a:cubicBezTo>
                      <a:cubicBezTo>
                        <a:pt x="41" y="44"/>
                        <a:pt x="30" y="53"/>
                        <a:pt x="21" y="73"/>
                      </a:cubicBezTo>
                      <a:cubicBezTo>
                        <a:pt x="12" y="93"/>
                        <a:pt x="0" y="120"/>
                        <a:pt x="6" y="136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55">
                  <a:extLst>
                    <a:ext uri="{FF2B5EF4-FFF2-40B4-BE49-F238E27FC236}">
                      <a16:creationId xmlns:a16="http://schemas.microsoft.com/office/drawing/2014/main" id="{098BF819-7452-41D0-B531-988D5BDABF4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50717" y="4431120"/>
                  <a:ext cx="223493" cy="530079"/>
                </a:xfrm>
                <a:custGeom>
                  <a:avLst/>
                  <a:gdLst>
                    <a:gd name="T0" fmla="*/ 7 w 99"/>
                    <a:gd name="T1" fmla="*/ 152 h 235"/>
                    <a:gd name="T2" fmla="*/ 54 w 99"/>
                    <a:gd name="T3" fmla="*/ 95 h 235"/>
                    <a:gd name="T4" fmla="*/ 46 w 99"/>
                    <a:gd name="T5" fmla="*/ 62 h 235"/>
                    <a:gd name="T6" fmla="*/ 18 w 99"/>
                    <a:gd name="T7" fmla="*/ 6 h 235"/>
                    <a:gd name="T8" fmla="*/ 82 w 99"/>
                    <a:gd name="T9" fmla="*/ 72 h 235"/>
                    <a:gd name="T10" fmla="*/ 64 w 99"/>
                    <a:gd name="T11" fmla="*/ 144 h 235"/>
                    <a:gd name="T12" fmla="*/ 37 w 99"/>
                    <a:gd name="T13" fmla="*/ 185 h 235"/>
                    <a:gd name="T14" fmla="*/ 14 w 99"/>
                    <a:gd name="T15" fmla="*/ 232 h 235"/>
                    <a:gd name="T16" fmla="*/ 7 w 99"/>
                    <a:gd name="T17" fmla="*/ 152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9" h="235">
                      <a:moveTo>
                        <a:pt x="7" y="152"/>
                      </a:moveTo>
                      <a:cubicBezTo>
                        <a:pt x="7" y="152"/>
                        <a:pt x="54" y="100"/>
                        <a:pt x="54" y="95"/>
                      </a:cubicBezTo>
                      <a:cubicBezTo>
                        <a:pt x="54" y="90"/>
                        <a:pt x="55" y="80"/>
                        <a:pt x="46" y="62"/>
                      </a:cubicBezTo>
                      <a:cubicBezTo>
                        <a:pt x="36" y="44"/>
                        <a:pt x="20" y="12"/>
                        <a:pt x="18" y="6"/>
                      </a:cubicBezTo>
                      <a:cubicBezTo>
                        <a:pt x="17" y="0"/>
                        <a:pt x="79" y="61"/>
                        <a:pt x="82" y="72"/>
                      </a:cubicBezTo>
                      <a:cubicBezTo>
                        <a:pt x="84" y="82"/>
                        <a:pt x="99" y="124"/>
                        <a:pt x="64" y="144"/>
                      </a:cubicBezTo>
                      <a:cubicBezTo>
                        <a:pt x="30" y="164"/>
                        <a:pt x="37" y="178"/>
                        <a:pt x="37" y="185"/>
                      </a:cubicBezTo>
                      <a:cubicBezTo>
                        <a:pt x="37" y="192"/>
                        <a:pt x="17" y="228"/>
                        <a:pt x="14" y="232"/>
                      </a:cubicBezTo>
                      <a:cubicBezTo>
                        <a:pt x="12" y="235"/>
                        <a:pt x="0" y="220"/>
                        <a:pt x="7" y="15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56">
                  <a:extLst>
                    <a:ext uri="{FF2B5EF4-FFF2-40B4-BE49-F238E27FC236}">
                      <a16:creationId xmlns:a16="http://schemas.microsoft.com/office/drawing/2014/main" id="{D843AE6B-AD90-4913-8D0D-549FE72D8CD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45942" y="3713843"/>
                  <a:ext cx="248325" cy="985659"/>
                </a:xfrm>
                <a:custGeom>
                  <a:avLst/>
                  <a:gdLst>
                    <a:gd name="T0" fmla="*/ 3 w 110"/>
                    <a:gd name="T1" fmla="*/ 326 h 437"/>
                    <a:gd name="T2" fmla="*/ 6 w 110"/>
                    <a:gd name="T3" fmla="*/ 368 h 437"/>
                    <a:gd name="T4" fmla="*/ 8 w 110"/>
                    <a:gd name="T5" fmla="*/ 424 h 437"/>
                    <a:gd name="T6" fmla="*/ 16 w 110"/>
                    <a:gd name="T7" fmla="*/ 386 h 437"/>
                    <a:gd name="T8" fmla="*/ 10 w 110"/>
                    <a:gd name="T9" fmla="*/ 330 h 437"/>
                    <a:gd name="T10" fmla="*/ 16 w 110"/>
                    <a:gd name="T11" fmla="*/ 303 h 437"/>
                    <a:gd name="T12" fmla="*/ 46 w 110"/>
                    <a:gd name="T13" fmla="*/ 228 h 437"/>
                    <a:gd name="T14" fmla="*/ 63 w 110"/>
                    <a:gd name="T15" fmla="*/ 132 h 437"/>
                    <a:gd name="T16" fmla="*/ 85 w 110"/>
                    <a:gd name="T17" fmla="*/ 41 h 437"/>
                    <a:gd name="T18" fmla="*/ 107 w 110"/>
                    <a:gd name="T19" fmla="*/ 7 h 437"/>
                    <a:gd name="T20" fmla="*/ 76 w 110"/>
                    <a:gd name="T21" fmla="*/ 36 h 437"/>
                    <a:gd name="T22" fmla="*/ 68 w 110"/>
                    <a:gd name="T23" fmla="*/ 68 h 437"/>
                    <a:gd name="T24" fmla="*/ 37 w 110"/>
                    <a:gd name="T25" fmla="*/ 228 h 437"/>
                    <a:gd name="T26" fmla="*/ 30 w 110"/>
                    <a:gd name="T27" fmla="*/ 260 h 437"/>
                    <a:gd name="T28" fmla="*/ 3 w 110"/>
                    <a:gd name="T29" fmla="*/ 326 h 4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0" h="437">
                      <a:moveTo>
                        <a:pt x="3" y="326"/>
                      </a:moveTo>
                      <a:cubicBezTo>
                        <a:pt x="3" y="326"/>
                        <a:pt x="3" y="340"/>
                        <a:pt x="6" y="368"/>
                      </a:cubicBezTo>
                      <a:cubicBezTo>
                        <a:pt x="8" y="396"/>
                        <a:pt x="7" y="418"/>
                        <a:pt x="8" y="424"/>
                      </a:cubicBezTo>
                      <a:cubicBezTo>
                        <a:pt x="10" y="431"/>
                        <a:pt x="16" y="437"/>
                        <a:pt x="16" y="386"/>
                      </a:cubicBezTo>
                      <a:cubicBezTo>
                        <a:pt x="16" y="386"/>
                        <a:pt x="12" y="347"/>
                        <a:pt x="10" y="330"/>
                      </a:cubicBezTo>
                      <a:cubicBezTo>
                        <a:pt x="10" y="330"/>
                        <a:pt x="9" y="313"/>
                        <a:pt x="16" y="303"/>
                      </a:cubicBezTo>
                      <a:cubicBezTo>
                        <a:pt x="22" y="293"/>
                        <a:pt x="48" y="246"/>
                        <a:pt x="46" y="228"/>
                      </a:cubicBezTo>
                      <a:cubicBezTo>
                        <a:pt x="44" y="210"/>
                        <a:pt x="58" y="158"/>
                        <a:pt x="63" y="132"/>
                      </a:cubicBezTo>
                      <a:cubicBezTo>
                        <a:pt x="68" y="105"/>
                        <a:pt x="78" y="46"/>
                        <a:pt x="85" y="41"/>
                      </a:cubicBezTo>
                      <a:cubicBezTo>
                        <a:pt x="92" y="36"/>
                        <a:pt x="104" y="14"/>
                        <a:pt x="107" y="7"/>
                      </a:cubicBezTo>
                      <a:cubicBezTo>
                        <a:pt x="110" y="0"/>
                        <a:pt x="87" y="24"/>
                        <a:pt x="76" y="36"/>
                      </a:cubicBezTo>
                      <a:cubicBezTo>
                        <a:pt x="66" y="47"/>
                        <a:pt x="72" y="50"/>
                        <a:pt x="68" y="68"/>
                      </a:cubicBezTo>
                      <a:cubicBezTo>
                        <a:pt x="64" y="86"/>
                        <a:pt x="36" y="215"/>
                        <a:pt x="37" y="228"/>
                      </a:cubicBezTo>
                      <a:cubicBezTo>
                        <a:pt x="38" y="240"/>
                        <a:pt x="32" y="253"/>
                        <a:pt x="30" y="260"/>
                      </a:cubicBezTo>
                      <a:cubicBezTo>
                        <a:pt x="27" y="266"/>
                        <a:pt x="0" y="304"/>
                        <a:pt x="3" y="326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57">
                  <a:extLst>
                    <a:ext uri="{FF2B5EF4-FFF2-40B4-BE49-F238E27FC236}">
                      <a16:creationId xmlns:a16="http://schemas.microsoft.com/office/drawing/2014/main" id="{5A27E0E6-397B-4C7C-A401-FF8B2915C5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7673" y="3839916"/>
                  <a:ext cx="185289" cy="600756"/>
                </a:xfrm>
                <a:custGeom>
                  <a:avLst/>
                  <a:gdLst>
                    <a:gd name="T0" fmla="*/ 31 w 82"/>
                    <a:gd name="T1" fmla="*/ 118 h 266"/>
                    <a:gd name="T2" fmla="*/ 79 w 82"/>
                    <a:gd name="T3" fmla="*/ 8 h 266"/>
                    <a:gd name="T4" fmla="*/ 57 w 82"/>
                    <a:gd name="T5" fmla="*/ 98 h 266"/>
                    <a:gd name="T6" fmla="*/ 45 w 82"/>
                    <a:gd name="T7" fmla="*/ 141 h 266"/>
                    <a:gd name="T8" fmla="*/ 29 w 82"/>
                    <a:gd name="T9" fmla="*/ 185 h 266"/>
                    <a:gd name="T10" fmla="*/ 47 w 82"/>
                    <a:gd name="T11" fmla="*/ 158 h 266"/>
                    <a:gd name="T12" fmla="*/ 23 w 82"/>
                    <a:gd name="T13" fmla="*/ 228 h 266"/>
                    <a:gd name="T14" fmla="*/ 0 w 82"/>
                    <a:gd name="T15" fmla="*/ 266 h 266"/>
                    <a:gd name="T16" fmla="*/ 31 w 82"/>
                    <a:gd name="T17" fmla="*/ 118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2" h="266">
                      <a:moveTo>
                        <a:pt x="31" y="118"/>
                      </a:moveTo>
                      <a:cubicBezTo>
                        <a:pt x="31" y="118"/>
                        <a:pt x="77" y="16"/>
                        <a:pt x="79" y="8"/>
                      </a:cubicBezTo>
                      <a:cubicBezTo>
                        <a:pt x="82" y="0"/>
                        <a:pt x="57" y="88"/>
                        <a:pt x="57" y="98"/>
                      </a:cubicBezTo>
                      <a:cubicBezTo>
                        <a:pt x="57" y="108"/>
                        <a:pt x="49" y="129"/>
                        <a:pt x="45" y="141"/>
                      </a:cubicBezTo>
                      <a:cubicBezTo>
                        <a:pt x="42" y="153"/>
                        <a:pt x="25" y="185"/>
                        <a:pt x="29" y="185"/>
                      </a:cubicBezTo>
                      <a:cubicBezTo>
                        <a:pt x="32" y="185"/>
                        <a:pt x="40" y="169"/>
                        <a:pt x="47" y="158"/>
                      </a:cubicBezTo>
                      <a:cubicBezTo>
                        <a:pt x="53" y="146"/>
                        <a:pt x="34" y="209"/>
                        <a:pt x="23" y="228"/>
                      </a:cubicBezTo>
                      <a:cubicBezTo>
                        <a:pt x="11" y="248"/>
                        <a:pt x="0" y="266"/>
                        <a:pt x="0" y="266"/>
                      </a:cubicBezTo>
                      <a:cubicBezTo>
                        <a:pt x="0" y="266"/>
                        <a:pt x="4" y="158"/>
                        <a:pt x="31" y="118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58">
                  <a:extLst>
                    <a:ext uri="{FF2B5EF4-FFF2-40B4-BE49-F238E27FC236}">
                      <a16:creationId xmlns:a16="http://schemas.microsoft.com/office/drawing/2014/main" id="{E2F537B4-814C-4BE9-A1CB-38B24D7922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55207" y="3894356"/>
                  <a:ext cx="198660" cy="478504"/>
                </a:xfrm>
                <a:custGeom>
                  <a:avLst/>
                  <a:gdLst>
                    <a:gd name="T0" fmla="*/ 49 w 88"/>
                    <a:gd name="T1" fmla="*/ 212 h 212"/>
                    <a:gd name="T2" fmla="*/ 35 w 88"/>
                    <a:gd name="T3" fmla="*/ 202 h 212"/>
                    <a:gd name="T4" fmla="*/ 15 w 88"/>
                    <a:gd name="T5" fmla="*/ 180 h 212"/>
                    <a:gd name="T6" fmla="*/ 54 w 88"/>
                    <a:gd name="T7" fmla="*/ 148 h 212"/>
                    <a:gd name="T8" fmla="*/ 50 w 88"/>
                    <a:gd name="T9" fmla="*/ 72 h 212"/>
                    <a:gd name="T10" fmla="*/ 50 w 88"/>
                    <a:gd name="T11" fmla="*/ 11 h 212"/>
                    <a:gd name="T12" fmla="*/ 65 w 88"/>
                    <a:gd name="T13" fmla="*/ 80 h 212"/>
                    <a:gd name="T14" fmla="*/ 80 w 88"/>
                    <a:gd name="T15" fmla="*/ 119 h 212"/>
                    <a:gd name="T16" fmla="*/ 76 w 88"/>
                    <a:gd name="T17" fmla="*/ 156 h 212"/>
                    <a:gd name="T18" fmla="*/ 49 w 88"/>
                    <a:gd name="T19" fmla="*/ 2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" h="212">
                      <a:moveTo>
                        <a:pt x="49" y="212"/>
                      </a:moveTo>
                      <a:cubicBezTo>
                        <a:pt x="49" y="212"/>
                        <a:pt x="41" y="201"/>
                        <a:pt x="35" y="202"/>
                      </a:cubicBezTo>
                      <a:cubicBezTo>
                        <a:pt x="29" y="202"/>
                        <a:pt x="0" y="190"/>
                        <a:pt x="15" y="180"/>
                      </a:cubicBezTo>
                      <a:cubicBezTo>
                        <a:pt x="30" y="170"/>
                        <a:pt x="50" y="163"/>
                        <a:pt x="54" y="148"/>
                      </a:cubicBezTo>
                      <a:cubicBezTo>
                        <a:pt x="59" y="134"/>
                        <a:pt x="55" y="88"/>
                        <a:pt x="50" y="72"/>
                      </a:cubicBezTo>
                      <a:cubicBezTo>
                        <a:pt x="46" y="55"/>
                        <a:pt x="40" y="22"/>
                        <a:pt x="50" y="11"/>
                      </a:cubicBezTo>
                      <a:cubicBezTo>
                        <a:pt x="60" y="0"/>
                        <a:pt x="42" y="42"/>
                        <a:pt x="65" y="80"/>
                      </a:cubicBezTo>
                      <a:cubicBezTo>
                        <a:pt x="88" y="118"/>
                        <a:pt x="80" y="112"/>
                        <a:pt x="80" y="119"/>
                      </a:cubicBezTo>
                      <a:cubicBezTo>
                        <a:pt x="79" y="126"/>
                        <a:pt x="76" y="149"/>
                        <a:pt x="76" y="156"/>
                      </a:cubicBezTo>
                      <a:cubicBezTo>
                        <a:pt x="76" y="164"/>
                        <a:pt x="65" y="185"/>
                        <a:pt x="49" y="21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59">
                  <a:extLst>
                    <a:ext uri="{FF2B5EF4-FFF2-40B4-BE49-F238E27FC236}">
                      <a16:creationId xmlns:a16="http://schemas.microsoft.com/office/drawing/2014/main" id="{76200DDF-515D-4C1B-9ECC-52AFCA395E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97617" y="3407257"/>
                  <a:ext cx="117477" cy="324733"/>
                </a:xfrm>
                <a:custGeom>
                  <a:avLst/>
                  <a:gdLst>
                    <a:gd name="T0" fmla="*/ 24 w 52"/>
                    <a:gd name="T1" fmla="*/ 144 h 144"/>
                    <a:gd name="T2" fmla="*/ 29 w 52"/>
                    <a:gd name="T3" fmla="*/ 112 h 144"/>
                    <a:gd name="T4" fmla="*/ 41 w 52"/>
                    <a:gd name="T5" fmla="*/ 116 h 144"/>
                    <a:gd name="T6" fmla="*/ 40 w 52"/>
                    <a:gd name="T7" fmla="*/ 104 h 144"/>
                    <a:gd name="T8" fmla="*/ 25 w 52"/>
                    <a:gd name="T9" fmla="*/ 83 h 144"/>
                    <a:gd name="T10" fmla="*/ 34 w 52"/>
                    <a:gd name="T11" fmla="*/ 45 h 144"/>
                    <a:gd name="T12" fmla="*/ 16 w 52"/>
                    <a:gd name="T13" fmla="*/ 5 h 144"/>
                    <a:gd name="T14" fmla="*/ 24 w 52"/>
                    <a:gd name="T15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144">
                      <a:moveTo>
                        <a:pt x="24" y="144"/>
                      </a:moveTo>
                      <a:cubicBezTo>
                        <a:pt x="24" y="144"/>
                        <a:pt x="28" y="120"/>
                        <a:pt x="29" y="112"/>
                      </a:cubicBezTo>
                      <a:cubicBezTo>
                        <a:pt x="30" y="103"/>
                        <a:pt x="30" y="114"/>
                        <a:pt x="41" y="116"/>
                      </a:cubicBezTo>
                      <a:cubicBezTo>
                        <a:pt x="52" y="117"/>
                        <a:pt x="52" y="118"/>
                        <a:pt x="40" y="104"/>
                      </a:cubicBezTo>
                      <a:cubicBezTo>
                        <a:pt x="28" y="90"/>
                        <a:pt x="26" y="93"/>
                        <a:pt x="25" y="83"/>
                      </a:cubicBezTo>
                      <a:cubicBezTo>
                        <a:pt x="24" y="73"/>
                        <a:pt x="28" y="41"/>
                        <a:pt x="34" y="45"/>
                      </a:cubicBezTo>
                      <a:cubicBezTo>
                        <a:pt x="34" y="45"/>
                        <a:pt x="20" y="10"/>
                        <a:pt x="16" y="5"/>
                      </a:cubicBezTo>
                      <a:cubicBezTo>
                        <a:pt x="12" y="0"/>
                        <a:pt x="0" y="112"/>
                        <a:pt x="24" y="144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60">
                  <a:extLst>
                    <a:ext uri="{FF2B5EF4-FFF2-40B4-BE49-F238E27FC236}">
                      <a16:creationId xmlns:a16="http://schemas.microsoft.com/office/drawing/2014/main" id="{C9CCFAFE-D280-4562-9C09-C19FC01834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02962" y="3624064"/>
                  <a:ext cx="144220" cy="127983"/>
                </a:xfrm>
                <a:custGeom>
                  <a:avLst/>
                  <a:gdLst>
                    <a:gd name="T0" fmla="*/ 0 w 64"/>
                    <a:gd name="T1" fmla="*/ 28 h 57"/>
                    <a:gd name="T2" fmla="*/ 13 w 64"/>
                    <a:gd name="T3" fmla="*/ 52 h 57"/>
                    <a:gd name="T4" fmla="*/ 56 w 64"/>
                    <a:gd name="T5" fmla="*/ 30 h 57"/>
                    <a:gd name="T6" fmla="*/ 55 w 64"/>
                    <a:gd name="T7" fmla="*/ 0 h 57"/>
                    <a:gd name="T8" fmla="*/ 48 w 64"/>
                    <a:gd name="T9" fmla="*/ 28 h 57"/>
                    <a:gd name="T10" fmla="*/ 23 w 64"/>
                    <a:gd name="T11" fmla="*/ 46 h 57"/>
                    <a:gd name="T12" fmla="*/ 9 w 64"/>
                    <a:gd name="T13" fmla="*/ 21 h 57"/>
                    <a:gd name="T14" fmla="*/ 0 w 64"/>
                    <a:gd name="T15" fmla="*/ 2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57">
                      <a:moveTo>
                        <a:pt x="0" y="28"/>
                      </a:moveTo>
                      <a:cubicBezTo>
                        <a:pt x="0" y="28"/>
                        <a:pt x="6" y="48"/>
                        <a:pt x="13" y="52"/>
                      </a:cubicBezTo>
                      <a:cubicBezTo>
                        <a:pt x="19" y="57"/>
                        <a:pt x="33" y="56"/>
                        <a:pt x="56" y="30"/>
                      </a:cubicBezTo>
                      <a:cubicBezTo>
                        <a:pt x="56" y="30"/>
                        <a:pt x="64" y="23"/>
                        <a:pt x="55" y="0"/>
                      </a:cubicBezTo>
                      <a:cubicBezTo>
                        <a:pt x="55" y="0"/>
                        <a:pt x="59" y="18"/>
                        <a:pt x="48" y="28"/>
                      </a:cubicBezTo>
                      <a:cubicBezTo>
                        <a:pt x="37" y="39"/>
                        <a:pt x="23" y="46"/>
                        <a:pt x="23" y="46"/>
                      </a:cubicBezTo>
                      <a:cubicBezTo>
                        <a:pt x="23" y="46"/>
                        <a:pt x="12" y="44"/>
                        <a:pt x="9" y="21"/>
                      </a:cubicBezTo>
                      <a:lnTo>
                        <a:pt x="0" y="28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61">
                  <a:extLst>
                    <a:ext uri="{FF2B5EF4-FFF2-40B4-BE49-F238E27FC236}">
                      <a16:creationId xmlns:a16="http://schemas.microsoft.com/office/drawing/2014/main" id="{3EFD4B79-9C5E-4A24-9D62-73AE918C0D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849377" y="3829409"/>
                  <a:ext cx="107926" cy="222538"/>
                </a:xfrm>
                <a:custGeom>
                  <a:avLst/>
                  <a:gdLst>
                    <a:gd name="T0" fmla="*/ 48 w 48"/>
                    <a:gd name="T1" fmla="*/ 0 h 99"/>
                    <a:gd name="T2" fmla="*/ 8 w 48"/>
                    <a:gd name="T3" fmla="*/ 82 h 99"/>
                    <a:gd name="T4" fmla="*/ 31 w 48"/>
                    <a:gd name="T5" fmla="*/ 58 h 99"/>
                    <a:gd name="T6" fmla="*/ 46 w 48"/>
                    <a:gd name="T7" fmla="*/ 34 h 99"/>
                    <a:gd name="T8" fmla="*/ 48 w 48"/>
                    <a:gd name="T9" fmla="*/ 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99">
                      <a:moveTo>
                        <a:pt x="48" y="0"/>
                      </a:moveTo>
                      <a:cubicBezTo>
                        <a:pt x="48" y="0"/>
                        <a:pt x="16" y="65"/>
                        <a:pt x="8" y="82"/>
                      </a:cubicBezTo>
                      <a:cubicBezTo>
                        <a:pt x="0" y="99"/>
                        <a:pt x="22" y="73"/>
                        <a:pt x="31" y="58"/>
                      </a:cubicBezTo>
                      <a:cubicBezTo>
                        <a:pt x="40" y="43"/>
                        <a:pt x="46" y="34"/>
                        <a:pt x="46" y="34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62">
                  <a:extLst>
                    <a:ext uri="{FF2B5EF4-FFF2-40B4-BE49-F238E27FC236}">
                      <a16:creationId xmlns:a16="http://schemas.microsoft.com/office/drawing/2014/main" id="{B74BA13A-0D2F-450B-8DB7-1B7FD189AD9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60653" y="3727214"/>
                  <a:ext cx="311361" cy="158546"/>
                </a:xfrm>
                <a:custGeom>
                  <a:avLst/>
                  <a:gdLst>
                    <a:gd name="T0" fmla="*/ 81 w 138"/>
                    <a:gd name="T1" fmla="*/ 9 h 70"/>
                    <a:gd name="T2" fmla="*/ 116 w 138"/>
                    <a:gd name="T3" fmla="*/ 13 h 70"/>
                    <a:gd name="T4" fmla="*/ 136 w 138"/>
                    <a:gd name="T5" fmla="*/ 8 h 70"/>
                    <a:gd name="T6" fmla="*/ 116 w 138"/>
                    <a:gd name="T7" fmla="*/ 20 h 70"/>
                    <a:gd name="T8" fmla="*/ 81 w 138"/>
                    <a:gd name="T9" fmla="*/ 20 h 70"/>
                    <a:gd name="T10" fmla="*/ 80 w 138"/>
                    <a:gd name="T11" fmla="*/ 35 h 70"/>
                    <a:gd name="T12" fmla="*/ 85 w 138"/>
                    <a:gd name="T13" fmla="*/ 50 h 70"/>
                    <a:gd name="T14" fmla="*/ 73 w 138"/>
                    <a:gd name="T15" fmla="*/ 41 h 70"/>
                    <a:gd name="T16" fmla="*/ 69 w 138"/>
                    <a:gd name="T17" fmla="*/ 20 h 70"/>
                    <a:gd name="T18" fmla="*/ 32 w 138"/>
                    <a:gd name="T19" fmla="*/ 26 h 70"/>
                    <a:gd name="T20" fmla="*/ 6 w 138"/>
                    <a:gd name="T21" fmla="*/ 44 h 70"/>
                    <a:gd name="T22" fmla="*/ 20 w 138"/>
                    <a:gd name="T23" fmla="*/ 22 h 70"/>
                    <a:gd name="T24" fmla="*/ 62 w 138"/>
                    <a:gd name="T25" fmla="*/ 14 h 70"/>
                    <a:gd name="T26" fmla="*/ 81 w 138"/>
                    <a:gd name="T27" fmla="*/ 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8" h="70">
                      <a:moveTo>
                        <a:pt x="81" y="9"/>
                      </a:moveTo>
                      <a:cubicBezTo>
                        <a:pt x="81" y="9"/>
                        <a:pt x="107" y="17"/>
                        <a:pt x="116" y="13"/>
                      </a:cubicBezTo>
                      <a:cubicBezTo>
                        <a:pt x="126" y="9"/>
                        <a:pt x="133" y="8"/>
                        <a:pt x="136" y="8"/>
                      </a:cubicBezTo>
                      <a:cubicBezTo>
                        <a:pt x="138" y="8"/>
                        <a:pt x="127" y="20"/>
                        <a:pt x="116" y="20"/>
                      </a:cubicBezTo>
                      <a:cubicBezTo>
                        <a:pt x="106" y="20"/>
                        <a:pt x="91" y="26"/>
                        <a:pt x="81" y="20"/>
                      </a:cubicBezTo>
                      <a:cubicBezTo>
                        <a:pt x="71" y="13"/>
                        <a:pt x="80" y="29"/>
                        <a:pt x="80" y="35"/>
                      </a:cubicBezTo>
                      <a:cubicBezTo>
                        <a:pt x="80" y="41"/>
                        <a:pt x="82" y="49"/>
                        <a:pt x="85" y="50"/>
                      </a:cubicBezTo>
                      <a:cubicBezTo>
                        <a:pt x="85" y="50"/>
                        <a:pt x="78" y="70"/>
                        <a:pt x="73" y="41"/>
                      </a:cubicBezTo>
                      <a:cubicBezTo>
                        <a:pt x="73" y="41"/>
                        <a:pt x="73" y="20"/>
                        <a:pt x="69" y="20"/>
                      </a:cubicBezTo>
                      <a:cubicBezTo>
                        <a:pt x="65" y="19"/>
                        <a:pt x="60" y="27"/>
                        <a:pt x="32" y="26"/>
                      </a:cubicBezTo>
                      <a:cubicBezTo>
                        <a:pt x="32" y="26"/>
                        <a:pt x="6" y="38"/>
                        <a:pt x="6" y="44"/>
                      </a:cubicBezTo>
                      <a:cubicBezTo>
                        <a:pt x="7" y="51"/>
                        <a:pt x="0" y="28"/>
                        <a:pt x="20" y="22"/>
                      </a:cubicBezTo>
                      <a:cubicBezTo>
                        <a:pt x="40" y="15"/>
                        <a:pt x="52" y="18"/>
                        <a:pt x="62" y="14"/>
                      </a:cubicBezTo>
                      <a:cubicBezTo>
                        <a:pt x="71" y="10"/>
                        <a:pt x="70" y="0"/>
                        <a:pt x="81" y="9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9" name="Freeform 63">
                  <a:extLst>
                    <a:ext uri="{FF2B5EF4-FFF2-40B4-BE49-F238E27FC236}">
                      <a16:creationId xmlns:a16="http://schemas.microsoft.com/office/drawing/2014/main" id="{501A036E-B15E-4FEA-8EFF-87BEC5C79D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5763" y="2450250"/>
                  <a:ext cx="385859" cy="1162352"/>
                </a:xfrm>
                <a:custGeom>
                  <a:avLst/>
                  <a:gdLst>
                    <a:gd name="T0" fmla="*/ 139 w 171"/>
                    <a:gd name="T1" fmla="*/ 510 h 515"/>
                    <a:gd name="T2" fmla="*/ 120 w 171"/>
                    <a:gd name="T3" fmla="*/ 451 h 515"/>
                    <a:gd name="T4" fmla="*/ 83 w 171"/>
                    <a:gd name="T5" fmla="*/ 424 h 515"/>
                    <a:gd name="T6" fmla="*/ 98 w 171"/>
                    <a:gd name="T7" fmla="*/ 418 h 515"/>
                    <a:gd name="T8" fmla="*/ 102 w 171"/>
                    <a:gd name="T9" fmla="*/ 398 h 515"/>
                    <a:gd name="T10" fmla="*/ 89 w 171"/>
                    <a:gd name="T11" fmla="*/ 378 h 515"/>
                    <a:gd name="T12" fmla="*/ 75 w 171"/>
                    <a:gd name="T13" fmla="*/ 365 h 515"/>
                    <a:gd name="T14" fmla="*/ 82 w 171"/>
                    <a:gd name="T15" fmla="*/ 345 h 515"/>
                    <a:gd name="T16" fmla="*/ 70 w 171"/>
                    <a:gd name="T17" fmla="*/ 340 h 515"/>
                    <a:gd name="T18" fmla="*/ 71 w 171"/>
                    <a:gd name="T19" fmla="*/ 319 h 515"/>
                    <a:gd name="T20" fmla="*/ 76 w 171"/>
                    <a:gd name="T21" fmla="*/ 292 h 515"/>
                    <a:gd name="T22" fmla="*/ 67 w 171"/>
                    <a:gd name="T23" fmla="*/ 274 h 515"/>
                    <a:gd name="T24" fmla="*/ 58 w 171"/>
                    <a:gd name="T25" fmla="*/ 263 h 515"/>
                    <a:gd name="T26" fmla="*/ 76 w 171"/>
                    <a:gd name="T27" fmla="*/ 211 h 515"/>
                    <a:gd name="T28" fmla="*/ 65 w 171"/>
                    <a:gd name="T29" fmla="*/ 81 h 515"/>
                    <a:gd name="T30" fmla="*/ 16 w 171"/>
                    <a:gd name="T31" fmla="*/ 18 h 515"/>
                    <a:gd name="T32" fmla="*/ 83 w 171"/>
                    <a:gd name="T33" fmla="*/ 138 h 515"/>
                    <a:gd name="T34" fmla="*/ 102 w 171"/>
                    <a:gd name="T35" fmla="*/ 182 h 515"/>
                    <a:gd name="T36" fmla="*/ 99 w 171"/>
                    <a:gd name="T37" fmla="*/ 198 h 515"/>
                    <a:gd name="T38" fmla="*/ 86 w 171"/>
                    <a:gd name="T39" fmla="*/ 216 h 515"/>
                    <a:gd name="T40" fmla="*/ 89 w 171"/>
                    <a:gd name="T41" fmla="*/ 268 h 515"/>
                    <a:gd name="T42" fmla="*/ 88 w 171"/>
                    <a:gd name="T43" fmla="*/ 323 h 515"/>
                    <a:gd name="T44" fmla="*/ 96 w 171"/>
                    <a:gd name="T45" fmla="*/ 364 h 515"/>
                    <a:gd name="T46" fmla="*/ 113 w 171"/>
                    <a:gd name="T47" fmla="*/ 416 h 515"/>
                    <a:gd name="T48" fmla="*/ 170 w 171"/>
                    <a:gd name="T49" fmla="*/ 483 h 515"/>
                    <a:gd name="T50" fmla="*/ 171 w 171"/>
                    <a:gd name="T51" fmla="*/ 486 h 515"/>
                    <a:gd name="T52" fmla="*/ 145 w 171"/>
                    <a:gd name="T53" fmla="*/ 462 h 515"/>
                    <a:gd name="T54" fmla="*/ 158 w 171"/>
                    <a:gd name="T55" fmla="*/ 492 h 515"/>
                    <a:gd name="T56" fmla="*/ 143 w 171"/>
                    <a:gd name="T57" fmla="*/ 474 h 515"/>
                    <a:gd name="T58" fmla="*/ 139 w 171"/>
                    <a:gd name="T59" fmla="*/ 510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71" h="515">
                      <a:moveTo>
                        <a:pt x="139" y="510"/>
                      </a:moveTo>
                      <a:cubicBezTo>
                        <a:pt x="139" y="510"/>
                        <a:pt x="134" y="467"/>
                        <a:pt x="120" y="451"/>
                      </a:cubicBezTo>
                      <a:cubicBezTo>
                        <a:pt x="105" y="435"/>
                        <a:pt x="85" y="435"/>
                        <a:pt x="83" y="424"/>
                      </a:cubicBezTo>
                      <a:cubicBezTo>
                        <a:pt x="81" y="412"/>
                        <a:pt x="90" y="420"/>
                        <a:pt x="98" y="418"/>
                      </a:cubicBezTo>
                      <a:cubicBezTo>
                        <a:pt x="105" y="417"/>
                        <a:pt x="104" y="404"/>
                        <a:pt x="102" y="398"/>
                      </a:cubicBezTo>
                      <a:cubicBezTo>
                        <a:pt x="100" y="393"/>
                        <a:pt x="94" y="388"/>
                        <a:pt x="89" y="378"/>
                      </a:cubicBezTo>
                      <a:cubicBezTo>
                        <a:pt x="84" y="368"/>
                        <a:pt x="82" y="362"/>
                        <a:pt x="75" y="365"/>
                      </a:cubicBezTo>
                      <a:cubicBezTo>
                        <a:pt x="68" y="368"/>
                        <a:pt x="82" y="357"/>
                        <a:pt x="82" y="345"/>
                      </a:cubicBezTo>
                      <a:cubicBezTo>
                        <a:pt x="83" y="333"/>
                        <a:pt x="78" y="342"/>
                        <a:pt x="70" y="340"/>
                      </a:cubicBezTo>
                      <a:cubicBezTo>
                        <a:pt x="61" y="337"/>
                        <a:pt x="60" y="336"/>
                        <a:pt x="71" y="319"/>
                      </a:cubicBezTo>
                      <a:cubicBezTo>
                        <a:pt x="82" y="302"/>
                        <a:pt x="75" y="301"/>
                        <a:pt x="76" y="292"/>
                      </a:cubicBezTo>
                      <a:cubicBezTo>
                        <a:pt x="76" y="284"/>
                        <a:pt x="77" y="264"/>
                        <a:pt x="67" y="274"/>
                      </a:cubicBezTo>
                      <a:cubicBezTo>
                        <a:pt x="57" y="284"/>
                        <a:pt x="43" y="292"/>
                        <a:pt x="58" y="263"/>
                      </a:cubicBezTo>
                      <a:cubicBezTo>
                        <a:pt x="72" y="234"/>
                        <a:pt x="76" y="222"/>
                        <a:pt x="76" y="211"/>
                      </a:cubicBezTo>
                      <a:cubicBezTo>
                        <a:pt x="76" y="200"/>
                        <a:pt x="75" y="102"/>
                        <a:pt x="65" y="81"/>
                      </a:cubicBezTo>
                      <a:cubicBezTo>
                        <a:pt x="55" y="60"/>
                        <a:pt x="32" y="20"/>
                        <a:pt x="16" y="18"/>
                      </a:cubicBezTo>
                      <a:cubicBezTo>
                        <a:pt x="0" y="16"/>
                        <a:pt x="64" y="0"/>
                        <a:pt x="83" y="138"/>
                      </a:cubicBezTo>
                      <a:cubicBezTo>
                        <a:pt x="83" y="138"/>
                        <a:pt x="94" y="172"/>
                        <a:pt x="102" y="182"/>
                      </a:cubicBezTo>
                      <a:cubicBezTo>
                        <a:pt x="110" y="191"/>
                        <a:pt x="107" y="205"/>
                        <a:pt x="99" y="198"/>
                      </a:cubicBezTo>
                      <a:cubicBezTo>
                        <a:pt x="91" y="192"/>
                        <a:pt x="84" y="210"/>
                        <a:pt x="86" y="216"/>
                      </a:cubicBezTo>
                      <a:cubicBezTo>
                        <a:pt x="89" y="222"/>
                        <a:pt x="81" y="256"/>
                        <a:pt x="89" y="268"/>
                      </a:cubicBezTo>
                      <a:cubicBezTo>
                        <a:pt x="97" y="279"/>
                        <a:pt x="86" y="309"/>
                        <a:pt x="88" y="323"/>
                      </a:cubicBezTo>
                      <a:cubicBezTo>
                        <a:pt x="90" y="337"/>
                        <a:pt x="90" y="351"/>
                        <a:pt x="96" y="364"/>
                      </a:cubicBezTo>
                      <a:cubicBezTo>
                        <a:pt x="102" y="376"/>
                        <a:pt x="111" y="404"/>
                        <a:pt x="113" y="416"/>
                      </a:cubicBezTo>
                      <a:cubicBezTo>
                        <a:pt x="115" y="427"/>
                        <a:pt x="149" y="442"/>
                        <a:pt x="170" y="483"/>
                      </a:cubicBezTo>
                      <a:cubicBezTo>
                        <a:pt x="170" y="484"/>
                        <a:pt x="170" y="485"/>
                        <a:pt x="171" y="486"/>
                      </a:cubicBezTo>
                      <a:cubicBezTo>
                        <a:pt x="171" y="486"/>
                        <a:pt x="166" y="490"/>
                        <a:pt x="145" y="462"/>
                      </a:cubicBezTo>
                      <a:cubicBezTo>
                        <a:pt x="145" y="462"/>
                        <a:pt x="152" y="480"/>
                        <a:pt x="158" y="492"/>
                      </a:cubicBezTo>
                      <a:cubicBezTo>
                        <a:pt x="164" y="504"/>
                        <a:pt x="158" y="515"/>
                        <a:pt x="143" y="474"/>
                      </a:cubicBezTo>
                      <a:cubicBezTo>
                        <a:pt x="143" y="474"/>
                        <a:pt x="150" y="506"/>
                        <a:pt x="139" y="51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64">
                  <a:extLst>
                    <a:ext uri="{FF2B5EF4-FFF2-40B4-BE49-F238E27FC236}">
                      <a16:creationId xmlns:a16="http://schemas.microsoft.com/office/drawing/2014/main" id="{7FCFD428-2173-4460-A09F-93846A0470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8194" y="3506587"/>
                  <a:ext cx="107926" cy="159501"/>
                </a:xfrm>
                <a:custGeom>
                  <a:avLst/>
                  <a:gdLst>
                    <a:gd name="T0" fmla="*/ 2 w 48"/>
                    <a:gd name="T1" fmla="*/ 63 h 71"/>
                    <a:gd name="T2" fmla="*/ 48 w 48"/>
                    <a:gd name="T3" fmla="*/ 0 h 71"/>
                    <a:gd name="T4" fmla="*/ 40 w 48"/>
                    <a:gd name="T5" fmla="*/ 45 h 71"/>
                    <a:gd name="T6" fmla="*/ 12 w 48"/>
                    <a:gd name="T7" fmla="*/ 71 h 71"/>
                    <a:gd name="T8" fmla="*/ 2 w 48"/>
                    <a:gd name="T9" fmla="*/ 63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71">
                      <a:moveTo>
                        <a:pt x="2" y="63"/>
                      </a:moveTo>
                      <a:cubicBezTo>
                        <a:pt x="2" y="63"/>
                        <a:pt x="44" y="30"/>
                        <a:pt x="48" y="0"/>
                      </a:cubicBezTo>
                      <a:cubicBezTo>
                        <a:pt x="48" y="0"/>
                        <a:pt x="48" y="32"/>
                        <a:pt x="40" y="45"/>
                      </a:cubicBezTo>
                      <a:cubicBezTo>
                        <a:pt x="33" y="58"/>
                        <a:pt x="12" y="71"/>
                        <a:pt x="12" y="71"/>
                      </a:cubicBezTo>
                      <a:cubicBezTo>
                        <a:pt x="12" y="71"/>
                        <a:pt x="0" y="68"/>
                        <a:pt x="2" y="63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65">
                  <a:extLst>
                    <a:ext uri="{FF2B5EF4-FFF2-40B4-BE49-F238E27FC236}">
                      <a16:creationId xmlns:a16="http://schemas.microsoft.com/office/drawing/2014/main" id="{88809CB2-88F4-4B27-B317-524A387FC6D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59313" y="3140785"/>
                  <a:ext cx="243550" cy="234954"/>
                </a:xfrm>
                <a:custGeom>
                  <a:avLst/>
                  <a:gdLst>
                    <a:gd name="T0" fmla="*/ 4 w 108"/>
                    <a:gd name="T1" fmla="*/ 103 h 104"/>
                    <a:gd name="T2" fmla="*/ 84 w 108"/>
                    <a:gd name="T3" fmla="*/ 80 h 104"/>
                    <a:gd name="T4" fmla="*/ 104 w 108"/>
                    <a:gd name="T5" fmla="*/ 22 h 104"/>
                    <a:gd name="T6" fmla="*/ 84 w 108"/>
                    <a:gd name="T7" fmla="*/ 54 h 104"/>
                    <a:gd name="T8" fmla="*/ 42 w 108"/>
                    <a:gd name="T9" fmla="*/ 84 h 104"/>
                    <a:gd name="T10" fmla="*/ 0 w 108"/>
                    <a:gd name="T11" fmla="*/ 90 h 104"/>
                    <a:gd name="T12" fmla="*/ 4 w 108"/>
                    <a:gd name="T13" fmla="*/ 10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8" h="104">
                      <a:moveTo>
                        <a:pt x="4" y="103"/>
                      </a:moveTo>
                      <a:cubicBezTo>
                        <a:pt x="4" y="103"/>
                        <a:pt x="72" y="104"/>
                        <a:pt x="84" y="80"/>
                      </a:cubicBezTo>
                      <a:cubicBezTo>
                        <a:pt x="97" y="57"/>
                        <a:pt x="101" y="43"/>
                        <a:pt x="104" y="22"/>
                      </a:cubicBezTo>
                      <a:cubicBezTo>
                        <a:pt x="108" y="0"/>
                        <a:pt x="97" y="42"/>
                        <a:pt x="84" y="54"/>
                      </a:cubicBezTo>
                      <a:cubicBezTo>
                        <a:pt x="70" y="66"/>
                        <a:pt x="58" y="81"/>
                        <a:pt x="42" y="84"/>
                      </a:cubicBezTo>
                      <a:cubicBezTo>
                        <a:pt x="25" y="88"/>
                        <a:pt x="0" y="90"/>
                        <a:pt x="0" y="90"/>
                      </a:cubicBezTo>
                      <a:lnTo>
                        <a:pt x="4" y="103"/>
                      </a:ln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66">
                  <a:extLst>
                    <a:ext uri="{FF2B5EF4-FFF2-40B4-BE49-F238E27FC236}">
                      <a16:creationId xmlns:a16="http://schemas.microsoft.com/office/drawing/2014/main" id="{43F37DFC-2976-47A0-914A-E695B77661E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10318" y="2360471"/>
                  <a:ext cx="395410" cy="667613"/>
                </a:xfrm>
                <a:custGeom>
                  <a:avLst/>
                  <a:gdLst>
                    <a:gd name="T0" fmla="*/ 0 w 175"/>
                    <a:gd name="T1" fmla="*/ 0 h 296"/>
                    <a:gd name="T2" fmla="*/ 30 w 175"/>
                    <a:gd name="T3" fmla="*/ 47 h 296"/>
                    <a:gd name="T4" fmla="*/ 54 w 175"/>
                    <a:gd name="T5" fmla="*/ 60 h 296"/>
                    <a:gd name="T6" fmla="*/ 49 w 175"/>
                    <a:gd name="T7" fmla="*/ 81 h 296"/>
                    <a:gd name="T8" fmla="*/ 72 w 175"/>
                    <a:gd name="T9" fmla="*/ 114 h 296"/>
                    <a:gd name="T10" fmla="*/ 148 w 175"/>
                    <a:gd name="T11" fmla="*/ 230 h 296"/>
                    <a:gd name="T12" fmla="*/ 173 w 175"/>
                    <a:gd name="T13" fmla="*/ 291 h 296"/>
                    <a:gd name="T14" fmla="*/ 135 w 175"/>
                    <a:gd name="T15" fmla="*/ 224 h 296"/>
                    <a:gd name="T16" fmla="*/ 78 w 175"/>
                    <a:gd name="T17" fmla="*/ 139 h 296"/>
                    <a:gd name="T18" fmla="*/ 44 w 175"/>
                    <a:gd name="T19" fmla="*/ 76 h 296"/>
                    <a:gd name="T20" fmla="*/ 37 w 175"/>
                    <a:gd name="T21" fmla="*/ 58 h 296"/>
                    <a:gd name="T22" fmla="*/ 0 w 175"/>
                    <a:gd name="T23" fmla="*/ 0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5" h="296">
                      <a:moveTo>
                        <a:pt x="0" y="0"/>
                      </a:moveTo>
                      <a:cubicBezTo>
                        <a:pt x="0" y="0"/>
                        <a:pt x="24" y="41"/>
                        <a:pt x="30" y="47"/>
                      </a:cubicBezTo>
                      <a:cubicBezTo>
                        <a:pt x="35" y="53"/>
                        <a:pt x="51" y="56"/>
                        <a:pt x="54" y="60"/>
                      </a:cubicBezTo>
                      <a:cubicBezTo>
                        <a:pt x="58" y="64"/>
                        <a:pt x="53" y="77"/>
                        <a:pt x="49" y="81"/>
                      </a:cubicBezTo>
                      <a:cubicBezTo>
                        <a:pt x="45" y="85"/>
                        <a:pt x="58" y="97"/>
                        <a:pt x="72" y="114"/>
                      </a:cubicBezTo>
                      <a:cubicBezTo>
                        <a:pt x="85" y="132"/>
                        <a:pt x="126" y="170"/>
                        <a:pt x="148" y="230"/>
                      </a:cubicBezTo>
                      <a:cubicBezTo>
                        <a:pt x="148" y="230"/>
                        <a:pt x="171" y="286"/>
                        <a:pt x="173" y="291"/>
                      </a:cubicBezTo>
                      <a:cubicBezTo>
                        <a:pt x="175" y="296"/>
                        <a:pt x="153" y="254"/>
                        <a:pt x="135" y="224"/>
                      </a:cubicBezTo>
                      <a:cubicBezTo>
                        <a:pt x="135" y="224"/>
                        <a:pt x="128" y="195"/>
                        <a:pt x="78" y="139"/>
                      </a:cubicBezTo>
                      <a:cubicBezTo>
                        <a:pt x="78" y="139"/>
                        <a:pt x="18" y="76"/>
                        <a:pt x="44" y="76"/>
                      </a:cubicBezTo>
                      <a:cubicBezTo>
                        <a:pt x="44" y="76"/>
                        <a:pt x="55" y="68"/>
                        <a:pt x="37" y="58"/>
                      </a:cubicBezTo>
                      <a:cubicBezTo>
                        <a:pt x="19" y="47"/>
                        <a:pt x="10" y="29"/>
                        <a:pt x="0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67">
                  <a:extLst>
                    <a:ext uri="{FF2B5EF4-FFF2-40B4-BE49-F238E27FC236}">
                      <a16:creationId xmlns:a16="http://schemas.microsoft.com/office/drawing/2014/main" id="{88667D19-0BA0-45AC-942F-580BCA0330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27695" y="2960272"/>
                  <a:ext cx="158546" cy="207256"/>
                </a:xfrm>
                <a:custGeom>
                  <a:avLst/>
                  <a:gdLst>
                    <a:gd name="T0" fmla="*/ 2 w 70"/>
                    <a:gd name="T1" fmla="*/ 0 h 92"/>
                    <a:gd name="T2" fmla="*/ 4 w 70"/>
                    <a:gd name="T3" fmla="*/ 48 h 92"/>
                    <a:gd name="T4" fmla="*/ 7 w 70"/>
                    <a:gd name="T5" fmla="*/ 82 h 92"/>
                    <a:gd name="T6" fmla="*/ 36 w 70"/>
                    <a:gd name="T7" fmla="*/ 82 h 92"/>
                    <a:gd name="T8" fmla="*/ 65 w 70"/>
                    <a:gd name="T9" fmla="*/ 42 h 92"/>
                    <a:gd name="T10" fmla="*/ 42 w 70"/>
                    <a:gd name="T11" fmla="*/ 30 h 92"/>
                    <a:gd name="T12" fmla="*/ 23 w 70"/>
                    <a:gd name="T13" fmla="*/ 19 h 92"/>
                    <a:gd name="T14" fmla="*/ 2 w 70"/>
                    <a:gd name="T15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0" h="92">
                      <a:moveTo>
                        <a:pt x="2" y="0"/>
                      </a:moveTo>
                      <a:cubicBezTo>
                        <a:pt x="2" y="0"/>
                        <a:pt x="0" y="12"/>
                        <a:pt x="4" y="48"/>
                      </a:cubicBezTo>
                      <a:cubicBezTo>
                        <a:pt x="4" y="48"/>
                        <a:pt x="6" y="76"/>
                        <a:pt x="7" y="82"/>
                      </a:cubicBezTo>
                      <a:cubicBezTo>
                        <a:pt x="7" y="88"/>
                        <a:pt x="28" y="92"/>
                        <a:pt x="36" y="82"/>
                      </a:cubicBezTo>
                      <a:cubicBezTo>
                        <a:pt x="44" y="72"/>
                        <a:pt x="60" y="48"/>
                        <a:pt x="65" y="42"/>
                      </a:cubicBezTo>
                      <a:cubicBezTo>
                        <a:pt x="69" y="35"/>
                        <a:pt x="70" y="28"/>
                        <a:pt x="42" y="30"/>
                      </a:cubicBezTo>
                      <a:cubicBezTo>
                        <a:pt x="42" y="30"/>
                        <a:pt x="32" y="32"/>
                        <a:pt x="23" y="19"/>
                      </a:cubicBezTo>
                      <a:cubicBezTo>
                        <a:pt x="23" y="19"/>
                        <a:pt x="9" y="9"/>
                        <a:pt x="2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68">
                  <a:extLst>
                    <a:ext uri="{FF2B5EF4-FFF2-40B4-BE49-F238E27FC236}">
                      <a16:creationId xmlns:a16="http://schemas.microsoft.com/office/drawing/2014/main" id="{F5C2A11E-CAD0-4AD6-A864-021AFDDF03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8643" y="2962182"/>
                  <a:ext cx="175738" cy="130848"/>
                </a:xfrm>
                <a:custGeom>
                  <a:avLst/>
                  <a:gdLst>
                    <a:gd name="T0" fmla="*/ 64 w 78"/>
                    <a:gd name="T1" fmla="*/ 35 h 58"/>
                    <a:gd name="T2" fmla="*/ 13 w 78"/>
                    <a:gd name="T3" fmla="*/ 3 h 58"/>
                    <a:gd name="T4" fmla="*/ 52 w 78"/>
                    <a:gd name="T5" fmla="*/ 38 h 58"/>
                    <a:gd name="T6" fmla="*/ 36 w 78"/>
                    <a:gd name="T7" fmla="*/ 34 h 58"/>
                    <a:gd name="T8" fmla="*/ 55 w 78"/>
                    <a:gd name="T9" fmla="*/ 51 h 58"/>
                    <a:gd name="T10" fmla="*/ 66 w 78"/>
                    <a:gd name="T11" fmla="*/ 56 h 58"/>
                    <a:gd name="T12" fmla="*/ 64 w 78"/>
                    <a:gd name="T13" fmla="*/ 3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" h="58">
                      <a:moveTo>
                        <a:pt x="64" y="35"/>
                      </a:moveTo>
                      <a:cubicBezTo>
                        <a:pt x="64" y="35"/>
                        <a:pt x="26" y="7"/>
                        <a:pt x="13" y="3"/>
                      </a:cubicBezTo>
                      <a:cubicBezTo>
                        <a:pt x="0" y="0"/>
                        <a:pt x="46" y="25"/>
                        <a:pt x="52" y="38"/>
                      </a:cubicBezTo>
                      <a:cubicBezTo>
                        <a:pt x="52" y="38"/>
                        <a:pt x="44" y="35"/>
                        <a:pt x="36" y="34"/>
                      </a:cubicBezTo>
                      <a:cubicBezTo>
                        <a:pt x="28" y="33"/>
                        <a:pt x="50" y="43"/>
                        <a:pt x="55" y="51"/>
                      </a:cubicBezTo>
                      <a:cubicBezTo>
                        <a:pt x="60" y="58"/>
                        <a:pt x="60" y="58"/>
                        <a:pt x="66" y="56"/>
                      </a:cubicBezTo>
                      <a:cubicBezTo>
                        <a:pt x="72" y="54"/>
                        <a:pt x="78" y="53"/>
                        <a:pt x="64" y="35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70">
                  <a:extLst>
                    <a:ext uri="{FF2B5EF4-FFF2-40B4-BE49-F238E27FC236}">
                      <a16:creationId xmlns:a16="http://schemas.microsoft.com/office/drawing/2014/main" id="{E128D184-C887-4421-B833-EC3D4CAE24B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45272" y="2387214"/>
                  <a:ext cx="83094" cy="139444"/>
                </a:xfrm>
                <a:custGeom>
                  <a:avLst/>
                  <a:gdLst>
                    <a:gd name="T0" fmla="*/ 13 w 37"/>
                    <a:gd name="T1" fmla="*/ 0 h 62"/>
                    <a:gd name="T2" fmla="*/ 31 w 37"/>
                    <a:gd name="T3" fmla="*/ 15 h 62"/>
                    <a:gd name="T4" fmla="*/ 36 w 37"/>
                    <a:gd name="T5" fmla="*/ 50 h 62"/>
                    <a:gd name="T6" fmla="*/ 34 w 37"/>
                    <a:gd name="T7" fmla="*/ 62 h 62"/>
                    <a:gd name="T8" fmla="*/ 28 w 37"/>
                    <a:gd name="T9" fmla="*/ 38 h 62"/>
                    <a:gd name="T10" fmla="*/ 18 w 37"/>
                    <a:gd name="T11" fmla="*/ 21 h 62"/>
                    <a:gd name="T12" fmla="*/ 13 w 37"/>
                    <a:gd name="T1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" h="62">
                      <a:moveTo>
                        <a:pt x="13" y="0"/>
                      </a:moveTo>
                      <a:cubicBezTo>
                        <a:pt x="13" y="0"/>
                        <a:pt x="28" y="11"/>
                        <a:pt x="31" y="15"/>
                      </a:cubicBezTo>
                      <a:cubicBezTo>
                        <a:pt x="34" y="19"/>
                        <a:pt x="36" y="46"/>
                        <a:pt x="36" y="50"/>
                      </a:cubicBezTo>
                      <a:cubicBezTo>
                        <a:pt x="37" y="54"/>
                        <a:pt x="34" y="62"/>
                        <a:pt x="34" y="62"/>
                      </a:cubicBezTo>
                      <a:cubicBezTo>
                        <a:pt x="34" y="62"/>
                        <a:pt x="30" y="62"/>
                        <a:pt x="28" y="38"/>
                      </a:cubicBezTo>
                      <a:cubicBezTo>
                        <a:pt x="28" y="38"/>
                        <a:pt x="32" y="32"/>
                        <a:pt x="18" y="21"/>
                      </a:cubicBezTo>
                      <a:cubicBezTo>
                        <a:pt x="18" y="21"/>
                        <a:pt x="0" y="9"/>
                        <a:pt x="13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71">
                  <a:extLst>
                    <a:ext uri="{FF2B5EF4-FFF2-40B4-BE49-F238E27FC236}">
                      <a16:creationId xmlns:a16="http://schemas.microsoft.com/office/drawing/2014/main" id="{EADA8530-8A55-4B65-AF7E-7D77CB4DEC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61323" y="2369067"/>
                  <a:ext cx="135624" cy="117477"/>
                </a:xfrm>
                <a:custGeom>
                  <a:avLst/>
                  <a:gdLst>
                    <a:gd name="T0" fmla="*/ 60 w 60"/>
                    <a:gd name="T1" fmla="*/ 0 h 52"/>
                    <a:gd name="T2" fmla="*/ 45 w 60"/>
                    <a:gd name="T3" fmla="*/ 24 h 52"/>
                    <a:gd name="T4" fmla="*/ 19 w 60"/>
                    <a:gd name="T5" fmla="*/ 47 h 52"/>
                    <a:gd name="T6" fmla="*/ 20 w 60"/>
                    <a:gd name="T7" fmla="*/ 34 h 52"/>
                    <a:gd name="T8" fmla="*/ 44 w 60"/>
                    <a:gd name="T9" fmla="*/ 18 h 52"/>
                    <a:gd name="T10" fmla="*/ 60 w 60"/>
                    <a:gd name="T11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0" h="52">
                      <a:moveTo>
                        <a:pt x="60" y="0"/>
                      </a:moveTo>
                      <a:cubicBezTo>
                        <a:pt x="60" y="0"/>
                        <a:pt x="54" y="20"/>
                        <a:pt x="45" y="24"/>
                      </a:cubicBezTo>
                      <a:cubicBezTo>
                        <a:pt x="36" y="29"/>
                        <a:pt x="20" y="41"/>
                        <a:pt x="19" y="47"/>
                      </a:cubicBezTo>
                      <a:cubicBezTo>
                        <a:pt x="19" y="47"/>
                        <a:pt x="0" y="52"/>
                        <a:pt x="20" y="34"/>
                      </a:cubicBezTo>
                      <a:cubicBezTo>
                        <a:pt x="40" y="16"/>
                        <a:pt x="42" y="20"/>
                        <a:pt x="44" y="18"/>
                      </a:cubicBezTo>
                      <a:cubicBezTo>
                        <a:pt x="46" y="15"/>
                        <a:pt x="57" y="2"/>
                        <a:pt x="60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72">
                  <a:extLst>
                    <a:ext uri="{FF2B5EF4-FFF2-40B4-BE49-F238E27FC236}">
                      <a16:creationId xmlns:a16="http://schemas.microsoft.com/office/drawing/2014/main" id="{4056B951-2592-4BCA-BC61-A71E32C586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00382" y="2188554"/>
                  <a:ext cx="94555" cy="147085"/>
                </a:xfrm>
                <a:custGeom>
                  <a:avLst/>
                  <a:gdLst>
                    <a:gd name="T0" fmla="*/ 42 w 42"/>
                    <a:gd name="T1" fmla="*/ 55 h 65"/>
                    <a:gd name="T2" fmla="*/ 0 w 42"/>
                    <a:gd name="T3" fmla="*/ 0 h 65"/>
                    <a:gd name="T4" fmla="*/ 40 w 42"/>
                    <a:gd name="T5" fmla="*/ 65 h 65"/>
                    <a:gd name="T6" fmla="*/ 42 w 42"/>
                    <a:gd name="T7" fmla="*/ 5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65">
                      <a:moveTo>
                        <a:pt x="42" y="55"/>
                      </a:moveTo>
                      <a:cubicBezTo>
                        <a:pt x="42" y="55"/>
                        <a:pt x="15" y="50"/>
                        <a:pt x="0" y="0"/>
                      </a:cubicBezTo>
                      <a:cubicBezTo>
                        <a:pt x="0" y="0"/>
                        <a:pt x="0" y="46"/>
                        <a:pt x="40" y="65"/>
                      </a:cubicBezTo>
                      <a:lnTo>
                        <a:pt x="42" y="55"/>
                      </a:ln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73">
                  <a:extLst>
                    <a:ext uri="{FF2B5EF4-FFF2-40B4-BE49-F238E27FC236}">
                      <a16:creationId xmlns:a16="http://schemas.microsoft.com/office/drawing/2014/main" id="{A8C601F9-4723-4E81-84F6-F1B396B86E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14423" y="2321313"/>
                  <a:ext cx="148995" cy="92645"/>
                </a:xfrm>
                <a:custGeom>
                  <a:avLst/>
                  <a:gdLst>
                    <a:gd name="T0" fmla="*/ 0 w 66"/>
                    <a:gd name="T1" fmla="*/ 0 h 41"/>
                    <a:gd name="T2" fmla="*/ 32 w 66"/>
                    <a:gd name="T3" fmla="*/ 13 h 41"/>
                    <a:gd name="T4" fmla="*/ 66 w 66"/>
                    <a:gd name="T5" fmla="*/ 33 h 41"/>
                    <a:gd name="T6" fmla="*/ 60 w 66"/>
                    <a:gd name="T7" fmla="*/ 41 h 41"/>
                    <a:gd name="T8" fmla="*/ 0 w 66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1">
                      <a:moveTo>
                        <a:pt x="0" y="0"/>
                      </a:moveTo>
                      <a:cubicBezTo>
                        <a:pt x="0" y="0"/>
                        <a:pt x="23" y="7"/>
                        <a:pt x="32" y="13"/>
                      </a:cubicBezTo>
                      <a:cubicBezTo>
                        <a:pt x="42" y="20"/>
                        <a:pt x="66" y="33"/>
                        <a:pt x="66" y="33"/>
                      </a:cubicBezTo>
                      <a:cubicBezTo>
                        <a:pt x="60" y="41"/>
                        <a:pt x="60" y="41"/>
                        <a:pt x="60" y="41"/>
                      </a:cubicBezTo>
                      <a:cubicBezTo>
                        <a:pt x="60" y="41"/>
                        <a:pt x="13" y="10"/>
                        <a:pt x="0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74">
                  <a:extLst>
                    <a:ext uri="{FF2B5EF4-FFF2-40B4-BE49-F238E27FC236}">
                      <a16:creationId xmlns:a16="http://schemas.microsoft.com/office/drawing/2014/main" id="{25AF97A1-CA08-4323-B25C-DDA73FF0CC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37345" y="3650807"/>
                  <a:ext cx="85004" cy="90734"/>
                </a:xfrm>
                <a:custGeom>
                  <a:avLst/>
                  <a:gdLst>
                    <a:gd name="T0" fmla="*/ 38 w 38"/>
                    <a:gd name="T1" fmla="*/ 11 h 40"/>
                    <a:gd name="T2" fmla="*/ 30 w 38"/>
                    <a:gd name="T3" fmla="*/ 4 h 40"/>
                    <a:gd name="T4" fmla="*/ 29 w 38"/>
                    <a:gd name="T5" fmla="*/ 17 h 40"/>
                    <a:gd name="T6" fmla="*/ 22 w 38"/>
                    <a:gd name="T7" fmla="*/ 13 h 40"/>
                    <a:gd name="T8" fmla="*/ 21 w 38"/>
                    <a:gd name="T9" fmla="*/ 22 h 40"/>
                    <a:gd name="T10" fmla="*/ 12 w 38"/>
                    <a:gd name="T11" fmla="*/ 20 h 40"/>
                    <a:gd name="T12" fmla="*/ 7 w 38"/>
                    <a:gd name="T13" fmla="*/ 32 h 40"/>
                    <a:gd name="T14" fmla="*/ 38 w 38"/>
                    <a:gd name="T15" fmla="*/ 1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8" h="40">
                      <a:moveTo>
                        <a:pt x="38" y="11"/>
                      </a:moveTo>
                      <a:cubicBezTo>
                        <a:pt x="38" y="11"/>
                        <a:pt x="30" y="9"/>
                        <a:pt x="30" y="4"/>
                      </a:cubicBezTo>
                      <a:cubicBezTo>
                        <a:pt x="30" y="0"/>
                        <a:pt x="32" y="14"/>
                        <a:pt x="29" y="17"/>
                      </a:cubicBezTo>
                      <a:cubicBezTo>
                        <a:pt x="26" y="20"/>
                        <a:pt x="22" y="13"/>
                        <a:pt x="22" y="13"/>
                      </a:cubicBezTo>
                      <a:cubicBezTo>
                        <a:pt x="22" y="13"/>
                        <a:pt x="23" y="20"/>
                        <a:pt x="21" y="22"/>
                      </a:cubicBezTo>
                      <a:cubicBezTo>
                        <a:pt x="19" y="24"/>
                        <a:pt x="12" y="24"/>
                        <a:pt x="12" y="20"/>
                      </a:cubicBezTo>
                      <a:cubicBezTo>
                        <a:pt x="12" y="16"/>
                        <a:pt x="14" y="30"/>
                        <a:pt x="7" y="32"/>
                      </a:cubicBezTo>
                      <a:cubicBezTo>
                        <a:pt x="0" y="34"/>
                        <a:pt x="21" y="40"/>
                        <a:pt x="38" y="11"/>
                      </a:cubicBezTo>
                      <a:close/>
                    </a:path>
                  </a:pathLst>
                </a:custGeom>
                <a:solidFill>
                  <a:srgbClr val="BE77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5">
                  <a:extLst>
                    <a:ext uri="{FF2B5EF4-FFF2-40B4-BE49-F238E27FC236}">
                      <a16:creationId xmlns:a16="http://schemas.microsoft.com/office/drawing/2014/main" id="{B13C869D-2FC5-4517-93F1-63B8E8DD046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808308" y="2508512"/>
                  <a:ext cx="115567" cy="241640"/>
                </a:xfrm>
                <a:custGeom>
                  <a:avLst/>
                  <a:gdLst>
                    <a:gd name="T0" fmla="*/ 9 w 51"/>
                    <a:gd name="T1" fmla="*/ 0 h 107"/>
                    <a:gd name="T2" fmla="*/ 23 w 51"/>
                    <a:gd name="T3" fmla="*/ 36 h 107"/>
                    <a:gd name="T4" fmla="*/ 50 w 51"/>
                    <a:gd name="T5" fmla="*/ 100 h 107"/>
                    <a:gd name="T6" fmla="*/ 45 w 51"/>
                    <a:gd name="T7" fmla="*/ 59 h 107"/>
                    <a:gd name="T8" fmla="*/ 9 w 51"/>
                    <a:gd name="T9" fmla="*/ 0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107">
                      <a:moveTo>
                        <a:pt x="9" y="0"/>
                      </a:moveTo>
                      <a:cubicBezTo>
                        <a:pt x="9" y="0"/>
                        <a:pt x="0" y="8"/>
                        <a:pt x="23" y="36"/>
                      </a:cubicBezTo>
                      <a:cubicBezTo>
                        <a:pt x="23" y="36"/>
                        <a:pt x="50" y="94"/>
                        <a:pt x="50" y="100"/>
                      </a:cubicBezTo>
                      <a:cubicBezTo>
                        <a:pt x="49" y="107"/>
                        <a:pt x="51" y="74"/>
                        <a:pt x="45" y="59"/>
                      </a:cubicBezTo>
                      <a:cubicBezTo>
                        <a:pt x="39" y="44"/>
                        <a:pt x="8" y="3"/>
                        <a:pt x="9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76">
                  <a:extLst>
                    <a:ext uri="{FF2B5EF4-FFF2-40B4-BE49-F238E27FC236}">
                      <a16:creationId xmlns:a16="http://schemas.microsoft.com/office/drawing/2014/main" id="{61E47647-2571-42C1-B5EE-14B9BACA37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78799" y="1949780"/>
                  <a:ext cx="69722" cy="180513"/>
                </a:xfrm>
                <a:custGeom>
                  <a:avLst/>
                  <a:gdLst>
                    <a:gd name="T0" fmla="*/ 1 w 31"/>
                    <a:gd name="T1" fmla="*/ 32 h 80"/>
                    <a:gd name="T2" fmla="*/ 15 w 31"/>
                    <a:gd name="T3" fmla="*/ 74 h 80"/>
                    <a:gd name="T4" fmla="*/ 28 w 31"/>
                    <a:gd name="T5" fmla="*/ 79 h 80"/>
                    <a:gd name="T6" fmla="*/ 22 w 31"/>
                    <a:gd name="T7" fmla="*/ 59 h 80"/>
                    <a:gd name="T8" fmla="*/ 29 w 31"/>
                    <a:gd name="T9" fmla="*/ 63 h 80"/>
                    <a:gd name="T10" fmla="*/ 24 w 31"/>
                    <a:gd name="T11" fmla="*/ 42 h 80"/>
                    <a:gd name="T12" fmla="*/ 8 w 31"/>
                    <a:gd name="T13" fmla="*/ 10 h 80"/>
                    <a:gd name="T14" fmla="*/ 1 w 31"/>
                    <a:gd name="T15" fmla="*/ 32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80">
                      <a:moveTo>
                        <a:pt x="1" y="32"/>
                      </a:moveTo>
                      <a:cubicBezTo>
                        <a:pt x="1" y="32"/>
                        <a:pt x="0" y="62"/>
                        <a:pt x="15" y="74"/>
                      </a:cubicBezTo>
                      <a:cubicBezTo>
                        <a:pt x="15" y="74"/>
                        <a:pt x="26" y="80"/>
                        <a:pt x="28" y="79"/>
                      </a:cubicBezTo>
                      <a:cubicBezTo>
                        <a:pt x="31" y="78"/>
                        <a:pt x="21" y="68"/>
                        <a:pt x="22" y="59"/>
                      </a:cubicBezTo>
                      <a:cubicBezTo>
                        <a:pt x="22" y="50"/>
                        <a:pt x="22" y="63"/>
                        <a:pt x="29" y="63"/>
                      </a:cubicBezTo>
                      <a:cubicBezTo>
                        <a:pt x="29" y="63"/>
                        <a:pt x="24" y="51"/>
                        <a:pt x="24" y="42"/>
                      </a:cubicBezTo>
                      <a:cubicBezTo>
                        <a:pt x="24" y="32"/>
                        <a:pt x="16" y="0"/>
                        <a:pt x="8" y="10"/>
                      </a:cubicBezTo>
                      <a:lnTo>
                        <a:pt x="1" y="32"/>
                      </a:ln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77">
                  <a:extLst>
                    <a:ext uri="{FF2B5EF4-FFF2-40B4-BE49-F238E27FC236}">
                      <a16:creationId xmlns:a16="http://schemas.microsoft.com/office/drawing/2014/main" id="{96B6A3C4-6B10-40BD-A523-EA0516A58A1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21109" y="1859046"/>
                  <a:ext cx="150905" cy="99330"/>
                </a:xfrm>
                <a:custGeom>
                  <a:avLst/>
                  <a:gdLst>
                    <a:gd name="T0" fmla="*/ 32 w 67"/>
                    <a:gd name="T1" fmla="*/ 2 h 44"/>
                    <a:gd name="T2" fmla="*/ 59 w 67"/>
                    <a:gd name="T3" fmla="*/ 24 h 44"/>
                    <a:gd name="T4" fmla="*/ 55 w 67"/>
                    <a:gd name="T5" fmla="*/ 40 h 44"/>
                    <a:gd name="T6" fmla="*/ 36 w 67"/>
                    <a:gd name="T7" fmla="*/ 27 h 44"/>
                    <a:gd name="T8" fmla="*/ 0 w 67"/>
                    <a:gd name="T9" fmla="*/ 16 h 44"/>
                    <a:gd name="T10" fmla="*/ 9 w 67"/>
                    <a:gd name="T11" fmla="*/ 0 h 44"/>
                    <a:gd name="T12" fmla="*/ 32 w 67"/>
                    <a:gd name="T13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7" h="44">
                      <a:moveTo>
                        <a:pt x="32" y="2"/>
                      </a:moveTo>
                      <a:cubicBezTo>
                        <a:pt x="32" y="2"/>
                        <a:pt x="57" y="16"/>
                        <a:pt x="59" y="24"/>
                      </a:cubicBezTo>
                      <a:cubicBezTo>
                        <a:pt x="59" y="24"/>
                        <a:pt x="67" y="35"/>
                        <a:pt x="55" y="40"/>
                      </a:cubicBezTo>
                      <a:cubicBezTo>
                        <a:pt x="42" y="44"/>
                        <a:pt x="62" y="32"/>
                        <a:pt x="36" y="27"/>
                      </a:cubicBezTo>
                      <a:cubicBezTo>
                        <a:pt x="10" y="22"/>
                        <a:pt x="0" y="34"/>
                        <a:pt x="0" y="16"/>
                      </a:cubicBezTo>
                      <a:cubicBezTo>
                        <a:pt x="0" y="16"/>
                        <a:pt x="2" y="0"/>
                        <a:pt x="9" y="0"/>
                      </a:cubicBezTo>
                      <a:cubicBezTo>
                        <a:pt x="17" y="0"/>
                        <a:pt x="32" y="2"/>
                        <a:pt x="32" y="2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79">
                  <a:extLst>
                    <a:ext uri="{FF2B5EF4-FFF2-40B4-BE49-F238E27FC236}">
                      <a16:creationId xmlns:a16="http://schemas.microsoft.com/office/drawing/2014/main" id="{3DE60F02-E60D-4289-94BA-DB72E95E7C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98942" y="3093030"/>
                  <a:ext cx="46800" cy="99330"/>
                </a:xfrm>
                <a:custGeom>
                  <a:avLst/>
                  <a:gdLst>
                    <a:gd name="T0" fmla="*/ 15 w 21"/>
                    <a:gd name="T1" fmla="*/ 44 h 44"/>
                    <a:gd name="T2" fmla="*/ 4 w 21"/>
                    <a:gd name="T3" fmla="*/ 16 h 44"/>
                    <a:gd name="T4" fmla="*/ 14 w 21"/>
                    <a:gd name="T5" fmla="*/ 25 h 44"/>
                    <a:gd name="T6" fmla="*/ 20 w 21"/>
                    <a:gd name="T7" fmla="*/ 41 h 44"/>
                    <a:gd name="T8" fmla="*/ 15 w 21"/>
                    <a:gd name="T9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44">
                      <a:moveTo>
                        <a:pt x="15" y="44"/>
                      </a:moveTo>
                      <a:cubicBezTo>
                        <a:pt x="15" y="44"/>
                        <a:pt x="8" y="21"/>
                        <a:pt x="4" y="16"/>
                      </a:cubicBezTo>
                      <a:cubicBezTo>
                        <a:pt x="0" y="11"/>
                        <a:pt x="2" y="0"/>
                        <a:pt x="14" y="25"/>
                      </a:cubicBezTo>
                      <a:cubicBezTo>
                        <a:pt x="14" y="25"/>
                        <a:pt x="21" y="39"/>
                        <a:pt x="20" y="41"/>
                      </a:cubicBezTo>
                      <a:cubicBezTo>
                        <a:pt x="19" y="43"/>
                        <a:pt x="15" y="44"/>
                        <a:pt x="15" y="44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80">
                  <a:extLst>
                    <a:ext uri="{FF2B5EF4-FFF2-40B4-BE49-F238E27FC236}">
                      <a16:creationId xmlns:a16="http://schemas.microsoft.com/office/drawing/2014/main" id="{6D2E4EA3-6DCB-4E38-AB7F-247C312FE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0126" y="3084434"/>
                  <a:ext cx="44890" cy="38204"/>
                </a:xfrm>
                <a:custGeom>
                  <a:avLst/>
                  <a:gdLst>
                    <a:gd name="T0" fmla="*/ 6 w 20"/>
                    <a:gd name="T1" fmla="*/ 0 h 17"/>
                    <a:gd name="T2" fmla="*/ 18 w 20"/>
                    <a:gd name="T3" fmla="*/ 17 h 17"/>
                    <a:gd name="T4" fmla="*/ 6 w 20"/>
                    <a:gd name="T5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7">
                      <a:moveTo>
                        <a:pt x="6" y="0"/>
                      </a:moveTo>
                      <a:cubicBezTo>
                        <a:pt x="6" y="0"/>
                        <a:pt x="20" y="16"/>
                        <a:pt x="18" y="17"/>
                      </a:cubicBezTo>
                      <a:cubicBezTo>
                        <a:pt x="16" y="17"/>
                        <a:pt x="0" y="4"/>
                        <a:pt x="6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81">
                  <a:extLst>
                    <a:ext uri="{FF2B5EF4-FFF2-40B4-BE49-F238E27FC236}">
                      <a16:creationId xmlns:a16="http://schemas.microsoft.com/office/drawing/2014/main" id="{CC612C08-EB51-43DC-8EFC-C2BCE583A2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39056" y="3074883"/>
                  <a:ext cx="49665" cy="84048"/>
                </a:xfrm>
                <a:custGeom>
                  <a:avLst/>
                  <a:gdLst>
                    <a:gd name="T0" fmla="*/ 22 w 22"/>
                    <a:gd name="T1" fmla="*/ 37 h 37"/>
                    <a:gd name="T2" fmla="*/ 7 w 22"/>
                    <a:gd name="T3" fmla="*/ 12 h 37"/>
                    <a:gd name="T4" fmla="*/ 22 w 22"/>
                    <a:gd name="T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2" h="37">
                      <a:moveTo>
                        <a:pt x="22" y="37"/>
                      </a:moveTo>
                      <a:cubicBezTo>
                        <a:pt x="22" y="37"/>
                        <a:pt x="14" y="23"/>
                        <a:pt x="7" y="12"/>
                      </a:cubicBezTo>
                      <a:cubicBezTo>
                        <a:pt x="0" y="0"/>
                        <a:pt x="2" y="29"/>
                        <a:pt x="22" y="37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82">
                  <a:extLst>
                    <a:ext uri="{FF2B5EF4-FFF2-40B4-BE49-F238E27FC236}">
                      <a16:creationId xmlns:a16="http://schemas.microsoft.com/office/drawing/2014/main" id="{6371B5CF-9AA1-461E-BC30-2AF49361D9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068" y="3011847"/>
                  <a:ext cx="83094" cy="42980"/>
                </a:xfrm>
                <a:custGeom>
                  <a:avLst/>
                  <a:gdLst>
                    <a:gd name="T0" fmla="*/ 37 w 37"/>
                    <a:gd name="T1" fmla="*/ 0 h 19"/>
                    <a:gd name="T2" fmla="*/ 15 w 37"/>
                    <a:gd name="T3" fmla="*/ 7 h 19"/>
                    <a:gd name="T4" fmla="*/ 3 w 37"/>
                    <a:gd name="T5" fmla="*/ 18 h 19"/>
                    <a:gd name="T6" fmla="*/ 14 w 37"/>
                    <a:gd name="T7" fmla="*/ 15 h 19"/>
                    <a:gd name="T8" fmla="*/ 37 w 37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19">
                      <a:moveTo>
                        <a:pt x="37" y="0"/>
                      </a:moveTo>
                      <a:cubicBezTo>
                        <a:pt x="37" y="0"/>
                        <a:pt x="21" y="5"/>
                        <a:pt x="15" y="7"/>
                      </a:cubicBezTo>
                      <a:cubicBezTo>
                        <a:pt x="9" y="10"/>
                        <a:pt x="0" y="17"/>
                        <a:pt x="3" y="18"/>
                      </a:cubicBezTo>
                      <a:cubicBezTo>
                        <a:pt x="6" y="19"/>
                        <a:pt x="10" y="18"/>
                        <a:pt x="14" y="15"/>
                      </a:cubicBezTo>
                      <a:cubicBezTo>
                        <a:pt x="18" y="11"/>
                        <a:pt x="36" y="3"/>
                        <a:pt x="37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83">
                  <a:extLst>
                    <a:ext uri="{FF2B5EF4-FFF2-40B4-BE49-F238E27FC236}">
                      <a16:creationId xmlns:a16="http://schemas.microsoft.com/office/drawing/2014/main" id="{CC60B3FD-A1E3-45DA-ABF2-5A19E3EC99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1073" y="3091120"/>
                  <a:ext cx="96465" cy="107926"/>
                </a:xfrm>
                <a:custGeom>
                  <a:avLst/>
                  <a:gdLst>
                    <a:gd name="T0" fmla="*/ 13 w 43"/>
                    <a:gd name="T1" fmla="*/ 0 h 48"/>
                    <a:gd name="T2" fmla="*/ 18 w 43"/>
                    <a:gd name="T3" fmla="*/ 21 h 48"/>
                    <a:gd name="T4" fmla="*/ 33 w 43"/>
                    <a:gd name="T5" fmla="*/ 34 h 48"/>
                    <a:gd name="T6" fmla="*/ 43 w 43"/>
                    <a:gd name="T7" fmla="*/ 48 h 48"/>
                    <a:gd name="T8" fmla="*/ 14 w 43"/>
                    <a:gd name="T9" fmla="*/ 35 h 48"/>
                    <a:gd name="T10" fmla="*/ 13 w 43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48">
                      <a:moveTo>
                        <a:pt x="13" y="0"/>
                      </a:moveTo>
                      <a:cubicBezTo>
                        <a:pt x="13" y="0"/>
                        <a:pt x="14" y="18"/>
                        <a:pt x="18" y="21"/>
                      </a:cubicBezTo>
                      <a:cubicBezTo>
                        <a:pt x="22" y="24"/>
                        <a:pt x="32" y="31"/>
                        <a:pt x="33" y="34"/>
                      </a:cubicBezTo>
                      <a:cubicBezTo>
                        <a:pt x="34" y="36"/>
                        <a:pt x="43" y="48"/>
                        <a:pt x="43" y="48"/>
                      </a:cubicBezTo>
                      <a:cubicBezTo>
                        <a:pt x="43" y="48"/>
                        <a:pt x="22" y="42"/>
                        <a:pt x="14" y="35"/>
                      </a:cubicBezTo>
                      <a:cubicBezTo>
                        <a:pt x="6" y="28"/>
                        <a:pt x="0" y="28"/>
                        <a:pt x="13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275" name="Gruppieren 118">
            <a:extLst>
              <a:ext uri="{FF2B5EF4-FFF2-40B4-BE49-F238E27FC236}">
                <a16:creationId xmlns:a16="http://schemas.microsoft.com/office/drawing/2014/main" id="{234AAB46-A59B-456C-9FC7-DE9E5DA9CD4F}"/>
              </a:ext>
            </a:extLst>
          </p:cNvPr>
          <p:cNvGrpSpPr/>
          <p:nvPr/>
        </p:nvGrpSpPr>
        <p:grpSpPr bwMode="gray">
          <a:xfrm>
            <a:off x="4507919" y="754229"/>
            <a:ext cx="3201181" cy="4653587"/>
            <a:chOff x="3042271" y="1676527"/>
            <a:chExt cx="2871787" cy="4174744"/>
          </a:xfrm>
        </p:grpSpPr>
        <p:sp>
          <p:nvSpPr>
            <p:cNvPr id="165" name="Ellipse 30">
              <a:extLst>
                <a:ext uri="{FF2B5EF4-FFF2-40B4-BE49-F238E27FC236}">
                  <a16:creationId xmlns:a16="http://schemas.microsoft.com/office/drawing/2014/main" id="{C4C24036-B819-44C9-B65D-831F6156D473}"/>
                </a:ext>
              </a:extLst>
            </p:cNvPr>
            <p:cNvSpPr/>
            <p:nvPr/>
          </p:nvSpPr>
          <p:spPr bwMode="gray">
            <a:xfrm>
              <a:off x="4562175" y="5318222"/>
              <a:ext cx="1293067" cy="407213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6" name="Ellipse 30">
              <a:extLst>
                <a:ext uri="{FF2B5EF4-FFF2-40B4-BE49-F238E27FC236}">
                  <a16:creationId xmlns:a16="http://schemas.microsoft.com/office/drawing/2014/main" id="{A7106D09-AC40-47EB-B27F-AF0D73B15477}"/>
                </a:ext>
              </a:extLst>
            </p:cNvPr>
            <p:cNvSpPr/>
            <p:nvPr/>
          </p:nvSpPr>
          <p:spPr bwMode="gray">
            <a:xfrm>
              <a:off x="3042271" y="5205752"/>
              <a:ext cx="1456133" cy="645519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67" name="Gruppieren 121">
              <a:extLst>
                <a:ext uri="{FF2B5EF4-FFF2-40B4-BE49-F238E27FC236}">
                  <a16:creationId xmlns:a16="http://schemas.microsoft.com/office/drawing/2014/main" id="{EC4AB667-4A6D-4311-9FA5-9BED9D75B45C}"/>
                </a:ext>
              </a:extLst>
            </p:cNvPr>
            <p:cNvGrpSpPr/>
            <p:nvPr/>
          </p:nvGrpSpPr>
          <p:grpSpPr bwMode="gray">
            <a:xfrm>
              <a:off x="3403732" y="1676527"/>
              <a:ext cx="2510326" cy="3955027"/>
              <a:chOff x="5382520" y="968085"/>
              <a:chExt cx="3337058" cy="4887912"/>
            </a:xfrm>
          </p:grpSpPr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14F812EC-A852-4738-A055-60FB3A4659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3315" y="5651210"/>
                <a:ext cx="4763" cy="7938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1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" y="2"/>
                      <a:pt x="1" y="3"/>
                      <a:pt x="1" y="3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AB763D79-3FA5-4AB7-8551-E85C5092F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5605172"/>
                <a:ext cx="488950" cy="250825"/>
              </a:xfrm>
              <a:custGeom>
                <a:avLst/>
                <a:gdLst>
                  <a:gd name="T0" fmla="*/ 176 w 184"/>
                  <a:gd name="T1" fmla="*/ 66 h 94"/>
                  <a:gd name="T2" fmla="*/ 158 w 184"/>
                  <a:gd name="T3" fmla="*/ 34 h 94"/>
                  <a:gd name="T4" fmla="*/ 147 w 184"/>
                  <a:gd name="T5" fmla="*/ 20 h 94"/>
                  <a:gd name="T6" fmla="*/ 146 w 184"/>
                  <a:gd name="T7" fmla="*/ 20 h 94"/>
                  <a:gd name="T8" fmla="*/ 145 w 184"/>
                  <a:gd name="T9" fmla="*/ 17 h 94"/>
                  <a:gd name="T10" fmla="*/ 137 w 184"/>
                  <a:gd name="T11" fmla="*/ 9 h 94"/>
                  <a:gd name="T12" fmla="*/ 127 w 184"/>
                  <a:gd name="T13" fmla="*/ 4 h 94"/>
                  <a:gd name="T14" fmla="*/ 44 w 184"/>
                  <a:gd name="T15" fmla="*/ 32 h 94"/>
                  <a:gd name="T16" fmla="*/ 4 w 184"/>
                  <a:gd name="T17" fmla="*/ 36 h 94"/>
                  <a:gd name="T18" fmla="*/ 4 w 184"/>
                  <a:gd name="T19" fmla="*/ 37 h 94"/>
                  <a:gd name="T20" fmla="*/ 16 w 184"/>
                  <a:gd name="T21" fmla="*/ 56 h 94"/>
                  <a:gd name="T22" fmla="*/ 35 w 184"/>
                  <a:gd name="T23" fmla="*/ 58 h 94"/>
                  <a:gd name="T24" fmla="*/ 42 w 184"/>
                  <a:gd name="T25" fmla="*/ 69 h 94"/>
                  <a:gd name="T26" fmla="*/ 166 w 184"/>
                  <a:gd name="T27" fmla="*/ 92 h 94"/>
                  <a:gd name="T28" fmla="*/ 176 w 184"/>
                  <a:gd name="T29" fmla="*/ 6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4" h="94">
                    <a:moveTo>
                      <a:pt x="176" y="66"/>
                    </a:moveTo>
                    <a:cubicBezTo>
                      <a:pt x="176" y="66"/>
                      <a:pt x="160" y="40"/>
                      <a:pt x="158" y="34"/>
                    </a:cubicBezTo>
                    <a:cubicBezTo>
                      <a:pt x="156" y="32"/>
                      <a:pt x="152" y="26"/>
                      <a:pt x="147" y="20"/>
                    </a:cubicBezTo>
                    <a:cubicBezTo>
                      <a:pt x="146" y="20"/>
                      <a:pt x="146" y="20"/>
                      <a:pt x="146" y="20"/>
                    </a:cubicBezTo>
                    <a:cubicBezTo>
                      <a:pt x="146" y="20"/>
                      <a:pt x="146" y="19"/>
                      <a:pt x="145" y="17"/>
                    </a:cubicBezTo>
                    <a:cubicBezTo>
                      <a:pt x="143" y="14"/>
                      <a:pt x="140" y="11"/>
                      <a:pt x="137" y="9"/>
                    </a:cubicBezTo>
                    <a:cubicBezTo>
                      <a:pt x="134" y="7"/>
                      <a:pt x="130" y="5"/>
                      <a:pt x="127" y="4"/>
                    </a:cubicBezTo>
                    <a:cubicBezTo>
                      <a:pt x="114" y="0"/>
                      <a:pt x="59" y="29"/>
                      <a:pt x="44" y="32"/>
                    </a:cubicBezTo>
                    <a:cubicBezTo>
                      <a:pt x="30" y="34"/>
                      <a:pt x="4" y="36"/>
                      <a:pt x="4" y="36"/>
                    </a:cubicBezTo>
                    <a:cubicBezTo>
                      <a:pt x="4" y="36"/>
                      <a:pt x="4" y="36"/>
                      <a:pt x="4" y="37"/>
                    </a:cubicBezTo>
                    <a:cubicBezTo>
                      <a:pt x="2" y="41"/>
                      <a:pt x="0" y="52"/>
                      <a:pt x="16" y="56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5" y="58"/>
                      <a:pt x="36" y="65"/>
                      <a:pt x="42" y="69"/>
                    </a:cubicBezTo>
                    <a:cubicBezTo>
                      <a:pt x="42" y="69"/>
                      <a:pt x="54" y="94"/>
                      <a:pt x="166" y="92"/>
                    </a:cubicBezTo>
                    <a:cubicBezTo>
                      <a:pt x="166" y="92"/>
                      <a:pt x="184" y="88"/>
                      <a:pt x="176" y="66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E64303A9-51DC-49E7-9DEB-A592232160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75690" y="5489285"/>
                <a:ext cx="720725" cy="195263"/>
              </a:xfrm>
              <a:custGeom>
                <a:avLst/>
                <a:gdLst>
                  <a:gd name="T0" fmla="*/ 213 w 271"/>
                  <a:gd name="T1" fmla="*/ 20 h 74"/>
                  <a:gd name="T2" fmla="*/ 163 w 271"/>
                  <a:gd name="T3" fmla="*/ 0 h 74"/>
                  <a:gd name="T4" fmla="*/ 162 w 271"/>
                  <a:gd name="T5" fmla="*/ 0 h 74"/>
                  <a:gd name="T6" fmla="*/ 137 w 271"/>
                  <a:gd name="T7" fmla="*/ 16 h 74"/>
                  <a:gd name="T8" fmla="*/ 40 w 271"/>
                  <a:gd name="T9" fmla="*/ 25 h 74"/>
                  <a:gd name="T10" fmla="*/ 17 w 271"/>
                  <a:gd name="T11" fmla="*/ 28 h 74"/>
                  <a:gd name="T12" fmla="*/ 9 w 271"/>
                  <a:gd name="T13" fmla="*/ 52 h 74"/>
                  <a:gd name="T14" fmla="*/ 11 w 271"/>
                  <a:gd name="T15" fmla="*/ 53 h 74"/>
                  <a:gd name="T16" fmla="*/ 18 w 271"/>
                  <a:gd name="T17" fmla="*/ 61 h 74"/>
                  <a:gd name="T18" fmla="*/ 20 w 271"/>
                  <a:gd name="T19" fmla="*/ 64 h 74"/>
                  <a:gd name="T20" fmla="*/ 55 w 271"/>
                  <a:gd name="T21" fmla="*/ 64 h 74"/>
                  <a:gd name="T22" fmla="*/ 59 w 271"/>
                  <a:gd name="T23" fmla="*/ 46 h 74"/>
                  <a:gd name="T24" fmla="*/ 92 w 271"/>
                  <a:gd name="T25" fmla="*/ 48 h 74"/>
                  <a:gd name="T26" fmla="*/ 172 w 271"/>
                  <a:gd name="T27" fmla="*/ 68 h 74"/>
                  <a:gd name="T28" fmla="*/ 261 w 271"/>
                  <a:gd name="T29" fmla="*/ 49 h 74"/>
                  <a:gd name="T30" fmla="*/ 213 w 271"/>
                  <a:gd name="T31" fmla="*/ 2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1" h="74">
                    <a:moveTo>
                      <a:pt x="213" y="20"/>
                    </a:moveTo>
                    <a:cubicBezTo>
                      <a:pt x="201" y="17"/>
                      <a:pt x="163" y="0"/>
                      <a:pt x="163" y="0"/>
                    </a:cubicBezTo>
                    <a:cubicBezTo>
                      <a:pt x="163" y="0"/>
                      <a:pt x="162" y="0"/>
                      <a:pt x="162" y="0"/>
                    </a:cubicBezTo>
                    <a:cubicBezTo>
                      <a:pt x="160" y="2"/>
                      <a:pt x="145" y="12"/>
                      <a:pt x="137" y="16"/>
                    </a:cubicBezTo>
                    <a:cubicBezTo>
                      <a:pt x="129" y="20"/>
                      <a:pt x="71" y="30"/>
                      <a:pt x="40" y="25"/>
                    </a:cubicBezTo>
                    <a:cubicBezTo>
                      <a:pt x="9" y="20"/>
                      <a:pt x="19" y="17"/>
                      <a:pt x="17" y="28"/>
                    </a:cubicBezTo>
                    <a:cubicBezTo>
                      <a:pt x="16" y="38"/>
                      <a:pt x="0" y="48"/>
                      <a:pt x="9" y="52"/>
                    </a:cubicBezTo>
                    <a:cubicBezTo>
                      <a:pt x="10" y="52"/>
                      <a:pt x="10" y="52"/>
                      <a:pt x="11" y="53"/>
                    </a:cubicBezTo>
                    <a:cubicBezTo>
                      <a:pt x="16" y="55"/>
                      <a:pt x="18" y="59"/>
                      <a:pt x="18" y="61"/>
                    </a:cubicBezTo>
                    <a:cubicBezTo>
                      <a:pt x="19" y="62"/>
                      <a:pt x="20" y="63"/>
                      <a:pt x="20" y="64"/>
                    </a:cubicBezTo>
                    <a:cubicBezTo>
                      <a:pt x="27" y="64"/>
                      <a:pt x="51" y="64"/>
                      <a:pt x="55" y="64"/>
                    </a:cubicBezTo>
                    <a:cubicBezTo>
                      <a:pt x="59" y="64"/>
                      <a:pt x="59" y="46"/>
                      <a:pt x="59" y="46"/>
                    </a:cubicBezTo>
                    <a:cubicBezTo>
                      <a:pt x="59" y="46"/>
                      <a:pt x="83" y="48"/>
                      <a:pt x="92" y="48"/>
                    </a:cubicBezTo>
                    <a:cubicBezTo>
                      <a:pt x="101" y="48"/>
                      <a:pt x="172" y="68"/>
                      <a:pt x="172" y="68"/>
                    </a:cubicBezTo>
                    <a:cubicBezTo>
                      <a:pt x="221" y="74"/>
                      <a:pt x="261" y="49"/>
                      <a:pt x="261" y="49"/>
                    </a:cubicBezTo>
                    <a:cubicBezTo>
                      <a:pt x="271" y="26"/>
                      <a:pt x="213" y="20"/>
                      <a:pt x="213" y="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72D08E71-863B-4BDF-A0A0-B8255CB5C4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79781" y="3696594"/>
                <a:ext cx="554772" cy="930678"/>
              </a:xfrm>
              <a:custGeom>
                <a:avLst/>
                <a:gdLst>
                  <a:gd name="T0" fmla="*/ 162 w 168"/>
                  <a:gd name="T1" fmla="*/ 18 h 340"/>
                  <a:gd name="T2" fmla="*/ 121 w 168"/>
                  <a:gd name="T3" fmla="*/ 6 h 340"/>
                  <a:gd name="T4" fmla="*/ 49 w 168"/>
                  <a:gd name="T5" fmla="*/ 0 h 340"/>
                  <a:gd name="T6" fmla="*/ 49 w 168"/>
                  <a:gd name="T7" fmla="*/ 1 h 340"/>
                  <a:gd name="T8" fmla="*/ 38 w 168"/>
                  <a:gd name="T9" fmla="*/ 138 h 340"/>
                  <a:gd name="T10" fmla="*/ 0 w 168"/>
                  <a:gd name="T11" fmla="*/ 326 h 340"/>
                  <a:gd name="T12" fmla="*/ 73 w 168"/>
                  <a:gd name="T13" fmla="*/ 340 h 340"/>
                  <a:gd name="T14" fmla="*/ 161 w 168"/>
                  <a:gd name="T15" fmla="*/ 329 h 340"/>
                  <a:gd name="T16" fmla="*/ 162 w 168"/>
                  <a:gd name="T17" fmla="*/ 18 h 340"/>
                  <a:gd name="connsiteX0" fmla="*/ 9643 w 9787"/>
                  <a:gd name="connsiteY0" fmla="*/ 535 h 10006"/>
                  <a:gd name="connsiteX1" fmla="*/ 7202 w 9787"/>
                  <a:gd name="connsiteY1" fmla="*/ 182 h 10006"/>
                  <a:gd name="connsiteX2" fmla="*/ 2917 w 9787"/>
                  <a:gd name="connsiteY2" fmla="*/ 6 h 10006"/>
                  <a:gd name="connsiteX3" fmla="*/ 2294 w 9787"/>
                  <a:gd name="connsiteY3" fmla="*/ 35 h 10006"/>
                  <a:gd name="connsiteX4" fmla="*/ 2262 w 9787"/>
                  <a:gd name="connsiteY4" fmla="*/ 4065 h 10006"/>
                  <a:gd name="connsiteX5" fmla="*/ 0 w 9787"/>
                  <a:gd name="connsiteY5" fmla="*/ 9594 h 10006"/>
                  <a:gd name="connsiteX6" fmla="*/ 4345 w 9787"/>
                  <a:gd name="connsiteY6" fmla="*/ 10006 h 10006"/>
                  <a:gd name="connsiteX7" fmla="*/ 9583 w 9787"/>
                  <a:gd name="connsiteY7" fmla="*/ 9682 h 10006"/>
                  <a:gd name="connsiteX8" fmla="*/ 9643 w 9787"/>
                  <a:gd name="connsiteY8" fmla="*/ 535 h 10006"/>
                  <a:gd name="connsiteX0" fmla="*/ 9853 w 10000"/>
                  <a:gd name="connsiteY0" fmla="*/ 814 h 10279"/>
                  <a:gd name="connsiteX1" fmla="*/ 7359 w 10000"/>
                  <a:gd name="connsiteY1" fmla="*/ 461 h 10279"/>
                  <a:gd name="connsiteX2" fmla="*/ 2980 w 10000"/>
                  <a:gd name="connsiteY2" fmla="*/ 285 h 10279"/>
                  <a:gd name="connsiteX3" fmla="*/ 2344 w 10000"/>
                  <a:gd name="connsiteY3" fmla="*/ 314 h 10279"/>
                  <a:gd name="connsiteX4" fmla="*/ 1603 w 10000"/>
                  <a:gd name="connsiteY4" fmla="*/ 4342 h 10279"/>
                  <a:gd name="connsiteX5" fmla="*/ 0 w 10000"/>
                  <a:gd name="connsiteY5" fmla="*/ 9867 h 10279"/>
                  <a:gd name="connsiteX6" fmla="*/ 4440 w 10000"/>
                  <a:gd name="connsiteY6" fmla="*/ 10279 h 10279"/>
                  <a:gd name="connsiteX7" fmla="*/ 9792 w 10000"/>
                  <a:gd name="connsiteY7" fmla="*/ 9955 h 10279"/>
                  <a:gd name="connsiteX8" fmla="*/ 9853 w 10000"/>
                  <a:gd name="connsiteY8" fmla="*/ 814 h 10279"/>
                  <a:gd name="connsiteX0" fmla="*/ 12560 w 12707"/>
                  <a:gd name="connsiteY0" fmla="*/ 814 h 10279"/>
                  <a:gd name="connsiteX1" fmla="*/ 10066 w 12707"/>
                  <a:gd name="connsiteY1" fmla="*/ 461 h 10279"/>
                  <a:gd name="connsiteX2" fmla="*/ 5687 w 12707"/>
                  <a:gd name="connsiteY2" fmla="*/ 285 h 10279"/>
                  <a:gd name="connsiteX3" fmla="*/ 5051 w 12707"/>
                  <a:gd name="connsiteY3" fmla="*/ 314 h 10279"/>
                  <a:gd name="connsiteX4" fmla="*/ 4310 w 12707"/>
                  <a:gd name="connsiteY4" fmla="*/ 4342 h 10279"/>
                  <a:gd name="connsiteX5" fmla="*/ 0 w 12707"/>
                  <a:gd name="connsiteY5" fmla="*/ 9780 h 10279"/>
                  <a:gd name="connsiteX6" fmla="*/ 7147 w 12707"/>
                  <a:gd name="connsiteY6" fmla="*/ 10279 h 10279"/>
                  <a:gd name="connsiteX7" fmla="*/ 12499 w 12707"/>
                  <a:gd name="connsiteY7" fmla="*/ 9955 h 10279"/>
                  <a:gd name="connsiteX8" fmla="*/ 12560 w 12707"/>
                  <a:gd name="connsiteY8" fmla="*/ 814 h 10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07" h="10279">
                    <a:moveTo>
                      <a:pt x="12560" y="814"/>
                    </a:moveTo>
                    <a:cubicBezTo>
                      <a:pt x="12560" y="814"/>
                      <a:pt x="12803" y="461"/>
                      <a:pt x="10066" y="461"/>
                    </a:cubicBezTo>
                    <a:lnTo>
                      <a:pt x="5687" y="285"/>
                    </a:lnTo>
                    <a:cubicBezTo>
                      <a:pt x="4852" y="260"/>
                      <a:pt x="5281" y="-362"/>
                      <a:pt x="5051" y="314"/>
                    </a:cubicBezTo>
                    <a:cubicBezTo>
                      <a:pt x="4822" y="990"/>
                      <a:pt x="4736" y="2578"/>
                      <a:pt x="4310" y="4342"/>
                    </a:cubicBezTo>
                    <a:cubicBezTo>
                      <a:pt x="3945" y="6047"/>
                      <a:pt x="183" y="9134"/>
                      <a:pt x="0" y="9780"/>
                    </a:cubicBezTo>
                    <a:cubicBezTo>
                      <a:pt x="791" y="9868"/>
                      <a:pt x="5018" y="10132"/>
                      <a:pt x="7147" y="10279"/>
                    </a:cubicBezTo>
                    <a:cubicBezTo>
                      <a:pt x="7147" y="10279"/>
                      <a:pt x="9884" y="10191"/>
                      <a:pt x="12499" y="9955"/>
                    </a:cubicBezTo>
                    <a:cubicBezTo>
                      <a:pt x="12499" y="9955"/>
                      <a:pt x="12925" y="1608"/>
                      <a:pt x="12560" y="814"/>
                    </a:cubicBezTo>
                    <a:close/>
                  </a:path>
                </a:pathLst>
              </a:custGeom>
              <a:solidFill>
                <a:srgbClr val="744D2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565DCBF0-430F-4B40-907E-93986F0309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4052" y="3142039"/>
                <a:ext cx="940084" cy="2561560"/>
              </a:xfrm>
              <a:custGeom>
                <a:avLst/>
                <a:gdLst>
                  <a:gd name="T0" fmla="*/ 310 w 360"/>
                  <a:gd name="T1" fmla="*/ 526 h 943"/>
                  <a:gd name="T2" fmla="*/ 310 w 360"/>
                  <a:gd name="T3" fmla="*/ 524 h 943"/>
                  <a:gd name="T4" fmla="*/ 348 w 360"/>
                  <a:gd name="T5" fmla="*/ 336 h 943"/>
                  <a:gd name="T6" fmla="*/ 359 w 360"/>
                  <a:gd name="T7" fmla="*/ 208 h 943"/>
                  <a:gd name="T8" fmla="*/ 359 w 360"/>
                  <a:gd name="T9" fmla="*/ 199 h 943"/>
                  <a:gd name="T10" fmla="*/ 359 w 360"/>
                  <a:gd name="T11" fmla="*/ 198 h 943"/>
                  <a:gd name="T12" fmla="*/ 356 w 360"/>
                  <a:gd name="T13" fmla="*/ 156 h 943"/>
                  <a:gd name="T14" fmla="*/ 342 w 360"/>
                  <a:gd name="T15" fmla="*/ 44 h 943"/>
                  <a:gd name="T16" fmla="*/ 334 w 360"/>
                  <a:gd name="T17" fmla="*/ 0 h 943"/>
                  <a:gd name="T18" fmla="*/ 299 w 360"/>
                  <a:gd name="T19" fmla="*/ 203 h 943"/>
                  <a:gd name="T20" fmla="*/ 47 w 360"/>
                  <a:gd name="T21" fmla="*/ 199 h 943"/>
                  <a:gd name="T22" fmla="*/ 0 w 360"/>
                  <a:gd name="T23" fmla="*/ 198 h 943"/>
                  <a:gd name="T24" fmla="*/ 0 w 360"/>
                  <a:gd name="T25" fmla="*/ 198 h 943"/>
                  <a:gd name="T26" fmla="*/ 8 w 360"/>
                  <a:gd name="T27" fmla="*/ 246 h 943"/>
                  <a:gd name="T28" fmla="*/ 19 w 360"/>
                  <a:gd name="T29" fmla="*/ 330 h 943"/>
                  <a:gd name="T30" fmla="*/ 16 w 360"/>
                  <a:gd name="T31" fmla="*/ 514 h 943"/>
                  <a:gd name="T32" fmla="*/ 15 w 360"/>
                  <a:gd name="T33" fmla="*/ 588 h 943"/>
                  <a:gd name="T34" fmla="*/ 18 w 360"/>
                  <a:gd name="T35" fmla="*/ 708 h 943"/>
                  <a:gd name="T36" fmla="*/ 14 w 360"/>
                  <a:gd name="T37" fmla="*/ 844 h 943"/>
                  <a:gd name="T38" fmla="*/ 16 w 360"/>
                  <a:gd name="T39" fmla="*/ 931 h 943"/>
                  <a:gd name="T40" fmla="*/ 28 w 360"/>
                  <a:gd name="T41" fmla="*/ 943 h 943"/>
                  <a:gd name="T42" fmla="*/ 28 w 360"/>
                  <a:gd name="T43" fmla="*/ 942 h 943"/>
                  <a:gd name="T44" fmla="*/ 68 w 360"/>
                  <a:gd name="T45" fmla="*/ 938 h 943"/>
                  <a:gd name="T46" fmla="*/ 151 w 360"/>
                  <a:gd name="T47" fmla="*/ 910 h 943"/>
                  <a:gd name="T48" fmla="*/ 161 w 360"/>
                  <a:gd name="T49" fmla="*/ 915 h 943"/>
                  <a:gd name="T50" fmla="*/ 162 w 360"/>
                  <a:gd name="T51" fmla="*/ 915 h 943"/>
                  <a:gd name="T52" fmla="*/ 160 w 360"/>
                  <a:gd name="T53" fmla="*/ 914 h 943"/>
                  <a:gd name="T54" fmla="*/ 168 w 360"/>
                  <a:gd name="T55" fmla="*/ 890 h 943"/>
                  <a:gd name="T56" fmla="*/ 191 w 360"/>
                  <a:gd name="T57" fmla="*/ 887 h 943"/>
                  <a:gd name="T58" fmla="*/ 288 w 360"/>
                  <a:gd name="T59" fmla="*/ 878 h 943"/>
                  <a:gd name="T60" fmla="*/ 313 w 360"/>
                  <a:gd name="T61" fmla="*/ 862 h 943"/>
                  <a:gd name="T62" fmla="*/ 306 w 360"/>
                  <a:gd name="T63" fmla="*/ 840 h 943"/>
                  <a:gd name="T64" fmla="*/ 274 w 360"/>
                  <a:gd name="T65" fmla="*/ 782 h 943"/>
                  <a:gd name="T66" fmla="*/ 266 w 360"/>
                  <a:gd name="T67" fmla="*/ 727 h 943"/>
                  <a:gd name="T68" fmla="*/ 278 w 360"/>
                  <a:gd name="T69" fmla="*/ 663 h 943"/>
                  <a:gd name="T70" fmla="*/ 310 w 360"/>
                  <a:gd name="T71" fmla="*/ 526 h 943"/>
                  <a:gd name="connsiteX0" fmla="*/ 8611 w 9991"/>
                  <a:gd name="connsiteY0" fmla="*/ 5578 h 10000"/>
                  <a:gd name="connsiteX1" fmla="*/ 8611 w 9991"/>
                  <a:gd name="connsiteY1" fmla="*/ 5557 h 10000"/>
                  <a:gd name="connsiteX2" fmla="*/ 9667 w 9991"/>
                  <a:gd name="connsiteY2" fmla="*/ 3563 h 10000"/>
                  <a:gd name="connsiteX3" fmla="*/ 9714 w 9991"/>
                  <a:gd name="connsiteY3" fmla="*/ 2218 h 10000"/>
                  <a:gd name="connsiteX4" fmla="*/ 9972 w 9991"/>
                  <a:gd name="connsiteY4" fmla="*/ 2110 h 10000"/>
                  <a:gd name="connsiteX5" fmla="*/ 9972 w 9991"/>
                  <a:gd name="connsiteY5" fmla="*/ 2100 h 10000"/>
                  <a:gd name="connsiteX6" fmla="*/ 9889 w 9991"/>
                  <a:gd name="connsiteY6" fmla="*/ 1654 h 10000"/>
                  <a:gd name="connsiteX7" fmla="*/ 9500 w 9991"/>
                  <a:gd name="connsiteY7" fmla="*/ 467 h 10000"/>
                  <a:gd name="connsiteX8" fmla="*/ 9278 w 9991"/>
                  <a:gd name="connsiteY8" fmla="*/ 0 h 10000"/>
                  <a:gd name="connsiteX9" fmla="*/ 8306 w 9991"/>
                  <a:gd name="connsiteY9" fmla="*/ 2153 h 10000"/>
                  <a:gd name="connsiteX10" fmla="*/ 1306 w 9991"/>
                  <a:gd name="connsiteY10" fmla="*/ 2110 h 10000"/>
                  <a:gd name="connsiteX11" fmla="*/ 0 w 9991"/>
                  <a:gd name="connsiteY11" fmla="*/ 2100 h 10000"/>
                  <a:gd name="connsiteX12" fmla="*/ 0 w 9991"/>
                  <a:gd name="connsiteY12" fmla="*/ 2100 h 10000"/>
                  <a:gd name="connsiteX13" fmla="*/ 222 w 9991"/>
                  <a:gd name="connsiteY13" fmla="*/ 2609 h 10000"/>
                  <a:gd name="connsiteX14" fmla="*/ 528 w 9991"/>
                  <a:gd name="connsiteY14" fmla="*/ 3499 h 10000"/>
                  <a:gd name="connsiteX15" fmla="*/ 444 w 9991"/>
                  <a:gd name="connsiteY15" fmla="*/ 5451 h 10000"/>
                  <a:gd name="connsiteX16" fmla="*/ 417 w 9991"/>
                  <a:gd name="connsiteY16" fmla="*/ 6235 h 10000"/>
                  <a:gd name="connsiteX17" fmla="*/ 500 w 9991"/>
                  <a:gd name="connsiteY17" fmla="*/ 7508 h 10000"/>
                  <a:gd name="connsiteX18" fmla="*/ 389 w 9991"/>
                  <a:gd name="connsiteY18" fmla="*/ 8950 h 10000"/>
                  <a:gd name="connsiteX19" fmla="*/ 444 w 9991"/>
                  <a:gd name="connsiteY19" fmla="*/ 9873 h 10000"/>
                  <a:gd name="connsiteX20" fmla="*/ 778 w 9991"/>
                  <a:gd name="connsiteY20" fmla="*/ 10000 h 10000"/>
                  <a:gd name="connsiteX21" fmla="*/ 778 w 9991"/>
                  <a:gd name="connsiteY21" fmla="*/ 9989 h 10000"/>
                  <a:gd name="connsiteX22" fmla="*/ 1889 w 9991"/>
                  <a:gd name="connsiteY22" fmla="*/ 9947 h 10000"/>
                  <a:gd name="connsiteX23" fmla="*/ 4194 w 9991"/>
                  <a:gd name="connsiteY23" fmla="*/ 9650 h 10000"/>
                  <a:gd name="connsiteX24" fmla="*/ 4472 w 9991"/>
                  <a:gd name="connsiteY24" fmla="*/ 9703 h 10000"/>
                  <a:gd name="connsiteX25" fmla="*/ 4500 w 9991"/>
                  <a:gd name="connsiteY25" fmla="*/ 9703 h 10000"/>
                  <a:gd name="connsiteX26" fmla="*/ 4444 w 9991"/>
                  <a:gd name="connsiteY26" fmla="*/ 9692 h 10000"/>
                  <a:gd name="connsiteX27" fmla="*/ 4667 w 9991"/>
                  <a:gd name="connsiteY27" fmla="*/ 9438 h 10000"/>
                  <a:gd name="connsiteX28" fmla="*/ 5306 w 9991"/>
                  <a:gd name="connsiteY28" fmla="*/ 9406 h 10000"/>
                  <a:gd name="connsiteX29" fmla="*/ 8000 w 9991"/>
                  <a:gd name="connsiteY29" fmla="*/ 9311 h 10000"/>
                  <a:gd name="connsiteX30" fmla="*/ 8694 w 9991"/>
                  <a:gd name="connsiteY30" fmla="*/ 9141 h 10000"/>
                  <a:gd name="connsiteX31" fmla="*/ 8500 w 9991"/>
                  <a:gd name="connsiteY31" fmla="*/ 8908 h 10000"/>
                  <a:gd name="connsiteX32" fmla="*/ 7611 w 9991"/>
                  <a:gd name="connsiteY32" fmla="*/ 8293 h 10000"/>
                  <a:gd name="connsiteX33" fmla="*/ 7389 w 9991"/>
                  <a:gd name="connsiteY33" fmla="*/ 7709 h 10000"/>
                  <a:gd name="connsiteX34" fmla="*/ 7722 w 9991"/>
                  <a:gd name="connsiteY34" fmla="*/ 7031 h 10000"/>
                  <a:gd name="connsiteX35" fmla="*/ 8611 w 9991"/>
                  <a:gd name="connsiteY35" fmla="*/ 5578 h 10000"/>
                  <a:gd name="connsiteX0" fmla="*/ 8619 w 10000"/>
                  <a:gd name="connsiteY0" fmla="*/ 5578 h 10000"/>
                  <a:gd name="connsiteX1" fmla="*/ 8619 w 10000"/>
                  <a:gd name="connsiteY1" fmla="*/ 5557 h 10000"/>
                  <a:gd name="connsiteX2" fmla="*/ 9418 w 10000"/>
                  <a:gd name="connsiteY2" fmla="*/ 3563 h 10000"/>
                  <a:gd name="connsiteX3" fmla="*/ 9723 w 10000"/>
                  <a:gd name="connsiteY3" fmla="*/ 2218 h 10000"/>
                  <a:gd name="connsiteX4" fmla="*/ 9981 w 10000"/>
                  <a:gd name="connsiteY4" fmla="*/ 2110 h 10000"/>
                  <a:gd name="connsiteX5" fmla="*/ 9981 w 10000"/>
                  <a:gd name="connsiteY5" fmla="*/ 2100 h 10000"/>
                  <a:gd name="connsiteX6" fmla="*/ 9898 w 10000"/>
                  <a:gd name="connsiteY6" fmla="*/ 1654 h 10000"/>
                  <a:gd name="connsiteX7" fmla="*/ 9509 w 10000"/>
                  <a:gd name="connsiteY7" fmla="*/ 467 h 10000"/>
                  <a:gd name="connsiteX8" fmla="*/ 9286 w 10000"/>
                  <a:gd name="connsiteY8" fmla="*/ 0 h 10000"/>
                  <a:gd name="connsiteX9" fmla="*/ 8313 w 10000"/>
                  <a:gd name="connsiteY9" fmla="*/ 2153 h 10000"/>
                  <a:gd name="connsiteX10" fmla="*/ 1307 w 10000"/>
                  <a:gd name="connsiteY10" fmla="*/ 2110 h 10000"/>
                  <a:gd name="connsiteX11" fmla="*/ 0 w 10000"/>
                  <a:gd name="connsiteY11" fmla="*/ 2100 h 10000"/>
                  <a:gd name="connsiteX12" fmla="*/ 0 w 10000"/>
                  <a:gd name="connsiteY12" fmla="*/ 2100 h 10000"/>
                  <a:gd name="connsiteX13" fmla="*/ 222 w 10000"/>
                  <a:gd name="connsiteY13" fmla="*/ 2609 h 10000"/>
                  <a:gd name="connsiteX14" fmla="*/ 528 w 10000"/>
                  <a:gd name="connsiteY14" fmla="*/ 3499 h 10000"/>
                  <a:gd name="connsiteX15" fmla="*/ 444 w 10000"/>
                  <a:gd name="connsiteY15" fmla="*/ 5451 h 10000"/>
                  <a:gd name="connsiteX16" fmla="*/ 417 w 10000"/>
                  <a:gd name="connsiteY16" fmla="*/ 6235 h 10000"/>
                  <a:gd name="connsiteX17" fmla="*/ 500 w 10000"/>
                  <a:gd name="connsiteY17" fmla="*/ 7508 h 10000"/>
                  <a:gd name="connsiteX18" fmla="*/ 389 w 10000"/>
                  <a:gd name="connsiteY18" fmla="*/ 8950 h 10000"/>
                  <a:gd name="connsiteX19" fmla="*/ 444 w 10000"/>
                  <a:gd name="connsiteY19" fmla="*/ 9873 h 10000"/>
                  <a:gd name="connsiteX20" fmla="*/ 779 w 10000"/>
                  <a:gd name="connsiteY20" fmla="*/ 10000 h 10000"/>
                  <a:gd name="connsiteX21" fmla="*/ 779 w 10000"/>
                  <a:gd name="connsiteY21" fmla="*/ 9989 h 10000"/>
                  <a:gd name="connsiteX22" fmla="*/ 1891 w 10000"/>
                  <a:gd name="connsiteY22" fmla="*/ 9947 h 10000"/>
                  <a:gd name="connsiteX23" fmla="*/ 4198 w 10000"/>
                  <a:gd name="connsiteY23" fmla="*/ 9650 h 10000"/>
                  <a:gd name="connsiteX24" fmla="*/ 4476 w 10000"/>
                  <a:gd name="connsiteY24" fmla="*/ 9703 h 10000"/>
                  <a:gd name="connsiteX25" fmla="*/ 4504 w 10000"/>
                  <a:gd name="connsiteY25" fmla="*/ 9703 h 10000"/>
                  <a:gd name="connsiteX26" fmla="*/ 4448 w 10000"/>
                  <a:gd name="connsiteY26" fmla="*/ 9692 h 10000"/>
                  <a:gd name="connsiteX27" fmla="*/ 4671 w 10000"/>
                  <a:gd name="connsiteY27" fmla="*/ 9438 h 10000"/>
                  <a:gd name="connsiteX28" fmla="*/ 5311 w 10000"/>
                  <a:gd name="connsiteY28" fmla="*/ 9406 h 10000"/>
                  <a:gd name="connsiteX29" fmla="*/ 8007 w 10000"/>
                  <a:gd name="connsiteY29" fmla="*/ 9311 h 10000"/>
                  <a:gd name="connsiteX30" fmla="*/ 8702 w 10000"/>
                  <a:gd name="connsiteY30" fmla="*/ 9141 h 10000"/>
                  <a:gd name="connsiteX31" fmla="*/ 8508 w 10000"/>
                  <a:gd name="connsiteY31" fmla="*/ 8908 h 10000"/>
                  <a:gd name="connsiteX32" fmla="*/ 7618 w 10000"/>
                  <a:gd name="connsiteY32" fmla="*/ 8293 h 10000"/>
                  <a:gd name="connsiteX33" fmla="*/ 7396 w 10000"/>
                  <a:gd name="connsiteY33" fmla="*/ 7709 h 10000"/>
                  <a:gd name="connsiteX34" fmla="*/ 7729 w 10000"/>
                  <a:gd name="connsiteY34" fmla="*/ 7031 h 10000"/>
                  <a:gd name="connsiteX35" fmla="*/ 8619 w 10000"/>
                  <a:gd name="connsiteY35" fmla="*/ 5578 h 10000"/>
                  <a:gd name="connsiteX0" fmla="*/ 8619 w 9981"/>
                  <a:gd name="connsiteY0" fmla="*/ 5578 h 10000"/>
                  <a:gd name="connsiteX1" fmla="*/ 8619 w 9981"/>
                  <a:gd name="connsiteY1" fmla="*/ 5557 h 10000"/>
                  <a:gd name="connsiteX2" fmla="*/ 9418 w 9981"/>
                  <a:gd name="connsiteY2" fmla="*/ 3563 h 10000"/>
                  <a:gd name="connsiteX3" fmla="*/ 9723 w 9981"/>
                  <a:gd name="connsiteY3" fmla="*/ 2218 h 10000"/>
                  <a:gd name="connsiteX4" fmla="*/ 9981 w 9981"/>
                  <a:gd name="connsiteY4" fmla="*/ 2110 h 10000"/>
                  <a:gd name="connsiteX5" fmla="*/ 9723 w 9981"/>
                  <a:gd name="connsiteY5" fmla="*/ 2112 h 10000"/>
                  <a:gd name="connsiteX6" fmla="*/ 9898 w 9981"/>
                  <a:gd name="connsiteY6" fmla="*/ 1654 h 10000"/>
                  <a:gd name="connsiteX7" fmla="*/ 9509 w 9981"/>
                  <a:gd name="connsiteY7" fmla="*/ 467 h 10000"/>
                  <a:gd name="connsiteX8" fmla="*/ 9286 w 9981"/>
                  <a:gd name="connsiteY8" fmla="*/ 0 h 10000"/>
                  <a:gd name="connsiteX9" fmla="*/ 8313 w 9981"/>
                  <a:gd name="connsiteY9" fmla="*/ 2153 h 10000"/>
                  <a:gd name="connsiteX10" fmla="*/ 1307 w 9981"/>
                  <a:gd name="connsiteY10" fmla="*/ 2110 h 10000"/>
                  <a:gd name="connsiteX11" fmla="*/ 0 w 9981"/>
                  <a:gd name="connsiteY11" fmla="*/ 2100 h 10000"/>
                  <a:gd name="connsiteX12" fmla="*/ 0 w 9981"/>
                  <a:gd name="connsiteY12" fmla="*/ 2100 h 10000"/>
                  <a:gd name="connsiteX13" fmla="*/ 222 w 9981"/>
                  <a:gd name="connsiteY13" fmla="*/ 2609 h 10000"/>
                  <a:gd name="connsiteX14" fmla="*/ 528 w 9981"/>
                  <a:gd name="connsiteY14" fmla="*/ 3499 h 10000"/>
                  <a:gd name="connsiteX15" fmla="*/ 444 w 9981"/>
                  <a:gd name="connsiteY15" fmla="*/ 5451 h 10000"/>
                  <a:gd name="connsiteX16" fmla="*/ 417 w 9981"/>
                  <a:gd name="connsiteY16" fmla="*/ 6235 h 10000"/>
                  <a:gd name="connsiteX17" fmla="*/ 500 w 9981"/>
                  <a:gd name="connsiteY17" fmla="*/ 7508 h 10000"/>
                  <a:gd name="connsiteX18" fmla="*/ 389 w 9981"/>
                  <a:gd name="connsiteY18" fmla="*/ 8950 h 10000"/>
                  <a:gd name="connsiteX19" fmla="*/ 444 w 9981"/>
                  <a:gd name="connsiteY19" fmla="*/ 9873 h 10000"/>
                  <a:gd name="connsiteX20" fmla="*/ 779 w 9981"/>
                  <a:gd name="connsiteY20" fmla="*/ 10000 h 10000"/>
                  <a:gd name="connsiteX21" fmla="*/ 779 w 9981"/>
                  <a:gd name="connsiteY21" fmla="*/ 9989 h 10000"/>
                  <a:gd name="connsiteX22" fmla="*/ 1891 w 9981"/>
                  <a:gd name="connsiteY22" fmla="*/ 9947 h 10000"/>
                  <a:gd name="connsiteX23" fmla="*/ 4198 w 9981"/>
                  <a:gd name="connsiteY23" fmla="*/ 9650 h 10000"/>
                  <a:gd name="connsiteX24" fmla="*/ 4476 w 9981"/>
                  <a:gd name="connsiteY24" fmla="*/ 9703 h 10000"/>
                  <a:gd name="connsiteX25" fmla="*/ 4504 w 9981"/>
                  <a:gd name="connsiteY25" fmla="*/ 9703 h 10000"/>
                  <a:gd name="connsiteX26" fmla="*/ 4448 w 9981"/>
                  <a:gd name="connsiteY26" fmla="*/ 9692 h 10000"/>
                  <a:gd name="connsiteX27" fmla="*/ 4671 w 9981"/>
                  <a:gd name="connsiteY27" fmla="*/ 9438 h 10000"/>
                  <a:gd name="connsiteX28" fmla="*/ 5311 w 9981"/>
                  <a:gd name="connsiteY28" fmla="*/ 9406 h 10000"/>
                  <a:gd name="connsiteX29" fmla="*/ 8007 w 9981"/>
                  <a:gd name="connsiteY29" fmla="*/ 9311 h 10000"/>
                  <a:gd name="connsiteX30" fmla="*/ 8702 w 9981"/>
                  <a:gd name="connsiteY30" fmla="*/ 9141 h 10000"/>
                  <a:gd name="connsiteX31" fmla="*/ 8508 w 9981"/>
                  <a:gd name="connsiteY31" fmla="*/ 8908 h 10000"/>
                  <a:gd name="connsiteX32" fmla="*/ 7618 w 9981"/>
                  <a:gd name="connsiteY32" fmla="*/ 8293 h 10000"/>
                  <a:gd name="connsiteX33" fmla="*/ 7396 w 9981"/>
                  <a:gd name="connsiteY33" fmla="*/ 7709 h 10000"/>
                  <a:gd name="connsiteX34" fmla="*/ 7729 w 9981"/>
                  <a:gd name="connsiteY34" fmla="*/ 7031 h 10000"/>
                  <a:gd name="connsiteX35" fmla="*/ 8619 w 9981"/>
                  <a:gd name="connsiteY35" fmla="*/ 5578 h 10000"/>
                  <a:gd name="connsiteX0" fmla="*/ 8635 w 10000"/>
                  <a:gd name="connsiteY0" fmla="*/ 5578 h 10000"/>
                  <a:gd name="connsiteX1" fmla="*/ 8635 w 10000"/>
                  <a:gd name="connsiteY1" fmla="*/ 5557 h 10000"/>
                  <a:gd name="connsiteX2" fmla="*/ 9436 w 10000"/>
                  <a:gd name="connsiteY2" fmla="*/ 3563 h 10000"/>
                  <a:gd name="connsiteX3" fmla="*/ 9742 w 10000"/>
                  <a:gd name="connsiteY3" fmla="*/ 2218 h 10000"/>
                  <a:gd name="connsiteX4" fmla="*/ 10000 w 10000"/>
                  <a:gd name="connsiteY4" fmla="*/ 2110 h 10000"/>
                  <a:gd name="connsiteX5" fmla="*/ 9742 w 10000"/>
                  <a:gd name="connsiteY5" fmla="*/ 2112 h 10000"/>
                  <a:gd name="connsiteX6" fmla="*/ 9658 w 10000"/>
                  <a:gd name="connsiteY6" fmla="*/ 1677 h 10000"/>
                  <a:gd name="connsiteX7" fmla="*/ 9527 w 10000"/>
                  <a:gd name="connsiteY7" fmla="*/ 467 h 10000"/>
                  <a:gd name="connsiteX8" fmla="*/ 9304 w 10000"/>
                  <a:gd name="connsiteY8" fmla="*/ 0 h 10000"/>
                  <a:gd name="connsiteX9" fmla="*/ 8329 w 10000"/>
                  <a:gd name="connsiteY9" fmla="*/ 2153 h 10000"/>
                  <a:gd name="connsiteX10" fmla="*/ 1309 w 10000"/>
                  <a:gd name="connsiteY10" fmla="*/ 2110 h 10000"/>
                  <a:gd name="connsiteX11" fmla="*/ 0 w 10000"/>
                  <a:gd name="connsiteY11" fmla="*/ 2100 h 10000"/>
                  <a:gd name="connsiteX12" fmla="*/ 0 w 10000"/>
                  <a:gd name="connsiteY12" fmla="*/ 2100 h 10000"/>
                  <a:gd name="connsiteX13" fmla="*/ 222 w 10000"/>
                  <a:gd name="connsiteY13" fmla="*/ 2609 h 10000"/>
                  <a:gd name="connsiteX14" fmla="*/ 529 w 10000"/>
                  <a:gd name="connsiteY14" fmla="*/ 3499 h 10000"/>
                  <a:gd name="connsiteX15" fmla="*/ 445 w 10000"/>
                  <a:gd name="connsiteY15" fmla="*/ 5451 h 10000"/>
                  <a:gd name="connsiteX16" fmla="*/ 418 w 10000"/>
                  <a:gd name="connsiteY16" fmla="*/ 6235 h 10000"/>
                  <a:gd name="connsiteX17" fmla="*/ 501 w 10000"/>
                  <a:gd name="connsiteY17" fmla="*/ 7508 h 10000"/>
                  <a:gd name="connsiteX18" fmla="*/ 390 w 10000"/>
                  <a:gd name="connsiteY18" fmla="*/ 8950 h 10000"/>
                  <a:gd name="connsiteX19" fmla="*/ 445 w 10000"/>
                  <a:gd name="connsiteY19" fmla="*/ 9873 h 10000"/>
                  <a:gd name="connsiteX20" fmla="*/ 780 w 10000"/>
                  <a:gd name="connsiteY20" fmla="*/ 10000 h 10000"/>
                  <a:gd name="connsiteX21" fmla="*/ 780 w 10000"/>
                  <a:gd name="connsiteY21" fmla="*/ 9989 h 10000"/>
                  <a:gd name="connsiteX22" fmla="*/ 1895 w 10000"/>
                  <a:gd name="connsiteY22" fmla="*/ 9947 h 10000"/>
                  <a:gd name="connsiteX23" fmla="*/ 4206 w 10000"/>
                  <a:gd name="connsiteY23" fmla="*/ 9650 h 10000"/>
                  <a:gd name="connsiteX24" fmla="*/ 4485 w 10000"/>
                  <a:gd name="connsiteY24" fmla="*/ 9703 h 10000"/>
                  <a:gd name="connsiteX25" fmla="*/ 4513 w 10000"/>
                  <a:gd name="connsiteY25" fmla="*/ 9703 h 10000"/>
                  <a:gd name="connsiteX26" fmla="*/ 4456 w 10000"/>
                  <a:gd name="connsiteY26" fmla="*/ 9692 h 10000"/>
                  <a:gd name="connsiteX27" fmla="*/ 4680 w 10000"/>
                  <a:gd name="connsiteY27" fmla="*/ 9438 h 10000"/>
                  <a:gd name="connsiteX28" fmla="*/ 5321 w 10000"/>
                  <a:gd name="connsiteY28" fmla="*/ 9406 h 10000"/>
                  <a:gd name="connsiteX29" fmla="*/ 8022 w 10000"/>
                  <a:gd name="connsiteY29" fmla="*/ 9311 h 10000"/>
                  <a:gd name="connsiteX30" fmla="*/ 8719 w 10000"/>
                  <a:gd name="connsiteY30" fmla="*/ 9141 h 10000"/>
                  <a:gd name="connsiteX31" fmla="*/ 8524 w 10000"/>
                  <a:gd name="connsiteY31" fmla="*/ 8908 h 10000"/>
                  <a:gd name="connsiteX32" fmla="*/ 7633 w 10000"/>
                  <a:gd name="connsiteY32" fmla="*/ 8293 h 10000"/>
                  <a:gd name="connsiteX33" fmla="*/ 7410 w 10000"/>
                  <a:gd name="connsiteY33" fmla="*/ 7709 h 10000"/>
                  <a:gd name="connsiteX34" fmla="*/ 7744 w 10000"/>
                  <a:gd name="connsiteY34" fmla="*/ 7031 h 10000"/>
                  <a:gd name="connsiteX35" fmla="*/ 8635 w 10000"/>
                  <a:gd name="connsiteY35" fmla="*/ 5578 h 10000"/>
                  <a:gd name="connsiteX0" fmla="*/ 8635 w 9768"/>
                  <a:gd name="connsiteY0" fmla="*/ 5578 h 10000"/>
                  <a:gd name="connsiteX1" fmla="*/ 8635 w 9768"/>
                  <a:gd name="connsiteY1" fmla="*/ 5557 h 10000"/>
                  <a:gd name="connsiteX2" fmla="*/ 9436 w 9768"/>
                  <a:gd name="connsiteY2" fmla="*/ 3563 h 10000"/>
                  <a:gd name="connsiteX3" fmla="*/ 9742 w 9768"/>
                  <a:gd name="connsiteY3" fmla="*/ 2218 h 10000"/>
                  <a:gd name="connsiteX4" fmla="*/ 9742 w 9768"/>
                  <a:gd name="connsiteY4" fmla="*/ 2112 h 10000"/>
                  <a:gd name="connsiteX5" fmla="*/ 9658 w 9768"/>
                  <a:gd name="connsiteY5" fmla="*/ 1677 h 10000"/>
                  <a:gd name="connsiteX6" fmla="*/ 9527 w 9768"/>
                  <a:gd name="connsiteY6" fmla="*/ 467 h 10000"/>
                  <a:gd name="connsiteX7" fmla="*/ 9304 w 9768"/>
                  <a:gd name="connsiteY7" fmla="*/ 0 h 10000"/>
                  <a:gd name="connsiteX8" fmla="*/ 8329 w 9768"/>
                  <a:gd name="connsiteY8" fmla="*/ 2153 h 10000"/>
                  <a:gd name="connsiteX9" fmla="*/ 1309 w 9768"/>
                  <a:gd name="connsiteY9" fmla="*/ 2110 h 10000"/>
                  <a:gd name="connsiteX10" fmla="*/ 0 w 9768"/>
                  <a:gd name="connsiteY10" fmla="*/ 2100 h 10000"/>
                  <a:gd name="connsiteX11" fmla="*/ 0 w 9768"/>
                  <a:gd name="connsiteY11" fmla="*/ 2100 h 10000"/>
                  <a:gd name="connsiteX12" fmla="*/ 222 w 9768"/>
                  <a:gd name="connsiteY12" fmla="*/ 2609 h 10000"/>
                  <a:gd name="connsiteX13" fmla="*/ 529 w 9768"/>
                  <a:gd name="connsiteY13" fmla="*/ 3499 h 10000"/>
                  <a:gd name="connsiteX14" fmla="*/ 445 w 9768"/>
                  <a:gd name="connsiteY14" fmla="*/ 5451 h 10000"/>
                  <a:gd name="connsiteX15" fmla="*/ 418 w 9768"/>
                  <a:gd name="connsiteY15" fmla="*/ 6235 h 10000"/>
                  <a:gd name="connsiteX16" fmla="*/ 501 w 9768"/>
                  <a:gd name="connsiteY16" fmla="*/ 7508 h 10000"/>
                  <a:gd name="connsiteX17" fmla="*/ 390 w 9768"/>
                  <a:gd name="connsiteY17" fmla="*/ 8950 h 10000"/>
                  <a:gd name="connsiteX18" fmla="*/ 445 w 9768"/>
                  <a:gd name="connsiteY18" fmla="*/ 9873 h 10000"/>
                  <a:gd name="connsiteX19" fmla="*/ 780 w 9768"/>
                  <a:gd name="connsiteY19" fmla="*/ 10000 h 10000"/>
                  <a:gd name="connsiteX20" fmla="*/ 780 w 9768"/>
                  <a:gd name="connsiteY20" fmla="*/ 9989 h 10000"/>
                  <a:gd name="connsiteX21" fmla="*/ 1895 w 9768"/>
                  <a:gd name="connsiteY21" fmla="*/ 9947 h 10000"/>
                  <a:gd name="connsiteX22" fmla="*/ 4206 w 9768"/>
                  <a:gd name="connsiteY22" fmla="*/ 9650 h 10000"/>
                  <a:gd name="connsiteX23" fmla="*/ 4485 w 9768"/>
                  <a:gd name="connsiteY23" fmla="*/ 9703 h 10000"/>
                  <a:gd name="connsiteX24" fmla="*/ 4513 w 9768"/>
                  <a:gd name="connsiteY24" fmla="*/ 9703 h 10000"/>
                  <a:gd name="connsiteX25" fmla="*/ 4456 w 9768"/>
                  <a:gd name="connsiteY25" fmla="*/ 9692 h 10000"/>
                  <a:gd name="connsiteX26" fmla="*/ 4680 w 9768"/>
                  <a:gd name="connsiteY26" fmla="*/ 9438 h 10000"/>
                  <a:gd name="connsiteX27" fmla="*/ 5321 w 9768"/>
                  <a:gd name="connsiteY27" fmla="*/ 9406 h 10000"/>
                  <a:gd name="connsiteX28" fmla="*/ 8022 w 9768"/>
                  <a:gd name="connsiteY28" fmla="*/ 9311 h 10000"/>
                  <a:gd name="connsiteX29" fmla="*/ 8719 w 9768"/>
                  <a:gd name="connsiteY29" fmla="*/ 9141 h 10000"/>
                  <a:gd name="connsiteX30" fmla="*/ 8524 w 9768"/>
                  <a:gd name="connsiteY30" fmla="*/ 8908 h 10000"/>
                  <a:gd name="connsiteX31" fmla="*/ 7633 w 9768"/>
                  <a:gd name="connsiteY31" fmla="*/ 8293 h 10000"/>
                  <a:gd name="connsiteX32" fmla="*/ 7410 w 9768"/>
                  <a:gd name="connsiteY32" fmla="*/ 7709 h 10000"/>
                  <a:gd name="connsiteX33" fmla="*/ 7744 w 9768"/>
                  <a:gd name="connsiteY33" fmla="*/ 7031 h 10000"/>
                  <a:gd name="connsiteX34" fmla="*/ 8635 w 9768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753 w 10027"/>
                  <a:gd name="connsiteY6" fmla="*/ 467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447 w 10027"/>
                  <a:gd name="connsiteY27" fmla="*/ 9406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447 w 10027"/>
                  <a:gd name="connsiteY27" fmla="*/ 9406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295 w 10027"/>
                  <a:gd name="connsiteY9" fmla="*/ 187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63 w 10027"/>
                  <a:gd name="connsiteY9" fmla="*/ 176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7622 w 10027"/>
                  <a:gd name="connsiteY8" fmla="*/ 1605 h 10000"/>
                  <a:gd name="connsiteX9" fmla="*/ 163 w 10027"/>
                  <a:gd name="connsiteY9" fmla="*/ 176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797 h 10219"/>
                  <a:gd name="connsiteX1" fmla="*/ 8840 w 10027"/>
                  <a:gd name="connsiteY1" fmla="*/ 5776 h 10219"/>
                  <a:gd name="connsiteX2" fmla="*/ 9660 w 10027"/>
                  <a:gd name="connsiteY2" fmla="*/ 3782 h 10219"/>
                  <a:gd name="connsiteX3" fmla="*/ 9973 w 10027"/>
                  <a:gd name="connsiteY3" fmla="*/ 2437 h 10219"/>
                  <a:gd name="connsiteX4" fmla="*/ 9973 w 10027"/>
                  <a:gd name="connsiteY4" fmla="*/ 2331 h 10219"/>
                  <a:gd name="connsiteX5" fmla="*/ 10020 w 10027"/>
                  <a:gd name="connsiteY5" fmla="*/ 1873 h 10219"/>
                  <a:gd name="connsiteX6" fmla="*/ 9886 w 10027"/>
                  <a:gd name="connsiteY6" fmla="*/ 651 h 10219"/>
                  <a:gd name="connsiteX7" fmla="*/ 9118 w 10027"/>
                  <a:gd name="connsiteY7" fmla="*/ 0 h 10219"/>
                  <a:gd name="connsiteX8" fmla="*/ 7622 w 10027"/>
                  <a:gd name="connsiteY8" fmla="*/ 1824 h 10219"/>
                  <a:gd name="connsiteX9" fmla="*/ 163 w 10027"/>
                  <a:gd name="connsiteY9" fmla="*/ 1984 h 10219"/>
                  <a:gd name="connsiteX10" fmla="*/ 0 w 10027"/>
                  <a:gd name="connsiteY10" fmla="*/ 2319 h 10219"/>
                  <a:gd name="connsiteX11" fmla="*/ 0 w 10027"/>
                  <a:gd name="connsiteY11" fmla="*/ 2319 h 10219"/>
                  <a:gd name="connsiteX12" fmla="*/ 227 w 10027"/>
                  <a:gd name="connsiteY12" fmla="*/ 2828 h 10219"/>
                  <a:gd name="connsiteX13" fmla="*/ 542 w 10027"/>
                  <a:gd name="connsiteY13" fmla="*/ 3718 h 10219"/>
                  <a:gd name="connsiteX14" fmla="*/ 456 w 10027"/>
                  <a:gd name="connsiteY14" fmla="*/ 5670 h 10219"/>
                  <a:gd name="connsiteX15" fmla="*/ 428 w 10027"/>
                  <a:gd name="connsiteY15" fmla="*/ 6454 h 10219"/>
                  <a:gd name="connsiteX16" fmla="*/ 513 w 10027"/>
                  <a:gd name="connsiteY16" fmla="*/ 7727 h 10219"/>
                  <a:gd name="connsiteX17" fmla="*/ 399 w 10027"/>
                  <a:gd name="connsiteY17" fmla="*/ 9169 h 10219"/>
                  <a:gd name="connsiteX18" fmla="*/ 456 w 10027"/>
                  <a:gd name="connsiteY18" fmla="*/ 10092 h 10219"/>
                  <a:gd name="connsiteX19" fmla="*/ 799 w 10027"/>
                  <a:gd name="connsiteY19" fmla="*/ 10219 h 10219"/>
                  <a:gd name="connsiteX20" fmla="*/ 799 w 10027"/>
                  <a:gd name="connsiteY20" fmla="*/ 10208 h 10219"/>
                  <a:gd name="connsiteX21" fmla="*/ 2042 w 10027"/>
                  <a:gd name="connsiteY21" fmla="*/ 10201 h 10219"/>
                  <a:gd name="connsiteX22" fmla="*/ 4408 w 10027"/>
                  <a:gd name="connsiteY22" fmla="*/ 9916 h 10219"/>
                  <a:gd name="connsiteX23" fmla="*/ 4592 w 10027"/>
                  <a:gd name="connsiteY23" fmla="*/ 9922 h 10219"/>
                  <a:gd name="connsiteX24" fmla="*/ 4620 w 10027"/>
                  <a:gd name="connsiteY24" fmla="*/ 9922 h 10219"/>
                  <a:gd name="connsiteX25" fmla="*/ 4562 w 10027"/>
                  <a:gd name="connsiteY25" fmla="*/ 9911 h 10219"/>
                  <a:gd name="connsiteX26" fmla="*/ 4791 w 10027"/>
                  <a:gd name="connsiteY26" fmla="*/ 9657 h 10219"/>
                  <a:gd name="connsiteX27" fmla="*/ 5515 w 10027"/>
                  <a:gd name="connsiteY27" fmla="*/ 9672 h 10219"/>
                  <a:gd name="connsiteX28" fmla="*/ 8213 w 10027"/>
                  <a:gd name="connsiteY28" fmla="*/ 9565 h 10219"/>
                  <a:gd name="connsiteX29" fmla="*/ 8926 w 10027"/>
                  <a:gd name="connsiteY29" fmla="*/ 9360 h 10219"/>
                  <a:gd name="connsiteX30" fmla="*/ 8726 w 10027"/>
                  <a:gd name="connsiteY30" fmla="*/ 9127 h 10219"/>
                  <a:gd name="connsiteX31" fmla="*/ 7814 w 10027"/>
                  <a:gd name="connsiteY31" fmla="*/ 8512 h 10219"/>
                  <a:gd name="connsiteX32" fmla="*/ 7586 w 10027"/>
                  <a:gd name="connsiteY32" fmla="*/ 7928 h 10219"/>
                  <a:gd name="connsiteX33" fmla="*/ 7928 w 10027"/>
                  <a:gd name="connsiteY33" fmla="*/ 7250 h 10219"/>
                  <a:gd name="connsiteX34" fmla="*/ 8840 w 10027"/>
                  <a:gd name="connsiteY34" fmla="*/ 5797 h 10219"/>
                  <a:gd name="connsiteX0" fmla="*/ 8840 w 10027"/>
                  <a:gd name="connsiteY0" fmla="*/ 5797 h 10219"/>
                  <a:gd name="connsiteX1" fmla="*/ 8840 w 10027"/>
                  <a:gd name="connsiteY1" fmla="*/ 5776 h 10219"/>
                  <a:gd name="connsiteX2" fmla="*/ 9660 w 10027"/>
                  <a:gd name="connsiteY2" fmla="*/ 3782 h 10219"/>
                  <a:gd name="connsiteX3" fmla="*/ 9973 w 10027"/>
                  <a:gd name="connsiteY3" fmla="*/ 2437 h 10219"/>
                  <a:gd name="connsiteX4" fmla="*/ 9973 w 10027"/>
                  <a:gd name="connsiteY4" fmla="*/ 2331 h 10219"/>
                  <a:gd name="connsiteX5" fmla="*/ 10020 w 10027"/>
                  <a:gd name="connsiteY5" fmla="*/ 1873 h 10219"/>
                  <a:gd name="connsiteX6" fmla="*/ 9886 w 10027"/>
                  <a:gd name="connsiteY6" fmla="*/ 651 h 10219"/>
                  <a:gd name="connsiteX7" fmla="*/ 9118 w 10027"/>
                  <a:gd name="connsiteY7" fmla="*/ 0 h 10219"/>
                  <a:gd name="connsiteX8" fmla="*/ 7622 w 10027"/>
                  <a:gd name="connsiteY8" fmla="*/ 1824 h 10219"/>
                  <a:gd name="connsiteX9" fmla="*/ 163 w 10027"/>
                  <a:gd name="connsiteY9" fmla="*/ 1984 h 10219"/>
                  <a:gd name="connsiteX10" fmla="*/ 0 w 10027"/>
                  <a:gd name="connsiteY10" fmla="*/ 2319 h 10219"/>
                  <a:gd name="connsiteX11" fmla="*/ 0 w 10027"/>
                  <a:gd name="connsiteY11" fmla="*/ 2319 h 10219"/>
                  <a:gd name="connsiteX12" fmla="*/ 227 w 10027"/>
                  <a:gd name="connsiteY12" fmla="*/ 2828 h 10219"/>
                  <a:gd name="connsiteX13" fmla="*/ 542 w 10027"/>
                  <a:gd name="connsiteY13" fmla="*/ 3718 h 10219"/>
                  <a:gd name="connsiteX14" fmla="*/ 456 w 10027"/>
                  <a:gd name="connsiteY14" fmla="*/ 5670 h 10219"/>
                  <a:gd name="connsiteX15" fmla="*/ 428 w 10027"/>
                  <a:gd name="connsiteY15" fmla="*/ 6454 h 10219"/>
                  <a:gd name="connsiteX16" fmla="*/ 513 w 10027"/>
                  <a:gd name="connsiteY16" fmla="*/ 7727 h 10219"/>
                  <a:gd name="connsiteX17" fmla="*/ 399 w 10027"/>
                  <a:gd name="connsiteY17" fmla="*/ 9169 h 10219"/>
                  <a:gd name="connsiteX18" fmla="*/ 456 w 10027"/>
                  <a:gd name="connsiteY18" fmla="*/ 10092 h 10219"/>
                  <a:gd name="connsiteX19" fmla="*/ 799 w 10027"/>
                  <a:gd name="connsiteY19" fmla="*/ 10219 h 10219"/>
                  <a:gd name="connsiteX20" fmla="*/ 799 w 10027"/>
                  <a:gd name="connsiteY20" fmla="*/ 10208 h 10219"/>
                  <a:gd name="connsiteX21" fmla="*/ 2042 w 10027"/>
                  <a:gd name="connsiteY21" fmla="*/ 10201 h 10219"/>
                  <a:gd name="connsiteX22" fmla="*/ 4408 w 10027"/>
                  <a:gd name="connsiteY22" fmla="*/ 9916 h 10219"/>
                  <a:gd name="connsiteX23" fmla="*/ 4592 w 10027"/>
                  <a:gd name="connsiteY23" fmla="*/ 9922 h 10219"/>
                  <a:gd name="connsiteX24" fmla="*/ 4620 w 10027"/>
                  <a:gd name="connsiteY24" fmla="*/ 9922 h 10219"/>
                  <a:gd name="connsiteX25" fmla="*/ 4562 w 10027"/>
                  <a:gd name="connsiteY25" fmla="*/ 9911 h 10219"/>
                  <a:gd name="connsiteX26" fmla="*/ 4791 w 10027"/>
                  <a:gd name="connsiteY26" fmla="*/ 9657 h 10219"/>
                  <a:gd name="connsiteX27" fmla="*/ 5515 w 10027"/>
                  <a:gd name="connsiteY27" fmla="*/ 9672 h 10219"/>
                  <a:gd name="connsiteX28" fmla="*/ 8213 w 10027"/>
                  <a:gd name="connsiteY28" fmla="*/ 9565 h 10219"/>
                  <a:gd name="connsiteX29" fmla="*/ 8926 w 10027"/>
                  <a:gd name="connsiteY29" fmla="*/ 9360 h 10219"/>
                  <a:gd name="connsiteX30" fmla="*/ 8726 w 10027"/>
                  <a:gd name="connsiteY30" fmla="*/ 9127 h 10219"/>
                  <a:gd name="connsiteX31" fmla="*/ 7814 w 10027"/>
                  <a:gd name="connsiteY31" fmla="*/ 8512 h 10219"/>
                  <a:gd name="connsiteX32" fmla="*/ 7586 w 10027"/>
                  <a:gd name="connsiteY32" fmla="*/ 7928 h 10219"/>
                  <a:gd name="connsiteX33" fmla="*/ 7928 w 10027"/>
                  <a:gd name="connsiteY33" fmla="*/ 7250 h 10219"/>
                  <a:gd name="connsiteX34" fmla="*/ 8840 w 10027"/>
                  <a:gd name="connsiteY34" fmla="*/ 5797 h 10219"/>
                  <a:gd name="connsiteX0" fmla="*/ 8840 w 10082"/>
                  <a:gd name="connsiteY0" fmla="*/ 5797 h 10219"/>
                  <a:gd name="connsiteX1" fmla="*/ 8840 w 10082"/>
                  <a:gd name="connsiteY1" fmla="*/ 5776 h 10219"/>
                  <a:gd name="connsiteX2" fmla="*/ 9660 w 10082"/>
                  <a:gd name="connsiteY2" fmla="*/ 3782 h 10219"/>
                  <a:gd name="connsiteX3" fmla="*/ 9973 w 10082"/>
                  <a:gd name="connsiteY3" fmla="*/ 2437 h 10219"/>
                  <a:gd name="connsiteX4" fmla="*/ 9973 w 10082"/>
                  <a:gd name="connsiteY4" fmla="*/ 2331 h 10219"/>
                  <a:gd name="connsiteX5" fmla="*/ 10020 w 10082"/>
                  <a:gd name="connsiteY5" fmla="*/ 1873 h 10219"/>
                  <a:gd name="connsiteX6" fmla="*/ 10022 w 10082"/>
                  <a:gd name="connsiteY6" fmla="*/ 447 h 10219"/>
                  <a:gd name="connsiteX7" fmla="*/ 9118 w 10082"/>
                  <a:gd name="connsiteY7" fmla="*/ 0 h 10219"/>
                  <a:gd name="connsiteX8" fmla="*/ 7622 w 10082"/>
                  <a:gd name="connsiteY8" fmla="*/ 1824 h 10219"/>
                  <a:gd name="connsiteX9" fmla="*/ 163 w 10082"/>
                  <a:gd name="connsiteY9" fmla="*/ 1984 h 10219"/>
                  <a:gd name="connsiteX10" fmla="*/ 0 w 10082"/>
                  <a:gd name="connsiteY10" fmla="*/ 2319 h 10219"/>
                  <a:gd name="connsiteX11" fmla="*/ 0 w 10082"/>
                  <a:gd name="connsiteY11" fmla="*/ 2319 h 10219"/>
                  <a:gd name="connsiteX12" fmla="*/ 227 w 10082"/>
                  <a:gd name="connsiteY12" fmla="*/ 2828 h 10219"/>
                  <a:gd name="connsiteX13" fmla="*/ 542 w 10082"/>
                  <a:gd name="connsiteY13" fmla="*/ 3718 h 10219"/>
                  <a:gd name="connsiteX14" fmla="*/ 456 w 10082"/>
                  <a:gd name="connsiteY14" fmla="*/ 5670 h 10219"/>
                  <a:gd name="connsiteX15" fmla="*/ 428 w 10082"/>
                  <a:gd name="connsiteY15" fmla="*/ 6454 h 10219"/>
                  <a:gd name="connsiteX16" fmla="*/ 513 w 10082"/>
                  <a:gd name="connsiteY16" fmla="*/ 7727 h 10219"/>
                  <a:gd name="connsiteX17" fmla="*/ 399 w 10082"/>
                  <a:gd name="connsiteY17" fmla="*/ 9169 h 10219"/>
                  <a:gd name="connsiteX18" fmla="*/ 456 w 10082"/>
                  <a:gd name="connsiteY18" fmla="*/ 10092 h 10219"/>
                  <a:gd name="connsiteX19" fmla="*/ 799 w 10082"/>
                  <a:gd name="connsiteY19" fmla="*/ 10219 h 10219"/>
                  <a:gd name="connsiteX20" fmla="*/ 799 w 10082"/>
                  <a:gd name="connsiteY20" fmla="*/ 10208 h 10219"/>
                  <a:gd name="connsiteX21" fmla="*/ 2042 w 10082"/>
                  <a:gd name="connsiteY21" fmla="*/ 10201 h 10219"/>
                  <a:gd name="connsiteX22" fmla="*/ 4408 w 10082"/>
                  <a:gd name="connsiteY22" fmla="*/ 9916 h 10219"/>
                  <a:gd name="connsiteX23" fmla="*/ 4592 w 10082"/>
                  <a:gd name="connsiteY23" fmla="*/ 9922 h 10219"/>
                  <a:gd name="connsiteX24" fmla="*/ 4620 w 10082"/>
                  <a:gd name="connsiteY24" fmla="*/ 9922 h 10219"/>
                  <a:gd name="connsiteX25" fmla="*/ 4562 w 10082"/>
                  <a:gd name="connsiteY25" fmla="*/ 9911 h 10219"/>
                  <a:gd name="connsiteX26" fmla="*/ 4791 w 10082"/>
                  <a:gd name="connsiteY26" fmla="*/ 9657 h 10219"/>
                  <a:gd name="connsiteX27" fmla="*/ 5515 w 10082"/>
                  <a:gd name="connsiteY27" fmla="*/ 9672 h 10219"/>
                  <a:gd name="connsiteX28" fmla="*/ 8213 w 10082"/>
                  <a:gd name="connsiteY28" fmla="*/ 9565 h 10219"/>
                  <a:gd name="connsiteX29" fmla="*/ 8926 w 10082"/>
                  <a:gd name="connsiteY29" fmla="*/ 9360 h 10219"/>
                  <a:gd name="connsiteX30" fmla="*/ 8726 w 10082"/>
                  <a:gd name="connsiteY30" fmla="*/ 9127 h 10219"/>
                  <a:gd name="connsiteX31" fmla="*/ 7814 w 10082"/>
                  <a:gd name="connsiteY31" fmla="*/ 8512 h 10219"/>
                  <a:gd name="connsiteX32" fmla="*/ 7586 w 10082"/>
                  <a:gd name="connsiteY32" fmla="*/ 7928 h 10219"/>
                  <a:gd name="connsiteX33" fmla="*/ 7928 w 10082"/>
                  <a:gd name="connsiteY33" fmla="*/ 7250 h 10219"/>
                  <a:gd name="connsiteX34" fmla="*/ 8840 w 10082"/>
                  <a:gd name="connsiteY34" fmla="*/ 5797 h 1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082" h="10219">
                    <a:moveTo>
                      <a:pt x="8840" y="5797"/>
                    </a:moveTo>
                    <a:cubicBezTo>
                      <a:pt x="8840" y="5790"/>
                      <a:pt x="8704" y="6112"/>
                      <a:pt x="8840" y="5776"/>
                    </a:cubicBezTo>
                    <a:cubicBezTo>
                      <a:pt x="8977" y="5440"/>
                      <a:pt x="9489" y="4397"/>
                      <a:pt x="9660" y="3782"/>
                    </a:cubicBezTo>
                    <a:cubicBezTo>
                      <a:pt x="9830" y="3252"/>
                      <a:pt x="9973" y="2670"/>
                      <a:pt x="9973" y="2437"/>
                    </a:cubicBezTo>
                    <a:cubicBezTo>
                      <a:pt x="10026" y="2195"/>
                      <a:pt x="9965" y="2425"/>
                      <a:pt x="9973" y="2331"/>
                    </a:cubicBezTo>
                    <a:cubicBezTo>
                      <a:pt x="9981" y="2237"/>
                      <a:pt x="10049" y="2149"/>
                      <a:pt x="10020" y="1873"/>
                    </a:cubicBezTo>
                    <a:cubicBezTo>
                      <a:pt x="9992" y="1566"/>
                      <a:pt x="10172" y="759"/>
                      <a:pt x="10022" y="447"/>
                    </a:cubicBezTo>
                    <a:cubicBezTo>
                      <a:pt x="9872" y="135"/>
                      <a:pt x="9927" y="133"/>
                      <a:pt x="9118" y="0"/>
                    </a:cubicBezTo>
                    <a:cubicBezTo>
                      <a:pt x="9174" y="498"/>
                      <a:pt x="8649" y="1824"/>
                      <a:pt x="7622" y="1824"/>
                    </a:cubicBezTo>
                    <a:lnTo>
                      <a:pt x="163" y="1984"/>
                    </a:lnTo>
                    <a:cubicBezTo>
                      <a:pt x="163" y="1984"/>
                      <a:pt x="57" y="2276"/>
                      <a:pt x="0" y="2319"/>
                    </a:cubicBezTo>
                    <a:lnTo>
                      <a:pt x="0" y="2319"/>
                    </a:lnTo>
                    <a:cubicBezTo>
                      <a:pt x="0" y="2393"/>
                      <a:pt x="171" y="2732"/>
                      <a:pt x="227" y="2828"/>
                    </a:cubicBezTo>
                    <a:cubicBezTo>
                      <a:pt x="314" y="2923"/>
                      <a:pt x="542" y="3316"/>
                      <a:pt x="542" y="3718"/>
                    </a:cubicBezTo>
                    <a:cubicBezTo>
                      <a:pt x="542" y="4111"/>
                      <a:pt x="456" y="5341"/>
                      <a:pt x="456" y="5670"/>
                    </a:cubicBezTo>
                    <a:cubicBezTo>
                      <a:pt x="456" y="5988"/>
                      <a:pt x="428" y="6454"/>
                      <a:pt x="428" y="6454"/>
                    </a:cubicBezTo>
                    <a:cubicBezTo>
                      <a:pt x="428" y="6454"/>
                      <a:pt x="542" y="7589"/>
                      <a:pt x="513" y="7727"/>
                    </a:cubicBezTo>
                    <a:cubicBezTo>
                      <a:pt x="456" y="7875"/>
                      <a:pt x="342" y="9031"/>
                      <a:pt x="399" y="9169"/>
                    </a:cubicBezTo>
                    <a:cubicBezTo>
                      <a:pt x="428" y="9318"/>
                      <a:pt x="342" y="10049"/>
                      <a:pt x="456" y="10092"/>
                    </a:cubicBezTo>
                    <a:cubicBezTo>
                      <a:pt x="513" y="10113"/>
                      <a:pt x="599" y="10166"/>
                      <a:pt x="799" y="10219"/>
                    </a:cubicBezTo>
                    <a:lnTo>
                      <a:pt x="799" y="10208"/>
                    </a:lnTo>
                    <a:lnTo>
                      <a:pt x="2042" y="10201"/>
                    </a:lnTo>
                    <a:cubicBezTo>
                      <a:pt x="2469" y="10169"/>
                      <a:pt x="4036" y="9874"/>
                      <a:pt x="4408" y="9916"/>
                    </a:cubicBezTo>
                    <a:cubicBezTo>
                      <a:pt x="4494" y="9927"/>
                      <a:pt x="4506" y="9901"/>
                      <a:pt x="4592" y="9922"/>
                    </a:cubicBezTo>
                    <a:lnTo>
                      <a:pt x="4620" y="9922"/>
                    </a:lnTo>
                    <a:cubicBezTo>
                      <a:pt x="4592" y="9911"/>
                      <a:pt x="4592" y="9911"/>
                      <a:pt x="4562" y="9911"/>
                    </a:cubicBezTo>
                    <a:cubicBezTo>
                      <a:pt x="4306" y="9869"/>
                      <a:pt x="4762" y="9763"/>
                      <a:pt x="4791" y="9657"/>
                    </a:cubicBezTo>
                    <a:cubicBezTo>
                      <a:pt x="4847" y="9540"/>
                      <a:pt x="4945" y="9687"/>
                      <a:pt x="5515" y="9672"/>
                    </a:cubicBezTo>
                    <a:cubicBezTo>
                      <a:pt x="6085" y="9657"/>
                      <a:pt x="7407" y="9723"/>
                      <a:pt x="8213" y="9565"/>
                    </a:cubicBezTo>
                    <a:cubicBezTo>
                      <a:pt x="9019" y="9407"/>
                      <a:pt x="8869" y="9381"/>
                      <a:pt x="8926" y="9360"/>
                    </a:cubicBezTo>
                    <a:cubicBezTo>
                      <a:pt x="8898" y="9275"/>
                      <a:pt x="8784" y="9190"/>
                      <a:pt x="8726" y="9127"/>
                    </a:cubicBezTo>
                    <a:cubicBezTo>
                      <a:pt x="8613" y="9021"/>
                      <a:pt x="8042" y="8639"/>
                      <a:pt x="7814" y="8512"/>
                    </a:cubicBezTo>
                    <a:cubicBezTo>
                      <a:pt x="7586" y="8384"/>
                      <a:pt x="7586" y="8141"/>
                      <a:pt x="7586" y="7928"/>
                    </a:cubicBezTo>
                    <a:cubicBezTo>
                      <a:pt x="7586" y="7716"/>
                      <a:pt x="7642" y="7462"/>
                      <a:pt x="7928" y="7250"/>
                    </a:cubicBezTo>
                    <a:cubicBezTo>
                      <a:pt x="8184" y="7038"/>
                      <a:pt x="8784" y="5967"/>
                      <a:pt x="8840" y="5797"/>
                    </a:cubicBezTo>
                    <a:close/>
                  </a:path>
                </a:pathLst>
              </a:custGeom>
              <a:solidFill>
                <a:srgbClr val="333333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CE9C9681-92A6-412E-855D-AC38804416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55040" y="968085"/>
                <a:ext cx="606425" cy="792163"/>
              </a:xfrm>
              <a:custGeom>
                <a:avLst/>
                <a:gdLst>
                  <a:gd name="T0" fmla="*/ 226 w 228"/>
                  <a:gd name="T1" fmla="*/ 142 h 298"/>
                  <a:gd name="T2" fmla="*/ 207 w 228"/>
                  <a:gd name="T3" fmla="*/ 60 h 298"/>
                  <a:gd name="T4" fmla="*/ 118 w 228"/>
                  <a:gd name="T5" fmla="*/ 15 h 298"/>
                  <a:gd name="T6" fmla="*/ 21 w 228"/>
                  <a:gd name="T7" fmla="*/ 63 h 298"/>
                  <a:gd name="T8" fmla="*/ 21 w 228"/>
                  <a:gd name="T9" fmla="*/ 144 h 298"/>
                  <a:gd name="T10" fmla="*/ 26 w 228"/>
                  <a:gd name="T11" fmla="*/ 180 h 298"/>
                  <a:gd name="T12" fmla="*/ 15 w 228"/>
                  <a:gd name="T13" fmla="*/ 218 h 298"/>
                  <a:gd name="T14" fmla="*/ 115 w 228"/>
                  <a:gd name="T15" fmla="*/ 298 h 298"/>
                  <a:gd name="T16" fmla="*/ 122 w 228"/>
                  <a:gd name="T17" fmla="*/ 298 h 298"/>
                  <a:gd name="T18" fmla="*/ 128 w 228"/>
                  <a:gd name="T19" fmla="*/ 272 h 298"/>
                  <a:gd name="T20" fmla="*/ 160 w 228"/>
                  <a:gd name="T21" fmla="*/ 272 h 298"/>
                  <a:gd name="T22" fmla="*/ 179 w 228"/>
                  <a:gd name="T23" fmla="*/ 251 h 298"/>
                  <a:gd name="T24" fmla="*/ 184 w 228"/>
                  <a:gd name="T25" fmla="*/ 242 h 298"/>
                  <a:gd name="T26" fmla="*/ 188 w 228"/>
                  <a:gd name="T27" fmla="*/ 232 h 298"/>
                  <a:gd name="T28" fmla="*/ 191 w 228"/>
                  <a:gd name="T29" fmla="*/ 226 h 298"/>
                  <a:gd name="T30" fmla="*/ 198 w 228"/>
                  <a:gd name="T31" fmla="*/ 220 h 298"/>
                  <a:gd name="T32" fmla="*/ 204 w 228"/>
                  <a:gd name="T33" fmla="*/ 207 h 298"/>
                  <a:gd name="T34" fmla="*/ 213 w 228"/>
                  <a:gd name="T35" fmla="*/ 203 h 298"/>
                  <a:gd name="T36" fmla="*/ 224 w 228"/>
                  <a:gd name="T37" fmla="*/ 202 h 298"/>
                  <a:gd name="T38" fmla="*/ 218 w 228"/>
                  <a:gd name="T39" fmla="*/ 162 h 298"/>
                  <a:gd name="T40" fmla="*/ 221 w 228"/>
                  <a:gd name="T41" fmla="*/ 156 h 298"/>
                  <a:gd name="T42" fmla="*/ 226 w 228"/>
                  <a:gd name="T43" fmla="*/ 142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8" h="298">
                    <a:moveTo>
                      <a:pt x="226" y="142"/>
                    </a:moveTo>
                    <a:cubicBezTo>
                      <a:pt x="228" y="78"/>
                      <a:pt x="207" y="60"/>
                      <a:pt x="207" y="60"/>
                    </a:cubicBezTo>
                    <a:cubicBezTo>
                      <a:pt x="190" y="34"/>
                      <a:pt x="118" y="15"/>
                      <a:pt x="118" y="15"/>
                    </a:cubicBezTo>
                    <a:cubicBezTo>
                      <a:pt x="66" y="0"/>
                      <a:pt x="42" y="32"/>
                      <a:pt x="21" y="63"/>
                    </a:cubicBezTo>
                    <a:cubicBezTo>
                      <a:pt x="0" y="94"/>
                      <a:pt x="16" y="131"/>
                      <a:pt x="21" y="144"/>
                    </a:cubicBezTo>
                    <a:cubicBezTo>
                      <a:pt x="26" y="156"/>
                      <a:pt x="26" y="180"/>
                      <a:pt x="26" y="180"/>
                    </a:cubicBezTo>
                    <a:cubicBezTo>
                      <a:pt x="26" y="199"/>
                      <a:pt x="20" y="212"/>
                      <a:pt x="15" y="218"/>
                    </a:cubicBezTo>
                    <a:cubicBezTo>
                      <a:pt x="39" y="232"/>
                      <a:pt x="93" y="266"/>
                      <a:pt x="115" y="298"/>
                    </a:cubicBezTo>
                    <a:cubicBezTo>
                      <a:pt x="117" y="296"/>
                      <a:pt x="120" y="295"/>
                      <a:pt x="122" y="298"/>
                    </a:cubicBezTo>
                    <a:cubicBezTo>
                      <a:pt x="123" y="289"/>
                      <a:pt x="125" y="274"/>
                      <a:pt x="128" y="272"/>
                    </a:cubicBezTo>
                    <a:cubicBezTo>
                      <a:pt x="131" y="270"/>
                      <a:pt x="160" y="272"/>
                      <a:pt x="160" y="272"/>
                    </a:cubicBezTo>
                    <a:cubicBezTo>
                      <a:pt x="181" y="274"/>
                      <a:pt x="179" y="251"/>
                      <a:pt x="179" y="251"/>
                    </a:cubicBezTo>
                    <a:cubicBezTo>
                      <a:pt x="178" y="248"/>
                      <a:pt x="184" y="242"/>
                      <a:pt x="184" y="242"/>
                    </a:cubicBezTo>
                    <a:cubicBezTo>
                      <a:pt x="184" y="242"/>
                      <a:pt x="188" y="239"/>
                      <a:pt x="188" y="232"/>
                    </a:cubicBezTo>
                    <a:cubicBezTo>
                      <a:pt x="188" y="224"/>
                      <a:pt x="189" y="226"/>
                      <a:pt x="191" y="226"/>
                    </a:cubicBezTo>
                    <a:cubicBezTo>
                      <a:pt x="193" y="226"/>
                      <a:pt x="195" y="223"/>
                      <a:pt x="198" y="220"/>
                    </a:cubicBezTo>
                    <a:cubicBezTo>
                      <a:pt x="202" y="216"/>
                      <a:pt x="202" y="208"/>
                      <a:pt x="204" y="207"/>
                    </a:cubicBezTo>
                    <a:cubicBezTo>
                      <a:pt x="206" y="206"/>
                      <a:pt x="208" y="201"/>
                      <a:pt x="213" y="203"/>
                    </a:cubicBezTo>
                    <a:cubicBezTo>
                      <a:pt x="218" y="205"/>
                      <a:pt x="222" y="206"/>
                      <a:pt x="224" y="202"/>
                    </a:cubicBezTo>
                    <a:cubicBezTo>
                      <a:pt x="225" y="198"/>
                      <a:pt x="218" y="164"/>
                      <a:pt x="218" y="162"/>
                    </a:cubicBezTo>
                    <a:cubicBezTo>
                      <a:pt x="218" y="160"/>
                      <a:pt x="221" y="156"/>
                      <a:pt x="221" y="156"/>
                    </a:cubicBezTo>
                    <a:cubicBezTo>
                      <a:pt x="225" y="151"/>
                      <a:pt x="226" y="142"/>
                      <a:pt x="226" y="142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5736A367-4475-49C4-8A37-74382F9474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6665" y="1752310"/>
                <a:ext cx="254000" cy="636588"/>
              </a:xfrm>
              <a:custGeom>
                <a:avLst/>
                <a:gdLst>
                  <a:gd name="T0" fmla="*/ 89 w 96"/>
                  <a:gd name="T1" fmla="*/ 182 h 239"/>
                  <a:gd name="T2" fmla="*/ 48 w 96"/>
                  <a:gd name="T3" fmla="*/ 85 h 239"/>
                  <a:gd name="T4" fmla="*/ 27 w 96"/>
                  <a:gd name="T5" fmla="*/ 25 h 239"/>
                  <a:gd name="T6" fmla="*/ 28 w 96"/>
                  <a:gd name="T7" fmla="*/ 25 h 239"/>
                  <a:gd name="T8" fmla="*/ 11 w 96"/>
                  <a:gd name="T9" fmla="*/ 5 h 239"/>
                  <a:gd name="T10" fmla="*/ 9 w 96"/>
                  <a:gd name="T11" fmla="*/ 3 h 239"/>
                  <a:gd name="T12" fmla="*/ 2 w 96"/>
                  <a:gd name="T13" fmla="*/ 3 h 239"/>
                  <a:gd name="T14" fmla="*/ 5 w 96"/>
                  <a:gd name="T15" fmla="*/ 7 h 239"/>
                  <a:gd name="T16" fmla="*/ 5 w 96"/>
                  <a:gd name="T17" fmla="*/ 15 h 239"/>
                  <a:gd name="T18" fmla="*/ 0 w 96"/>
                  <a:gd name="T19" fmla="*/ 48 h 239"/>
                  <a:gd name="T20" fmla="*/ 71 w 96"/>
                  <a:gd name="T21" fmla="*/ 167 h 239"/>
                  <a:gd name="T22" fmla="*/ 96 w 96"/>
                  <a:gd name="T23" fmla="*/ 239 h 239"/>
                  <a:gd name="T24" fmla="*/ 89 w 96"/>
                  <a:gd name="T25" fmla="*/ 182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239">
                    <a:moveTo>
                      <a:pt x="89" y="182"/>
                    </a:moveTo>
                    <a:cubicBezTo>
                      <a:pt x="83" y="159"/>
                      <a:pt x="49" y="90"/>
                      <a:pt x="48" y="85"/>
                    </a:cubicBezTo>
                    <a:cubicBezTo>
                      <a:pt x="47" y="79"/>
                      <a:pt x="32" y="31"/>
                      <a:pt x="27" y="25"/>
                    </a:cubicBezTo>
                    <a:cubicBezTo>
                      <a:pt x="25" y="23"/>
                      <a:pt x="26" y="24"/>
                      <a:pt x="28" y="25"/>
                    </a:cubicBezTo>
                    <a:cubicBezTo>
                      <a:pt x="18" y="12"/>
                      <a:pt x="11" y="5"/>
                      <a:pt x="11" y="5"/>
                    </a:cubicBezTo>
                    <a:cubicBezTo>
                      <a:pt x="10" y="4"/>
                      <a:pt x="10" y="4"/>
                      <a:pt x="9" y="3"/>
                    </a:cubicBezTo>
                    <a:cubicBezTo>
                      <a:pt x="7" y="0"/>
                      <a:pt x="4" y="1"/>
                      <a:pt x="2" y="3"/>
                    </a:cubicBezTo>
                    <a:cubicBezTo>
                      <a:pt x="3" y="4"/>
                      <a:pt x="4" y="6"/>
                      <a:pt x="5" y="7"/>
                    </a:cubicBezTo>
                    <a:cubicBezTo>
                      <a:pt x="5" y="7"/>
                      <a:pt x="5" y="10"/>
                      <a:pt x="5" y="15"/>
                    </a:cubicBezTo>
                    <a:cubicBezTo>
                      <a:pt x="5" y="24"/>
                      <a:pt x="4" y="40"/>
                      <a:pt x="0" y="48"/>
                    </a:cubicBezTo>
                    <a:cubicBezTo>
                      <a:pt x="21" y="78"/>
                      <a:pt x="47" y="119"/>
                      <a:pt x="71" y="167"/>
                    </a:cubicBezTo>
                    <a:cubicBezTo>
                      <a:pt x="71" y="167"/>
                      <a:pt x="95" y="233"/>
                      <a:pt x="96" y="239"/>
                    </a:cubicBezTo>
                    <a:cubicBezTo>
                      <a:pt x="96" y="239"/>
                      <a:pt x="96" y="205"/>
                      <a:pt x="89" y="182"/>
                    </a:cubicBezTo>
                    <a:close/>
                  </a:path>
                </a:pathLst>
              </a:custGeom>
              <a:solidFill>
                <a:srgbClr val="DAE3E8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0D422AC1-7182-4D10-AA6B-4048B8F6AF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26465" y="1531647"/>
                <a:ext cx="342900" cy="349250"/>
              </a:xfrm>
              <a:custGeom>
                <a:avLst/>
                <a:gdLst>
                  <a:gd name="T0" fmla="*/ 126 w 129"/>
                  <a:gd name="T1" fmla="*/ 86 h 131"/>
                  <a:gd name="T2" fmla="*/ 26 w 129"/>
                  <a:gd name="T3" fmla="*/ 6 h 131"/>
                  <a:gd name="T4" fmla="*/ 15 w 129"/>
                  <a:gd name="T5" fmla="*/ 0 h 131"/>
                  <a:gd name="T6" fmla="*/ 0 w 129"/>
                  <a:gd name="T7" fmla="*/ 10 h 131"/>
                  <a:gd name="T8" fmla="*/ 85 w 129"/>
                  <a:gd name="T9" fmla="*/ 78 h 131"/>
                  <a:gd name="T10" fmla="*/ 119 w 129"/>
                  <a:gd name="T11" fmla="*/ 123 h 131"/>
                  <a:gd name="T12" fmla="*/ 124 w 129"/>
                  <a:gd name="T13" fmla="*/ 131 h 131"/>
                  <a:gd name="T14" fmla="*/ 129 w 129"/>
                  <a:gd name="T15" fmla="*/ 98 h 131"/>
                  <a:gd name="T16" fmla="*/ 129 w 129"/>
                  <a:gd name="T17" fmla="*/ 90 h 131"/>
                  <a:gd name="T18" fmla="*/ 126 w 129"/>
                  <a:gd name="T19" fmla="*/ 8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" h="131">
                    <a:moveTo>
                      <a:pt x="126" y="86"/>
                    </a:moveTo>
                    <a:cubicBezTo>
                      <a:pt x="104" y="54"/>
                      <a:pt x="50" y="20"/>
                      <a:pt x="26" y="6"/>
                    </a:cubicBezTo>
                    <a:cubicBezTo>
                      <a:pt x="19" y="2"/>
                      <a:pt x="15" y="0"/>
                      <a:pt x="15" y="0"/>
                    </a:cubicBezTo>
                    <a:cubicBezTo>
                      <a:pt x="11" y="0"/>
                      <a:pt x="5" y="5"/>
                      <a:pt x="0" y="10"/>
                    </a:cubicBezTo>
                    <a:cubicBezTo>
                      <a:pt x="13" y="16"/>
                      <a:pt x="67" y="60"/>
                      <a:pt x="85" y="78"/>
                    </a:cubicBezTo>
                    <a:cubicBezTo>
                      <a:pt x="85" y="78"/>
                      <a:pt x="99" y="95"/>
                      <a:pt x="119" y="123"/>
                    </a:cubicBezTo>
                    <a:cubicBezTo>
                      <a:pt x="121" y="126"/>
                      <a:pt x="123" y="128"/>
                      <a:pt x="124" y="131"/>
                    </a:cubicBezTo>
                    <a:cubicBezTo>
                      <a:pt x="128" y="123"/>
                      <a:pt x="129" y="107"/>
                      <a:pt x="129" y="98"/>
                    </a:cubicBezTo>
                    <a:cubicBezTo>
                      <a:pt x="129" y="93"/>
                      <a:pt x="129" y="90"/>
                      <a:pt x="129" y="90"/>
                    </a:cubicBezTo>
                    <a:cubicBezTo>
                      <a:pt x="128" y="89"/>
                      <a:pt x="127" y="87"/>
                      <a:pt x="126" y="86"/>
                    </a:cubicBezTo>
                    <a:close/>
                  </a:path>
                </a:pathLst>
              </a:custGeom>
              <a:solidFill>
                <a:srgbClr val="E4EFF7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1432419D-A44E-45CC-B25D-5C8FA72105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2520" y="1555461"/>
                <a:ext cx="1263286" cy="2180627"/>
              </a:xfrm>
              <a:custGeom>
                <a:avLst/>
                <a:gdLst>
                  <a:gd name="T0" fmla="*/ 471 w 480"/>
                  <a:gd name="T1" fmla="*/ 364 h 825"/>
                  <a:gd name="T2" fmla="*/ 469 w 480"/>
                  <a:gd name="T3" fmla="*/ 361 h 825"/>
                  <a:gd name="T4" fmla="*/ 377 w 480"/>
                  <a:gd name="T5" fmla="*/ 343 h 825"/>
                  <a:gd name="T6" fmla="*/ 369 w 480"/>
                  <a:gd name="T7" fmla="*/ 276 h 825"/>
                  <a:gd name="T8" fmla="*/ 317 w 480"/>
                  <a:gd name="T9" fmla="*/ 141 h 825"/>
                  <a:gd name="T10" fmla="*/ 284 w 480"/>
                  <a:gd name="T11" fmla="*/ 99 h 825"/>
                  <a:gd name="T12" fmla="*/ 304 w 480"/>
                  <a:gd name="T13" fmla="*/ 159 h 825"/>
                  <a:gd name="T14" fmla="*/ 345 w 480"/>
                  <a:gd name="T15" fmla="*/ 256 h 825"/>
                  <a:gd name="T16" fmla="*/ 352 w 480"/>
                  <a:gd name="T17" fmla="*/ 313 h 825"/>
                  <a:gd name="T18" fmla="*/ 327 w 480"/>
                  <a:gd name="T19" fmla="*/ 241 h 825"/>
                  <a:gd name="T20" fmla="*/ 256 w 480"/>
                  <a:gd name="T21" fmla="*/ 122 h 825"/>
                  <a:gd name="T22" fmla="*/ 251 w 480"/>
                  <a:gd name="T23" fmla="*/ 114 h 825"/>
                  <a:gd name="T24" fmla="*/ 217 w 480"/>
                  <a:gd name="T25" fmla="*/ 69 h 825"/>
                  <a:gd name="T26" fmla="*/ 132 w 480"/>
                  <a:gd name="T27" fmla="*/ 1 h 825"/>
                  <a:gd name="T28" fmla="*/ 129 w 480"/>
                  <a:gd name="T29" fmla="*/ 0 h 825"/>
                  <a:gd name="T30" fmla="*/ 103 w 480"/>
                  <a:gd name="T31" fmla="*/ 39 h 825"/>
                  <a:gd name="T32" fmla="*/ 32 w 480"/>
                  <a:gd name="T33" fmla="*/ 93 h 825"/>
                  <a:gd name="T34" fmla="*/ 3 w 480"/>
                  <a:gd name="T35" fmla="*/ 212 h 825"/>
                  <a:gd name="T36" fmla="*/ 17 w 480"/>
                  <a:gd name="T37" fmla="*/ 276 h 825"/>
                  <a:gd name="T38" fmla="*/ 27 w 480"/>
                  <a:gd name="T39" fmla="*/ 360 h 825"/>
                  <a:gd name="T40" fmla="*/ 43 w 480"/>
                  <a:gd name="T41" fmla="*/ 429 h 825"/>
                  <a:gd name="T42" fmla="*/ 39 w 480"/>
                  <a:gd name="T43" fmla="*/ 499 h 825"/>
                  <a:gd name="T44" fmla="*/ 36 w 480"/>
                  <a:gd name="T45" fmla="*/ 565 h 825"/>
                  <a:gd name="T46" fmla="*/ 21 w 480"/>
                  <a:gd name="T47" fmla="*/ 676 h 825"/>
                  <a:gd name="T48" fmla="*/ 28 w 480"/>
                  <a:gd name="T49" fmla="*/ 812 h 825"/>
                  <a:gd name="T50" fmla="*/ 37 w 480"/>
                  <a:gd name="T51" fmla="*/ 815 h 825"/>
                  <a:gd name="T52" fmla="*/ 37 w 480"/>
                  <a:gd name="T53" fmla="*/ 815 h 825"/>
                  <a:gd name="T54" fmla="*/ 84 w 480"/>
                  <a:gd name="T55" fmla="*/ 816 h 825"/>
                  <a:gd name="T56" fmla="*/ 336 w 480"/>
                  <a:gd name="T57" fmla="*/ 820 h 825"/>
                  <a:gd name="T58" fmla="*/ 371 w 480"/>
                  <a:gd name="T59" fmla="*/ 617 h 825"/>
                  <a:gd name="T60" fmla="*/ 379 w 480"/>
                  <a:gd name="T61" fmla="*/ 661 h 825"/>
                  <a:gd name="T62" fmla="*/ 393 w 480"/>
                  <a:gd name="T63" fmla="*/ 773 h 825"/>
                  <a:gd name="T64" fmla="*/ 396 w 480"/>
                  <a:gd name="T65" fmla="*/ 815 h 825"/>
                  <a:gd name="T66" fmla="*/ 396 w 480"/>
                  <a:gd name="T67" fmla="*/ 816 h 825"/>
                  <a:gd name="T68" fmla="*/ 396 w 480"/>
                  <a:gd name="T69" fmla="*/ 825 h 825"/>
                  <a:gd name="T70" fmla="*/ 397 w 480"/>
                  <a:gd name="T71" fmla="*/ 685 h 825"/>
                  <a:gd name="T72" fmla="*/ 388 w 480"/>
                  <a:gd name="T73" fmla="*/ 537 h 825"/>
                  <a:gd name="T74" fmla="*/ 383 w 480"/>
                  <a:gd name="T75" fmla="*/ 475 h 825"/>
                  <a:gd name="T76" fmla="*/ 465 w 480"/>
                  <a:gd name="T77" fmla="*/ 475 h 825"/>
                  <a:gd name="T78" fmla="*/ 468 w 480"/>
                  <a:gd name="T79" fmla="*/ 443 h 825"/>
                  <a:gd name="T80" fmla="*/ 473 w 480"/>
                  <a:gd name="T81" fmla="*/ 423 h 825"/>
                  <a:gd name="T82" fmla="*/ 471 w 480"/>
                  <a:gd name="T83" fmla="*/ 364 h 825"/>
                  <a:gd name="connsiteX0" fmla="*/ 9759 w 9868"/>
                  <a:gd name="connsiteY0" fmla="*/ 4412 h 10054"/>
                  <a:gd name="connsiteX1" fmla="*/ 9717 w 9868"/>
                  <a:gd name="connsiteY1" fmla="*/ 4376 h 10054"/>
                  <a:gd name="connsiteX2" fmla="*/ 7800 w 9868"/>
                  <a:gd name="connsiteY2" fmla="*/ 4158 h 10054"/>
                  <a:gd name="connsiteX3" fmla="*/ 7634 w 9868"/>
                  <a:gd name="connsiteY3" fmla="*/ 3345 h 10054"/>
                  <a:gd name="connsiteX4" fmla="*/ 6550 w 9868"/>
                  <a:gd name="connsiteY4" fmla="*/ 1709 h 10054"/>
                  <a:gd name="connsiteX5" fmla="*/ 5863 w 9868"/>
                  <a:gd name="connsiteY5" fmla="*/ 1200 h 10054"/>
                  <a:gd name="connsiteX6" fmla="*/ 6279 w 9868"/>
                  <a:gd name="connsiteY6" fmla="*/ 1927 h 10054"/>
                  <a:gd name="connsiteX7" fmla="*/ 7134 w 9868"/>
                  <a:gd name="connsiteY7" fmla="*/ 3103 h 10054"/>
                  <a:gd name="connsiteX8" fmla="*/ 7279 w 9868"/>
                  <a:gd name="connsiteY8" fmla="*/ 3794 h 10054"/>
                  <a:gd name="connsiteX9" fmla="*/ 6759 w 9868"/>
                  <a:gd name="connsiteY9" fmla="*/ 2921 h 10054"/>
                  <a:gd name="connsiteX10" fmla="*/ 5279 w 9868"/>
                  <a:gd name="connsiteY10" fmla="*/ 1479 h 10054"/>
                  <a:gd name="connsiteX11" fmla="*/ 5175 w 9868"/>
                  <a:gd name="connsiteY11" fmla="*/ 1382 h 10054"/>
                  <a:gd name="connsiteX12" fmla="*/ 4467 w 9868"/>
                  <a:gd name="connsiteY12" fmla="*/ 836 h 10054"/>
                  <a:gd name="connsiteX13" fmla="*/ 2696 w 9868"/>
                  <a:gd name="connsiteY13" fmla="*/ 12 h 10054"/>
                  <a:gd name="connsiteX14" fmla="*/ 2634 w 9868"/>
                  <a:gd name="connsiteY14" fmla="*/ 0 h 10054"/>
                  <a:gd name="connsiteX15" fmla="*/ 2092 w 9868"/>
                  <a:gd name="connsiteY15" fmla="*/ 473 h 10054"/>
                  <a:gd name="connsiteX16" fmla="*/ 613 w 9868"/>
                  <a:gd name="connsiteY16" fmla="*/ 1127 h 10054"/>
                  <a:gd name="connsiteX17" fmla="*/ 9 w 9868"/>
                  <a:gd name="connsiteY17" fmla="*/ 2570 h 10054"/>
                  <a:gd name="connsiteX18" fmla="*/ 300 w 9868"/>
                  <a:gd name="connsiteY18" fmla="*/ 3345 h 10054"/>
                  <a:gd name="connsiteX19" fmla="*/ 509 w 9868"/>
                  <a:gd name="connsiteY19" fmla="*/ 4364 h 10054"/>
                  <a:gd name="connsiteX20" fmla="*/ 842 w 9868"/>
                  <a:gd name="connsiteY20" fmla="*/ 5200 h 10054"/>
                  <a:gd name="connsiteX21" fmla="*/ 759 w 9868"/>
                  <a:gd name="connsiteY21" fmla="*/ 6048 h 10054"/>
                  <a:gd name="connsiteX22" fmla="*/ 696 w 9868"/>
                  <a:gd name="connsiteY22" fmla="*/ 6848 h 10054"/>
                  <a:gd name="connsiteX23" fmla="*/ 384 w 9868"/>
                  <a:gd name="connsiteY23" fmla="*/ 8194 h 10054"/>
                  <a:gd name="connsiteX24" fmla="*/ 529 w 9868"/>
                  <a:gd name="connsiteY24" fmla="*/ 9842 h 10054"/>
                  <a:gd name="connsiteX25" fmla="*/ 717 w 9868"/>
                  <a:gd name="connsiteY25" fmla="*/ 9879 h 10054"/>
                  <a:gd name="connsiteX26" fmla="*/ 717 w 9868"/>
                  <a:gd name="connsiteY26" fmla="*/ 9879 h 10054"/>
                  <a:gd name="connsiteX27" fmla="*/ 1696 w 9868"/>
                  <a:gd name="connsiteY27" fmla="*/ 9891 h 10054"/>
                  <a:gd name="connsiteX28" fmla="*/ 6946 w 9868"/>
                  <a:gd name="connsiteY28" fmla="*/ 9939 h 10054"/>
                  <a:gd name="connsiteX29" fmla="*/ 7675 w 9868"/>
                  <a:gd name="connsiteY29" fmla="*/ 7479 h 10054"/>
                  <a:gd name="connsiteX30" fmla="*/ 7842 w 9868"/>
                  <a:gd name="connsiteY30" fmla="*/ 8012 h 10054"/>
                  <a:gd name="connsiteX31" fmla="*/ 8134 w 9868"/>
                  <a:gd name="connsiteY31" fmla="*/ 9370 h 10054"/>
                  <a:gd name="connsiteX32" fmla="*/ 8196 w 9868"/>
                  <a:gd name="connsiteY32" fmla="*/ 9879 h 10054"/>
                  <a:gd name="connsiteX33" fmla="*/ 8196 w 9868"/>
                  <a:gd name="connsiteY33" fmla="*/ 9891 h 10054"/>
                  <a:gd name="connsiteX34" fmla="*/ 7930 w 9868"/>
                  <a:gd name="connsiteY34" fmla="*/ 10054 h 10054"/>
                  <a:gd name="connsiteX35" fmla="*/ 8217 w 9868"/>
                  <a:gd name="connsiteY35" fmla="*/ 8303 h 10054"/>
                  <a:gd name="connsiteX36" fmla="*/ 8029 w 9868"/>
                  <a:gd name="connsiteY36" fmla="*/ 6509 h 10054"/>
                  <a:gd name="connsiteX37" fmla="*/ 7925 w 9868"/>
                  <a:gd name="connsiteY37" fmla="*/ 5758 h 10054"/>
                  <a:gd name="connsiteX38" fmla="*/ 9634 w 9868"/>
                  <a:gd name="connsiteY38" fmla="*/ 5758 h 10054"/>
                  <a:gd name="connsiteX39" fmla="*/ 9696 w 9868"/>
                  <a:gd name="connsiteY39" fmla="*/ 5370 h 10054"/>
                  <a:gd name="connsiteX40" fmla="*/ 9800 w 9868"/>
                  <a:gd name="connsiteY40" fmla="*/ 5127 h 10054"/>
                  <a:gd name="connsiteX41" fmla="*/ 9759 w 9868"/>
                  <a:gd name="connsiteY41" fmla="*/ 4412 h 10054"/>
                  <a:gd name="connsiteX0" fmla="*/ 9890 w 9999"/>
                  <a:gd name="connsiteY0" fmla="*/ 4388 h 10000"/>
                  <a:gd name="connsiteX1" fmla="*/ 9847 w 9999"/>
                  <a:gd name="connsiteY1" fmla="*/ 4352 h 10000"/>
                  <a:gd name="connsiteX2" fmla="*/ 7904 w 9999"/>
                  <a:gd name="connsiteY2" fmla="*/ 4136 h 10000"/>
                  <a:gd name="connsiteX3" fmla="*/ 7736 w 9999"/>
                  <a:gd name="connsiteY3" fmla="*/ 3327 h 10000"/>
                  <a:gd name="connsiteX4" fmla="*/ 6638 w 9999"/>
                  <a:gd name="connsiteY4" fmla="*/ 1700 h 10000"/>
                  <a:gd name="connsiteX5" fmla="*/ 5941 w 9999"/>
                  <a:gd name="connsiteY5" fmla="*/ 1194 h 10000"/>
                  <a:gd name="connsiteX6" fmla="*/ 6363 w 9999"/>
                  <a:gd name="connsiteY6" fmla="*/ 1917 h 10000"/>
                  <a:gd name="connsiteX7" fmla="*/ 7229 w 9999"/>
                  <a:gd name="connsiteY7" fmla="*/ 3086 h 10000"/>
                  <a:gd name="connsiteX8" fmla="*/ 7376 w 9999"/>
                  <a:gd name="connsiteY8" fmla="*/ 3774 h 10000"/>
                  <a:gd name="connsiteX9" fmla="*/ 6849 w 9999"/>
                  <a:gd name="connsiteY9" fmla="*/ 2905 h 10000"/>
                  <a:gd name="connsiteX10" fmla="*/ 5350 w 9999"/>
                  <a:gd name="connsiteY10" fmla="*/ 1471 h 10000"/>
                  <a:gd name="connsiteX11" fmla="*/ 5244 w 9999"/>
                  <a:gd name="connsiteY11" fmla="*/ 1375 h 10000"/>
                  <a:gd name="connsiteX12" fmla="*/ 4527 w 9999"/>
                  <a:gd name="connsiteY12" fmla="*/ 832 h 10000"/>
                  <a:gd name="connsiteX13" fmla="*/ 2732 w 9999"/>
                  <a:gd name="connsiteY13" fmla="*/ 12 h 10000"/>
                  <a:gd name="connsiteX14" fmla="*/ 2669 w 9999"/>
                  <a:gd name="connsiteY14" fmla="*/ 0 h 10000"/>
                  <a:gd name="connsiteX15" fmla="*/ 2120 w 9999"/>
                  <a:gd name="connsiteY15" fmla="*/ 470 h 10000"/>
                  <a:gd name="connsiteX16" fmla="*/ 621 w 9999"/>
                  <a:gd name="connsiteY16" fmla="*/ 1121 h 10000"/>
                  <a:gd name="connsiteX17" fmla="*/ 9 w 9999"/>
                  <a:gd name="connsiteY17" fmla="*/ 2556 h 10000"/>
                  <a:gd name="connsiteX18" fmla="*/ 304 w 9999"/>
                  <a:gd name="connsiteY18" fmla="*/ 3327 h 10000"/>
                  <a:gd name="connsiteX19" fmla="*/ 516 w 9999"/>
                  <a:gd name="connsiteY19" fmla="*/ 4341 h 10000"/>
                  <a:gd name="connsiteX20" fmla="*/ 853 w 9999"/>
                  <a:gd name="connsiteY20" fmla="*/ 5172 h 10000"/>
                  <a:gd name="connsiteX21" fmla="*/ 769 w 9999"/>
                  <a:gd name="connsiteY21" fmla="*/ 6016 h 10000"/>
                  <a:gd name="connsiteX22" fmla="*/ 705 w 9999"/>
                  <a:gd name="connsiteY22" fmla="*/ 6811 h 10000"/>
                  <a:gd name="connsiteX23" fmla="*/ 389 w 9999"/>
                  <a:gd name="connsiteY23" fmla="*/ 8150 h 10000"/>
                  <a:gd name="connsiteX24" fmla="*/ 536 w 9999"/>
                  <a:gd name="connsiteY24" fmla="*/ 9789 h 10000"/>
                  <a:gd name="connsiteX25" fmla="*/ 727 w 9999"/>
                  <a:gd name="connsiteY25" fmla="*/ 9826 h 10000"/>
                  <a:gd name="connsiteX26" fmla="*/ 727 w 9999"/>
                  <a:gd name="connsiteY26" fmla="*/ 9826 h 10000"/>
                  <a:gd name="connsiteX27" fmla="*/ 1719 w 9999"/>
                  <a:gd name="connsiteY27" fmla="*/ 9838 h 10000"/>
                  <a:gd name="connsiteX28" fmla="*/ 7039 w 9999"/>
                  <a:gd name="connsiteY28" fmla="*/ 9886 h 10000"/>
                  <a:gd name="connsiteX29" fmla="*/ 7778 w 9999"/>
                  <a:gd name="connsiteY29" fmla="*/ 7439 h 10000"/>
                  <a:gd name="connsiteX30" fmla="*/ 7947 w 9999"/>
                  <a:gd name="connsiteY30" fmla="*/ 7969 h 10000"/>
                  <a:gd name="connsiteX31" fmla="*/ 8022 w 9999"/>
                  <a:gd name="connsiteY31" fmla="*/ 9400 h 10000"/>
                  <a:gd name="connsiteX32" fmla="*/ 8306 w 9999"/>
                  <a:gd name="connsiteY32" fmla="*/ 9826 h 10000"/>
                  <a:gd name="connsiteX33" fmla="*/ 8306 w 9999"/>
                  <a:gd name="connsiteY33" fmla="*/ 9838 h 10000"/>
                  <a:gd name="connsiteX34" fmla="*/ 8036 w 9999"/>
                  <a:gd name="connsiteY34" fmla="*/ 10000 h 10000"/>
                  <a:gd name="connsiteX35" fmla="*/ 8327 w 9999"/>
                  <a:gd name="connsiteY35" fmla="*/ 8258 h 10000"/>
                  <a:gd name="connsiteX36" fmla="*/ 8136 w 9999"/>
                  <a:gd name="connsiteY36" fmla="*/ 6474 h 10000"/>
                  <a:gd name="connsiteX37" fmla="*/ 8031 w 9999"/>
                  <a:gd name="connsiteY37" fmla="*/ 5727 h 10000"/>
                  <a:gd name="connsiteX38" fmla="*/ 9763 w 9999"/>
                  <a:gd name="connsiteY38" fmla="*/ 5727 h 10000"/>
                  <a:gd name="connsiteX39" fmla="*/ 9826 w 9999"/>
                  <a:gd name="connsiteY39" fmla="*/ 5341 h 10000"/>
                  <a:gd name="connsiteX40" fmla="*/ 9931 w 9999"/>
                  <a:gd name="connsiteY40" fmla="*/ 5099 h 10000"/>
                  <a:gd name="connsiteX41" fmla="*/ 9890 w 9999"/>
                  <a:gd name="connsiteY41" fmla="*/ 4388 h 10000"/>
                  <a:gd name="connsiteX0" fmla="*/ 9891 w 10000"/>
                  <a:gd name="connsiteY0" fmla="*/ 4388 h 10000"/>
                  <a:gd name="connsiteX1" fmla="*/ 9848 w 10000"/>
                  <a:gd name="connsiteY1" fmla="*/ 4352 h 10000"/>
                  <a:gd name="connsiteX2" fmla="*/ 7905 w 10000"/>
                  <a:gd name="connsiteY2" fmla="*/ 4136 h 10000"/>
                  <a:gd name="connsiteX3" fmla="*/ 7737 w 10000"/>
                  <a:gd name="connsiteY3" fmla="*/ 3327 h 10000"/>
                  <a:gd name="connsiteX4" fmla="*/ 6639 w 10000"/>
                  <a:gd name="connsiteY4" fmla="*/ 1700 h 10000"/>
                  <a:gd name="connsiteX5" fmla="*/ 5942 w 10000"/>
                  <a:gd name="connsiteY5" fmla="*/ 1194 h 10000"/>
                  <a:gd name="connsiteX6" fmla="*/ 6364 w 10000"/>
                  <a:gd name="connsiteY6" fmla="*/ 1917 h 10000"/>
                  <a:gd name="connsiteX7" fmla="*/ 7230 w 10000"/>
                  <a:gd name="connsiteY7" fmla="*/ 3086 h 10000"/>
                  <a:gd name="connsiteX8" fmla="*/ 7377 w 10000"/>
                  <a:gd name="connsiteY8" fmla="*/ 3774 h 10000"/>
                  <a:gd name="connsiteX9" fmla="*/ 6850 w 10000"/>
                  <a:gd name="connsiteY9" fmla="*/ 2905 h 10000"/>
                  <a:gd name="connsiteX10" fmla="*/ 5351 w 10000"/>
                  <a:gd name="connsiteY10" fmla="*/ 1471 h 10000"/>
                  <a:gd name="connsiteX11" fmla="*/ 5245 w 10000"/>
                  <a:gd name="connsiteY11" fmla="*/ 1375 h 10000"/>
                  <a:gd name="connsiteX12" fmla="*/ 4527 w 10000"/>
                  <a:gd name="connsiteY12" fmla="*/ 832 h 10000"/>
                  <a:gd name="connsiteX13" fmla="*/ 2732 w 10000"/>
                  <a:gd name="connsiteY13" fmla="*/ 12 h 10000"/>
                  <a:gd name="connsiteX14" fmla="*/ 2669 w 10000"/>
                  <a:gd name="connsiteY14" fmla="*/ 0 h 10000"/>
                  <a:gd name="connsiteX15" fmla="*/ 2120 w 10000"/>
                  <a:gd name="connsiteY15" fmla="*/ 470 h 10000"/>
                  <a:gd name="connsiteX16" fmla="*/ 621 w 10000"/>
                  <a:gd name="connsiteY16" fmla="*/ 1121 h 10000"/>
                  <a:gd name="connsiteX17" fmla="*/ 9 w 10000"/>
                  <a:gd name="connsiteY17" fmla="*/ 2556 h 10000"/>
                  <a:gd name="connsiteX18" fmla="*/ 304 w 10000"/>
                  <a:gd name="connsiteY18" fmla="*/ 3327 h 10000"/>
                  <a:gd name="connsiteX19" fmla="*/ 516 w 10000"/>
                  <a:gd name="connsiteY19" fmla="*/ 4341 h 10000"/>
                  <a:gd name="connsiteX20" fmla="*/ 853 w 10000"/>
                  <a:gd name="connsiteY20" fmla="*/ 5172 h 10000"/>
                  <a:gd name="connsiteX21" fmla="*/ 769 w 10000"/>
                  <a:gd name="connsiteY21" fmla="*/ 6016 h 10000"/>
                  <a:gd name="connsiteX22" fmla="*/ 705 w 10000"/>
                  <a:gd name="connsiteY22" fmla="*/ 6811 h 10000"/>
                  <a:gd name="connsiteX23" fmla="*/ 389 w 10000"/>
                  <a:gd name="connsiteY23" fmla="*/ 8150 h 10000"/>
                  <a:gd name="connsiteX24" fmla="*/ 536 w 10000"/>
                  <a:gd name="connsiteY24" fmla="*/ 9789 h 10000"/>
                  <a:gd name="connsiteX25" fmla="*/ 727 w 10000"/>
                  <a:gd name="connsiteY25" fmla="*/ 9826 h 10000"/>
                  <a:gd name="connsiteX26" fmla="*/ 727 w 10000"/>
                  <a:gd name="connsiteY26" fmla="*/ 9826 h 10000"/>
                  <a:gd name="connsiteX27" fmla="*/ 1719 w 10000"/>
                  <a:gd name="connsiteY27" fmla="*/ 9838 h 10000"/>
                  <a:gd name="connsiteX28" fmla="*/ 7040 w 10000"/>
                  <a:gd name="connsiteY28" fmla="*/ 9886 h 10000"/>
                  <a:gd name="connsiteX29" fmla="*/ 7779 w 10000"/>
                  <a:gd name="connsiteY29" fmla="*/ 7439 h 10000"/>
                  <a:gd name="connsiteX30" fmla="*/ 7948 w 10000"/>
                  <a:gd name="connsiteY30" fmla="*/ 7969 h 10000"/>
                  <a:gd name="connsiteX31" fmla="*/ 8023 w 10000"/>
                  <a:gd name="connsiteY31" fmla="*/ 9400 h 10000"/>
                  <a:gd name="connsiteX32" fmla="*/ 8307 w 10000"/>
                  <a:gd name="connsiteY32" fmla="*/ 9826 h 10000"/>
                  <a:gd name="connsiteX33" fmla="*/ 8307 w 10000"/>
                  <a:gd name="connsiteY33" fmla="*/ 9838 h 10000"/>
                  <a:gd name="connsiteX34" fmla="*/ 8037 w 10000"/>
                  <a:gd name="connsiteY34" fmla="*/ 10000 h 10000"/>
                  <a:gd name="connsiteX35" fmla="*/ 8205 w 10000"/>
                  <a:gd name="connsiteY35" fmla="*/ 8285 h 10000"/>
                  <a:gd name="connsiteX36" fmla="*/ 8137 w 10000"/>
                  <a:gd name="connsiteY36" fmla="*/ 6474 h 10000"/>
                  <a:gd name="connsiteX37" fmla="*/ 8032 w 10000"/>
                  <a:gd name="connsiteY37" fmla="*/ 5727 h 10000"/>
                  <a:gd name="connsiteX38" fmla="*/ 9764 w 10000"/>
                  <a:gd name="connsiteY38" fmla="*/ 5727 h 10000"/>
                  <a:gd name="connsiteX39" fmla="*/ 9827 w 10000"/>
                  <a:gd name="connsiteY39" fmla="*/ 5341 h 10000"/>
                  <a:gd name="connsiteX40" fmla="*/ 9932 w 10000"/>
                  <a:gd name="connsiteY40" fmla="*/ 5099 h 10000"/>
                  <a:gd name="connsiteX41" fmla="*/ 9891 w 10000"/>
                  <a:gd name="connsiteY41" fmla="*/ 4388 h 10000"/>
                  <a:gd name="connsiteX0" fmla="*/ 9891 w 10000"/>
                  <a:gd name="connsiteY0" fmla="*/ 4388 h 10000"/>
                  <a:gd name="connsiteX1" fmla="*/ 9848 w 10000"/>
                  <a:gd name="connsiteY1" fmla="*/ 4352 h 10000"/>
                  <a:gd name="connsiteX2" fmla="*/ 7905 w 10000"/>
                  <a:gd name="connsiteY2" fmla="*/ 4136 h 10000"/>
                  <a:gd name="connsiteX3" fmla="*/ 7737 w 10000"/>
                  <a:gd name="connsiteY3" fmla="*/ 3327 h 10000"/>
                  <a:gd name="connsiteX4" fmla="*/ 6639 w 10000"/>
                  <a:gd name="connsiteY4" fmla="*/ 1700 h 10000"/>
                  <a:gd name="connsiteX5" fmla="*/ 5942 w 10000"/>
                  <a:gd name="connsiteY5" fmla="*/ 1194 h 10000"/>
                  <a:gd name="connsiteX6" fmla="*/ 6364 w 10000"/>
                  <a:gd name="connsiteY6" fmla="*/ 1917 h 10000"/>
                  <a:gd name="connsiteX7" fmla="*/ 7230 w 10000"/>
                  <a:gd name="connsiteY7" fmla="*/ 3086 h 10000"/>
                  <a:gd name="connsiteX8" fmla="*/ 7377 w 10000"/>
                  <a:gd name="connsiteY8" fmla="*/ 3774 h 10000"/>
                  <a:gd name="connsiteX9" fmla="*/ 6850 w 10000"/>
                  <a:gd name="connsiteY9" fmla="*/ 2905 h 10000"/>
                  <a:gd name="connsiteX10" fmla="*/ 5351 w 10000"/>
                  <a:gd name="connsiteY10" fmla="*/ 1471 h 10000"/>
                  <a:gd name="connsiteX11" fmla="*/ 5245 w 10000"/>
                  <a:gd name="connsiteY11" fmla="*/ 1375 h 10000"/>
                  <a:gd name="connsiteX12" fmla="*/ 4527 w 10000"/>
                  <a:gd name="connsiteY12" fmla="*/ 832 h 10000"/>
                  <a:gd name="connsiteX13" fmla="*/ 2732 w 10000"/>
                  <a:gd name="connsiteY13" fmla="*/ 12 h 10000"/>
                  <a:gd name="connsiteX14" fmla="*/ 2669 w 10000"/>
                  <a:gd name="connsiteY14" fmla="*/ 0 h 10000"/>
                  <a:gd name="connsiteX15" fmla="*/ 2120 w 10000"/>
                  <a:gd name="connsiteY15" fmla="*/ 470 h 10000"/>
                  <a:gd name="connsiteX16" fmla="*/ 621 w 10000"/>
                  <a:gd name="connsiteY16" fmla="*/ 1121 h 10000"/>
                  <a:gd name="connsiteX17" fmla="*/ 9 w 10000"/>
                  <a:gd name="connsiteY17" fmla="*/ 2556 h 10000"/>
                  <a:gd name="connsiteX18" fmla="*/ 304 w 10000"/>
                  <a:gd name="connsiteY18" fmla="*/ 3327 h 10000"/>
                  <a:gd name="connsiteX19" fmla="*/ 516 w 10000"/>
                  <a:gd name="connsiteY19" fmla="*/ 4341 h 10000"/>
                  <a:gd name="connsiteX20" fmla="*/ 853 w 10000"/>
                  <a:gd name="connsiteY20" fmla="*/ 5172 h 10000"/>
                  <a:gd name="connsiteX21" fmla="*/ 769 w 10000"/>
                  <a:gd name="connsiteY21" fmla="*/ 6016 h 10000"/>
                  <a:gd name="connsiteX22" fmla="*/ 705 w 10000"/>
                  <a:gd name="connsiteY22" fmla="*/ 6811 h 10000"/>
                  <a:gd name="connsiteX23" fmla="*/ 389 w 10000"/>
                  <a:gd name="connsiteY23" fmla="*/ 8150 h 10000"/>
                  <a:gd name="connsiteX24" fmla="*/ 536 w 10000"/>
                  <a:gd name="connsiteY24" fmla="*/ 9789 h 10000"/>
                  <a:gd name="connsiteX25" fmla="*/ 727 w 10000"/>
                  <a:gd name="connsiteY25" fmla="*/ 9826 h 10000"/>
                  <a:gd name="connsiteX26" fmla="*/ 727 w 10000"/>
                  <a:gd name="connsiteY26" fmla="*/ 9826 h 10000"/>
                  <a:gd name="connsiteX27" fmla="*/ 1719 w 10000"/>
                  <a:gd name="connsiteY27" fmla="*/ 9838 h 10000"/>
                  <a:gd name="connsiteX28" fmla="*/ 7040 w 10000"/>
                  <a:gd name="connsiteY28" fmla="*/ 9886 h 10000"/>
                  <a:gd name="connsiteX29" fmla="*/ 7779 w 10000"/>
                  <a:gd name="connsiteY29" fmla="*/ 7439 h 10000"/>
                  <a:gd name="connsiteX30" fmla="*/ 7948 w 10000"/>
                  <a:gd name="connsiteY30" fmla="*/ 7969 h 10000"/>
                  <a:gd name="connsiteX31" fmla="*/ 8023 w 10000"/>
                  <a:gd name="connsiteY31" fmla="*/ 9400 h 10000"/>
                  <a:gd name="connsiteX32" fmla="*/ 8307 w 10000"/>
                  <a:gd name="connsiteY32" fmla="*/ 9826 h 10000"/>
                  <a:gd name="connsiteX33" fmla="*/ 8307 w 10000"/>
                  <a:gd name="connsiteY33" fmla="*/ 9838 h 10000"/>
                  <a:gd name="connsiteX34" fmla="*/ 8037 w 10000"/>
                  <a:gd name="connsiteY34" fmla="*/ 10000 h 10000"/>
                  <a:gd name="connsiteX35" fmla="*/ 8205 w 10000"/>
                  <a:gd name="connsiteY35" fmla="*/ 8285 h 10000"/>
                  <a:gd name="connsiteX36" fmla="*/ 8137 w 10000"/>
                  <a:gd name="connsiteY36" fmla="*/ 6474 h 10000"/>
                  <a:gd name="connsiteX37" fmla="*/ 8032 w 10000"/>
                  <a:gd name="connsiteY37" fmla="*/ 5727 h 10000"/>
                  <a:gd name="connsiteX38" fmla="*/ 9764 w 10000"/>
                  <a:gd name="connsiteY38" fmla="*/ 5727 h 10000"/>
                  <a:gd name="connsiteX39" fmla="*/ 9827 w 10000"/>
                  <a:gd name="connsiteY39" fmla="*/ 5341 h 10000"/>
                  <a:gd name="connsiteX40" fmla="*/ 9932 w 10000"/>
                  <a:gd name="connsiteY40" fmla="*/ 5099 h 10000"/>
                  <a:gd name="connsiteX41" fmla="*/ 9891 w 10000"/>
                  <a:gd name="connsiteY41" fmla="*/ 4388 h 10000"/>
                  <a:gd name="connsiteX0" fmla="*/ 9891 w 10000"/>
                  <a:gd name="connsiteY0" fmla="*/ 4388 h 10120"/>
                  <a:gd name="connsiteX1" fmla="*/ 9848 w 10000"/>
                  <a:gd name="connsiteY1" fmla="*/ 4352 h 10120"/>
                  <a:gd name="connsiteX2" fmla="*/ 7905 w 10000"/>
                  <a:gd name="connsiteY2" fmla="*/ 4136 h 10120"/>
                  <a:gd name="connsiteX3" fmla="*/ 7737 w 10000"/>
                  <a:gd name="connsiteY3" fmla="*/ 3327 h 10120"/>
                  <a:gd name="connsiteX4" fmla="*/ 6639 w 10000"/>
                  <a:gd name="connsiteY4" fmla="*/ 1700 h 10120"/>
                  <a:gd name="connsiteX5" fmla="*/ 5942 w 10000"/>
                  <a:gd name="connsiteY5" fmla="*/ 1194 h 10120"/>
                  <a:gd name="connsiteX6" fmla="*/ 6364 w 10000"/>
                  <a:gd name="connsiteY6" fmla="*/ 1917 h 10120"/>
                  <a:gd name="connsiteX7" fmla="*/ 7230 w 10000"/>
                  <a:gd name="connsiteY7" fmla="*/ 3086 h 10120"/>
                  <a:gd name="connsiteX8" fmla="*/ 7377 w 10000"/>
                  <a:gd name="connsiteY8" fmla="*/ 3774 h 10120"/>
                  <a:gd name="connsiteX9" fmla="*/ 6850 w 10000"/>
                  <a:gd name="connsiteY9" fmla="*/ 2905 h 10120"/>
                  <a:gd name="connsiteX10" fmla="*/ 5351 w 10000"/>
                  <a:gd name="connsiteY10" fmla="*/ 1471 h 10120"/>
                  <a:gd name="connsiteX11" fmla="*/ 5245 w 10000"/>
                  <a:gd name="connsiteY11" fmla="*/ 1375 h 10120"/>
                  <a:gd name="connsiteX12" fmla="*/ 4527 w 10000"/>
                  <a:gd name="connsiteY12" fmla="*/ 832 h 10120"/>
                  <a:gd name="connsiteX13" fmla="*/ 2732 w 10000"/>
                  <a:gd name="connsiteY13" fmla="*/ 12 h 10120"/>
                  <a:gd name="connsiteX14" fmla="*/ 2669 w 10000"/>
                  <a:gd name="connsiteY14" fmla="*/ 0 h 10120"/>
                  <a:gd name="connsiteX15" fmla="*/ 2120 w 10000"/>
                  <a:gd name="connsiteY15" fmla="*/ 470 h 10120"/>
                  <a:gd name="connsiteX16" fmla="*/ 621 w 10000"/>
                  <a:gd name="connsiteY16" fmla="*/ 1121 h 10120"/>
                  <a:gd name="connsiteX17" fmla="*/ 9 w 10000"/>
                  <a:gd name="connsiteY17" fmla="*/ 2556 h 10120"/>
                  <a:gd name="connsiteX18" fmla="*/ 304 w 10000"/>
                  <a:gd name="connsiteY18" fmla="*/ 3327 h 10120"/>
                  <a:gd name="connsiteX19" fmla="*/ 516 w 10000"/>
                  <a:gd name="connsiteY19" fmla="*/ 4341 h 10120"/>
                  <a:gd name="connsiteX20" fmla="*/ 853 w 10000"/>
                  <a:gd name="connsiteY20" fmla="*/ 5172 h 10120"/>
                  <a:gd name="connsiteX21" fmla="*/ 769 w 10000"/>
                  <a:gd name="connsiteY21" fmla="*/ 6016 h 10120"/>
                  <a:gd name="connsiteX22" fmla="*/ 705 w 10000"/>
                  <a:gd name="connsiteY22" fmla="*/ 6811 h 10120"/>
                  <a:gd name="connsiteX23" fmla="*/ 389 w 10000"/>
                  <a:gd name="connsiteY23" fmla="*/ 8150 h 10120"/>
                  <a:gd name="connsiteX24" fmla="*/ 536 w 10000"/>
                  <a:gd name="connsiteY24" fmla="*/ 9789 h 10120"/>
                  <a:gd name="connsiteX25" fmla="*/ 727 w 10000"/>
                  <a:gd name="connsiteY25" fmla="*/ 9826 h 10120"/>
                  <a:gd name="connsiteX26" fmla="*/ 727 w 10000"/>
                  <a:gd name="connsiteY26" fmla="*/ 9826 h 10120"/>
                  <a:gd name="connsiteX27" fmla="*/ 1719 w 10000"/>
                  <a:gd name="connsiteY27" fmla="*/ 9838 h 10120"/>
                  <a:gd name="connsiteX28" fmla="*/ 7040 w 10000"/>
                  <a:gd name="connsiteY28" fmla="*/ 9886 h 10120"/>
                  <a:gd name="connsiteX29" fmla="*/ 7779 w 10000"/>
                  <a:gd name="connsiteY29" fmla="*/ 7439 h 10120"/>
                  <a:gd name="connsiteX30" fmla="*/ 7948 w 10000"/>
                  <a:gd name="connsiteY30" fmla="*/ 7969 h 10120"/>
                  <a:gd name="connsiteX31" fmla="*/ 8023 w 10000"/>
                  <a:gd name="connsiteY31" fmla="*/ 9400 h 10120"/>
                  <a:gd name="connsiteX32" fmla="*/ 8307 w 10000"/>
                  <a:gd name="connsiteY32" fmla="*/ 9826 h 10120"/>
                  <a:gd name="connsiteX33" fmla="*/ 9166 w 10000"/>
                  <a:gd name="connsiteY33" fmla="*/ 10118 h 10120"/>
                  <a:gd name="connsiteX34" fmla="*/ 8037 w 10000"/>
                  <a:gd name="connsiteY34" fmla="*/ 10000 h 10120"/>
                  <a:gd name="connsiteX35" fmla="*/ 8205 w 10000"/>
                  <a:gd name="connsiteY35" fmla="*/ 8285 h 10120"/>
                  <a:gd name="connsiteX36" fmla="*/ 8137 w 10000"/>
                  <a:gd name="connsiteY36" fmla="*/ 6474 h 10120"/>
                  <a:gd name="connsiteX37" fmla="*/ 8032 w 10000"/>
                  <a:gd name="connsiteY37" fmla="*/ 5727 h 10120"/>
                  <a:gd name="connsiteX38" fmla="*/ 9764 w 10000"/>
                  <a:gd name="connsiteY38" fmla="*/ 5727 h 10120"/>
                  <a:gd name="connsiteX39" fmla="*/ 9827 w 10000"/>
                  <a:gd name="connsiteY39" fmla="*/ 5341 h 10120"/>
                  <a:gd name="connsiteX40" fmla="*/ 9932 w 10000"/>
                  <a:gd name="connsiteY40" fmla="*/ 5099 h 10120"/>
                  <a:gd name="connsiteX41" fmla="*/ 9891 w 10000"/>
                  <a:gd name="connsiteY41" fmla="*/ 4388 h 10120"/>
                  <a:gd name="connsiteX0" fmla="*/ 9891 w 10000"/>
                  <a:gd name="connsiteY0" fmla="*/ 4388 h 10095"/>
                  <a:gd name="connsiteX1" fmla="*/ 9848 w 10000"/>
                  <a:gd name="connsiteY1" fmla="*/ 4352 h 10095"/>
                  <a:gd name="connsiteX2" fmla="*/ 7905 w 10000"/>
                  <a:gd name="connsiteY2" fmla="*/ 4136 h 10095"/>
                  <a:gd name="connsiteX3" fmla="*/ 7737 w 10000"/>
                  <a:gd name="connsiteY3" fmla="*/ 3327 h 10095"/>
                  <a:gd name="connsiteX4" fmla="*/ 6639 w 10000"/>
                  <a:gd name="connsiteY4" fmla="*/ 1700 h 10095"/>
                  <a:gd name="connsiteX5" fmla="*/ 5942 w 10000"/>
                  <a:gd name="connsiteY5" fmla="*/ 1194 h 10095"/>
                  <a:gd name="connsiteX6" fmla="*/ 6364 w 10000"/>
                  <a:gd name="connsiteY6" fmla="*/ 1917 h 10095"/>
                  <a:gd name="connsiteX7" fmla="*/ 7230 w 10000"/>
                  <a:gd name="connsiteY7" fmla="*/ 3086 h 10095"/>
                  <a:gd name="connsiteX8" fmla="*/ 7377 w 10000"/>
                  <a:gd name="connsiteY8" fmla="*/ 3774 h 10095"/>
                  <a:gd name="connsiteX9" fmla="*/ 6850 w 10000"/>
                  <a:gd name="connsiteY9" fmla="*/ 2905 h 10095"/>
                  <a:gd name="connsiteX10" fmla="*/ 5351 w 10000"/>
                  <a:gd name="connsiteY10" fmla="*/ 1471 h 10095"/>
                  <a:gd name="connsiteX11" fmla="*/ 5245 w 10000"/>
                  <a:gd name="connsiteY11" fmla="*/ 1375 h 10095"/>
                  <a:gd name="connsiteX12" fmla="*/ 4527 w 10000"/>
                  <a:gd name="connsiteY12" fmla="*/ 832 h 10095"/>
                  <a:gd name="connsiteX13" fmla="*/ 2732 w 10000"/>
                  <a:gd name="connsiteY13" fmla="*/ 12 h 10095"/>
                  <a:gd name="connsiteX14" fmla="*/ 2669 w 10000"/>
                  <a:gd name="connsiteY14" fmla="*/ 0 h 10095"/>
                  <a:gd name="connsiteX15" fmla="*/ 2120 w 10000"/>
                  <a:gd name="connsiteY15" fmla="*/ 470 h 10095"/>
                  <a:gd name="connsiteX16" fmla="*/ 621 w 10000"/>
                  <a:gd name="connsiteY16" fmla="*/ 1121 h 10095"/>
                  <a:gd name="connsiteX17" fmla="*/ 9 w 10000"/>
                  <a:gd name="connsiteY17" fmla="*/ 2556 h 10095"/>
                  <a:gd name="connsiteX18" fmla="*/ 304 w 10000"/>
                  <a:gd name="connsiteY18" fmla="*/ 3327 h 10095"/>
                  <a:gd name="connsiteX19" fmla="*/ 516 w 10000"/>
                  <a:gd name="connsiteY19" fmla="*/ 4341 h 10095"/>
                  <a:gd name="connsiteX20" fmla="*/ 853 w 10000"/>
                  <a:gd name="connsiteY20" fmla="*/ 5172 h 10095"/>
                  <a:gd name="connsiteX21" fmla="*/ 769 w 10000"/>
                  <a:gd name="connsiteY21" fmla="*/ 6016 h 10095"/>
                  <a:gd name="connsiteX22" fmla="*/ 705 w 10000"/>
                  <a:gd name="connsiteY22" fmla="*/ 6811 h 10095"/>
                  <a:gd name="connsiteX23" fmla="*/ 389 w 10000"/>
                  <a:gd name="connsiteY23" fmla="*/ 8150 h 10095"/>
                  <a:gd name="connsiteX24" fmla="*/ 536 w 10000"/>
                  <a:gd name="connsiteY24" fmla="*/ 9789 h 10095"/>
                  <a:gd name="connsiteX25" fmla="*/ 727 w 10000"/>
                  <a:gd name="connsiteY25" fmla="*/ 9826 h 10095"/>
                  <a:gd name="connsiteX26" fmla="*/ 727 w 10000"/>
                  <a:gd name="connsiteY26" fmla="*/ 9826 h 10095"/>
                  <a:gd name="connsiteX27" fmla="*/ 1719 w 10000"/>
                  <a:gd name="connsiteY27" fmla="*/ 9838 h 10095"/>
                  <a:gd name="connsiteX28" fmla="*/ 7040 w 10000"/>
                  <a:gd name="connsiteY28" fmla="*/ 9886 h 10095"/>
                  <a:gd name="connsiteX29" fmla="*/ 7779 w 10000"/>
                  <a:gd name="connsiteY29" fmla="*/ 7439 h 10095"/>
                  <a:gd name="connsiteX30" fmla="*/ 7948 w 10000"/>
                  <a:gd name="connsiteY30" fmla="*/ 7969 h 10095"/>
                  <a:gd name="connsiteX31" fmla="*/ 8023 w 10000"/>
                  <a:gd name="connsiteY31" fmla="*/ 9400 h 10095"/>
                  <a:gd name="connsiteX32" fmla="*/ 8307 w 10000"/>
                  <a:gd name="connsiteY32" fmla="*/ 9826 h 10095"/>
                  <a:gd name="connsiteX33" fmla="*/ 8037 w 10000"/>
                  <a:gd name="connsiteY33" fmla="*/ 10000 h 10095"/>
                  <a:gd name="connsiteX34" fmla="*/ 8205 w 10000"/>
                  <a:gd name="connsiteY34" fmla="*/ 8285 h 10095"/>
                  <a:gd name="connsiteX35" fmla="*/ 8137 w 10000"/>
                  <a:gd name="connsiteY35" fmla="*/ 6474 h 10095"/>
                  <a:gd name="connsiteX36" fmla="*/ 8032 w 10000"/>
                  <a:gd name="connsiteY36" fmla="*/ 5727 h 10095"/>
                  <a:gd name="connsiteX37" fmla="*/ 9764 w 10000"/>
                  <a:gd name="connsiteY37" fmla="*/ 5727 h 10095"/>
                  <a:gd name="connsiteX38" fmla="*/ 9827 w 10000"/>
                  <a:gd name="connsiteY38" fmla="*/ 5341 h 10095"/>
                  <a:gd name="connsiteX39" fmla="*/ 9932 w 10000"/>
                  <a:gd name="connsiteY39" fmla="*/ 5099 h 10095"/>
                  <a:gd name="connsiteX40" fmla="*/ 9891 w 10000"/>
                  <a:gd name="connsiteY40" fmla="*/ 4388 h 10095"/>
                  <a:gd name="connsiteX0" fmla="*/ 9891 w 10000"/>
                  <a:gd name="connsiteY0" fmla="*/ 4388 h 10079"/>
                  <a:gd name="connsiteX1" fmla="*/ 9848 w 10000"/>
                  <a:gd name="connsiteY1" fmla="*/ 4352 h 10079"/>
                  <a:gd name="connsiteX2" fmla="*/ 7905 w 10000"/>
                  <a:gd name="connsiteY2" fmla="*/ 4136 h 10079"/>
                  <a:gd name="connsiteX3" fmla="*/ 7737 w 10000"/>
                  <a:gd name="connsiteY3" fmla="*/ 3327 h 10079"/>
                  <a:gd name="connsiteX4" fmla="*/ 6639 w 10000"/>
                  <a:gd name="connsiteY4" fmla="*/ 1700 h 10079"/>
                  <a:gd name="connsiteX5" fmla="*/ 5942 w 10000"/>
                  <a:gd name="connsiteY5" fmla="*/ 1194 h 10079"/>
                  <a:gd name="connsiteX6" fmla="*/ 6364 w 10000"/>
                  <a:gd name="connsiteY6" fmla="*/ 1917 h 10079"/>
                  <a:gd name="connsiteX7" fmla="*/ 7230 w 10000"/>
                  <a:gd name="connsiteY7" fmla="*/ 3086 h 10079"/>
                  <a:gd name="connsiteX8" fmla="*/ 7377 w 10000"/>
                  <a:gd name="connsiteY8" fmla="*/ 3774 h 10079"/>
                  <a:gd name="connsiteX9" fmla="*/ 6850 w 10000"/>
                  <a:gd name="connsiteY9" fmla="*/ 2905 h 10079"/>
                  <a:gd name="connsiteX10" fmla="*/ 5351 w 10000"/>
                  <a:gd name="connsiteY10" fmla="*/ 1471 h 10079"/>
                  <a:gd name="connsiteX11" fmla="*/ 5245 w 10000"/>
                  <a:gd name="connsiteY11" fmla="*/ 1375 h 10079"/>
                  <a:gd name="connsiteX12" fmla="*/ 4527 w 10000"/>
                  <a:gd name="connsiteY12" fmla="*/ 832 h 10079"/>
                  <a:gd name="connsiteX13" fmla="*/ 2732 w 10000"/>
                  <a:gd name="connsiteY13" fmla="*/ 12 h 10079"/>
                  <a:gd name="connsiteX14" fmla="*/ 2669 w 10000"/>
                  <a:gd name="connsiteY14" fmla="*/ 0 h 10079"/>
                  <a:gd name="connsiteX15" fmla="*/ 2120 w 10000"/>
                  <a:gd name="connsiteY15" fmla="*/ 470 h 10079"/>
                  <a:gd name="connsiteX16" fmla="*/ 621 w 10000"/>
                  <a:gd name="connsiteY16" fmla="*/ 1121 h 10079"/>
                  <a:gd name="connsiteX17" fmla="*/ 9 w 10000"/>
                  <a:gd name="connsiteY17" fmla="*/ 2556 h 10079"/>
                  <a:gd name="connsiteX18" fmla="*/ 304 w 10000"/>
                  <a:gd name="connsiteY18" fmla="*/ 3327 h 10079"/>
                  <a:gd name="connsiteX19" fmla="*/ 516 w 10000"/>
                  <a:gd name="connsiteY19" fmla="*/ 4341 h 10079"/>
                  <a:gd name="connsiteX20" fmla="*/ 853 w 10000"/>
                  <a:gd name="connsiteY20" fmla="*/ 5172 h 10079"/>
                  <a:gd name="connsiteX21" fmla="*/ 769 w 10000"/>
                  <a:gd name="connsiteY21" fmla="*/ 6016 h 10079"/>
                  <a:gd name="connsiteX22" fmla="*/ 705 w 10000"/>
                  <a:gd name="connsiteY22" fmla="*/ 6811 h 10079"/>
                  <a:gd name="connsiteX23" fmla="*/ 389 w 10000"/>
                  <a:gd name="connsiteY23" fmla="*/ 8150 h 10079"/>
                  <a:gd name="connsiteX24" fmla="*/ 536 w 10000"/>
                  <a:gd name="connsiteY24" fmla="*/ 9789 h 10079"/>
                  <a:gd name="connsiteX25" fmla="*/ 727 w 10000"/>
                  <a:gd name="connsiteY25" fmla="*/ 9826 h 10079"/>
                  <a:gd name="connsiteX26" fmla="*/ 727 w 10000"/>
                  <a:gd name="connsiteY26" fmla="*/ 9826 h 10079"/>
                  <a:gd name="connsiteX27" fmla="*/ 1719 w 10000"/>
                  <a:gd name="connsiteY27" fmla="*/ 9838 h 10079"/>
                  <a:gd name="connsiteX28" fmla="*/ 7040 w 10000"/>
                  <a:gd name="connsiteY28" fmla="*/ 9886 h 10079"/>
                  <a:gd name="connsiteX29" fmla="*/ 7779 w 10000"/>
                  <a:gd name="connsiteY29" fmla="*/ 7439 h 10079"/>
                  <a:gd name="connsiteX30" fmla="*/ 7948 w 10000"/>
                  <a:gd name="connsiteY30" fmla="*/ 7969 h 10079"/>
                  <a:gd name="connsiteX31" fmla="*/ 8023 w 10000"/>
                  <a:gd name="connsiteY31" fmla="*/ 9400 h 10079"/>
                  <a:gd name="connsiteX32" fmla="*/ 8871 w 10000"/>
                  <a:gd name="connsiteY32" fmla="*/ 9719 h 10079"/>
                  <a:gd name="connsiteX33" fmla="*/ 8037 w 10000"/>
                  <a:gd name="connsiteY33" fmla="*/ 10000 h 10079"/>
                  <a:gd name="connsiteX34" fmla="*/ 8205 w 10000"/>
                  <a:gd name="connsiteY34" fmla="*/ 8285 h 10079"/>
                  <a:gd name="connsiteX35" fmla="*/ 8137 w 10000"/>
                  <a:gd name="connsiteY35" fmla="*/ 6474 h 10079"/>
                  <a:gd name="connsiteX36" fmla="*/ 8032 w 10000"/>
                  <a:gd name="connsiteY36" fmla="*/ 5727 h 10079"/>
                  <a:gd name="connsiteX37" fmla="*/ 9764 w 10000"/>
                  <a:gd name="connsiteY37" fmla="*/ 5727 h 10079"/>
                  <a:gd name="connsiteX38" fmla="*/ 9827 w 10000"/>
                  <a:gd name="connsiteY38" fmla="*/ 5341 h 10079"/>
                  <a:gd name="connsiteX39" fmla="*/ 9932 w 10000"/>
                  <a:gd name="connsiteY39" fmla="*/ 5099 h 10079"/>
                  <a:gd name="connsiteX40" fmla="*/ 9891 w 10000"/>
                  <a:gd name="connsiteY40" fmla="*/ 4388 h 10079"/>
                  <a:gd name="connsiteX0" fmla="*/ 9891 w 10000"/>
                  <a:gd name="connsiteY0" fmla="*/ 4388 h 10079"/>
                  <a:gd name="connsiteX1" fmla="*/ 9848 w 10000"/>
                  <a:gd name="connsiteY1" fmla="*/ 4352 h 10079"/>
                  <a:gd name="connsiteX2" fmla="*/ 7905 w 10000"/>
                  <a:gd name="connsiteY2" fmla="*/ 4136 h 10079"/>
                  <a:gd name="connsiteX3" fmla="*/ 7737 w 10000"/>
                  <a:gd name="connsiteY3" fmla="*/ 3327 h 10079"/>
                  <a:gd name="connsiteX4" fmla="*/ 6639 w 10000"/>
                  <a:gd name="connsiteY4" fmla="*/ 1700 h 10079"/>
                  <a:gd name="connsiteX5" fmla="*/ 5942 w 10000"/>
                  <a:gd name="connsiteY5" fmla="*/ 1194 h 10079"/>
                  <a:gd name="connsiteX6" fmla="*/ 6364 w 10000"/>
                  <a:gd name="connsiteY6" fmla="*/ 1917 h 10079"/>
                  <a:gd name="connsiteX7" fmla="*/ 7230 w 10000"/>
                  <a:gd name="connsiteY7" fmla="*/ 3086 h 10079"/>
                  <a:gd name="connsiteX8" fmla="*/ 7377 w 10000"/>
                  <a:gd name="connsiteY8" fmla="*/ 3774 h 10079"/>
                  <a:gd name="connsiteX9" fmla="*/ 6850 w 10000"/>
                  <a:gd name="connsiteY9" fmla="*/ 2905 h 10079"/>
                  <a:gd name="connsiteX10" fmla="*/ 5351 w 10000"/>
                  <a:gd name="connsiteY10" fmla="*/ 1471 h 10079"/>
                  <a:gd name="connsiteX11" fmla="*/ 5245 w 10000"/>
                  <a:gd name="connsiteY11" fmla="*/ 1375 h 10079"/>
                  <a:gd name="connsiteX12" fmla="*/ 4527 w 10000"/>
                  <a:gd name="connsiteY12" fmla="*/ 832 h 10079"/>
                  <a:gd name="connsiteX13" fmla="*/ 2732 w 10000"/>
                  <a:gd name="connsiteY13" fmla="*/ 12 h 10079"/>
                  <a:gd name="connsiteX14" fmla="*/ 2669 w 10000"/>
                  <a:gd name="connsiteY14" fmla="*/ 0 h 10079"/>
                  <a:gd name="connsiteX15" fmla="*/ 2120 w 10000"/>
                  <a:gd name="connsiteY15" fmla="*/ 470 h 10079"/>
                  <a:gd name="connsiteX16" fmla="*/ 621 w 10000"/>
                  <a:gd name="connsiteY16" fmla="*/ 1121 h 10079"/>
                  <a:gd name="connsiteX17" fmla="*/ 9 w 10000"/>
                  <a:gd name="connsiteY17" fmla="*/ 2556 h 10079"/>
                  <a:gd name="connsiteX18" fmla="*/ 304 w 10000"/>
                  <a:gd name="connsiteY18" fmla="*/ 3327 h 10079"/>
                  <a:gd name="connsiteX19" fmla="*/ 516 w 10000"/>
                  <a:gd name="connsiteY19" fmla="*/ 4341 h 10079"/>
                  <a:gd name="connsiteX20" fmla="*/ 853 w 10000"/>
                  <a:gd name="connsiteY20" fmla="*/ 5172 h 10079"/>
                  <a:gd name="connsiteX21" fmla="*/ 769 w 10000"/>
                  <a:gd name="connsiteY21" fmla="*/ 6016 h 10079"/>
                  <a:gd name="connsiteX22" fmla="*/ 705 w 10000"/>
                  <a:gd name="connsiteY22" fmla="*/ 6811 h 10079"/>
                  <a:gd name="connsiteX23" fmla="*/ 389 w 10000"/>
                  <a:gd name="connsiteY23" fmla="*/ 8150 h 10079"/>
                  <a:gd name="connsiteX24" fmla="*/ 536 w 10000"/>
                  <a:gd name="connsiteY24" fmla="*/ 9789 h 10079"/>
                  <a:gd name="connsiteX25" fmla="*/ 727 w 10000"/>
                  <a:gd name="connsiteY25" fmla="*/ 9826 h 10079"/>
                  <a:gd name="connsiteX26" fmla="*/ 727 w 10000"/>
                  <a:gd name="connsiteY26" fmla="*/ 9826 h 10079"/>
                  <a:gd name="connsiteX27" fmla="*/ 1719 w 10000"/>
                  <a:gd name="connsiteY27" fmla="*/ 9838 h 10079"/>
                  <a:gd name="connsiteX28" fmla="*/ 7040 w 10000"/>
                  <a:gd name="connsiteY28" fmla="*/ 9886 h 10079"/>
                  <a:gd name="connsiteX29" fmla="*/ 7779 w 10000"/>
                  <a:gd name="connsiteY29" fmla="*/ 7439 h 10079"/>
                  <a:gd name="connsiteX30" fmla="*/ 7948 w 10000"/>
                  <a:gd name="connsiteY30" fmla="*/ 7969 h 10079"/>
                  <a:gd name="connsiteX31" fmla="*/ 8710 w 10000"/>
                  <a:gd name="connsiteY31" fmla="*/ 9400 h 10079"/>
                  <a:gd name="connsiteX32" fmla="*/ 8871 w 10000"/>
                  <a:gd name="connsiteY32" fmla="*/ 9719 h 10079"/>
                  <a:gd name="connsiteX33" fmla="*/ 8037 w 10000"/>
                  <a:gd name="connsiteY33" fmla="*/ 10000 h 10079"/>
                  <a:gd name="connsiteX34" fmla="*/ 8205 w 10000"/>
                  <a:gd name="connsiteY34" fmla="*/ 8285 h 10079"/>
                  <a:gd name="connsiteX35" fmla="*/ 8137 w 10000"/>
                  <a:gd name="connsiteY35" fmla="*/ 6474 h 10079"/>
                  <a:gd name="connsiteX36" fmla="*/ 8032 w 10000"/>
                  <a:gd name="connsiteY36" fmla="*/ 5727 h 10079"/>
                  <a:gd name="connsiteX37" fmla="*/ 9764 w 10000"/>
                  <a:gd name="connsiteY37" fmla="*/ 5727 h 10079"/>
                  <a:gd name="connsiteX38" fmla="*/ 9827 w 10000"/>
                  <a:gd name="connsiteY38" fmla="*/ 5341 h 10079"/>
                  <a:gd name="connsiteX39" fmla="*/ 9932 w 10000"/>
                  <a:gd name="connsiteY39" fmla="*/ 5099 h 10079"/>
                  <a:gd name="connsiteX40" fmla="*/ 9891 w 10000"/>
                  <a:gd name="connsiteY40" fmla="*/ 4388 h 10079"/>
                  <a:gd name="connsiteX0" fmla="*/ 9891 w 10000"/>
                  <a:gd name="connsiteY0" fmla="*/ 4388 h 10080"/>
                  <a:gd name="connsiteX1" fmla="*/ 9848 w 10000"/>
                  <a:gd name="connsiteY1" fmla="*/ 4352 h 10080"/>
                  <a:gd name="connsiteX2" fmla="*/ 7905 w 10000"/>
                  <a:gd name="connsiteY2" fmla="*/ 4136 h 10080"/>
                  <a:gd name="connsiteX3" fmla="*/ 7737 w 10000"/>
                  <a:gd name="connsiteY3" fmla="*/ 3327 h 10080"/>
                  <a:gd name="connsiteX4" fmla="*/ 6639 w 10000"/>
                  <a:gd name="connsiteY4" fmla="*/ 1700 h 10080"/>
                  <a:gd name="connsiteX5" fmla="*/ 5942 w 10000"/>
                  <a:gd name="connsiteY5" fmla="*/ 1194 h 10080"/>
                  <a:gd name="connsiteX6" fmla="*/ 6364 w 10000"/>
                  <a:gd name="connsiteY6" fmla="*/ 1917 h 10080"/>
                  <a:gd name="connsiteX7" fmla="*/ 7230 w 10000"/>
                  <a:gd name="connsiteY7" fmla="*/ 3086 h 10080"/>
                  <a:gd name="connsiteX8" fmla="*/ 7377 w 10000"/>
                  <a:gd name="connsiteY8" fmla="*/ 3774 h 10080"/>
                  <a:gd name="connsiteX9" fmla="*/ 6850 w 10000"/>
                  <a:gd name="connsiteY9" fmla="*/ 2905 h 10080"/>
                  <a:gd name="connsiteX10" fmla="*/ 5351 w 10000"/>
                  <a:gd name="connsiteY10" fmla="*/ 1471 h 10080"/>
                  <a:gd name="connsiteX11" fmla="*/ 5245 w 10000"/>
                  <a:gd name="connsiteY11" fmla="*/ 1375 h 10080"/>
                  <a:gd name="connsiteX12" fmla="*/ 4527 w 10000"/>
                  <a:gd name="connsiteY12" fmla="*/ 832 h 10080"/>
                  <a:gd name="connsiteX13" fmla="*/ 2732 w 10000"/>
                  <a:gd name="connsiteY13" fmla="*/ 12 h 10080"/>
                  <a:gd name="connsiteX14" fmla="*/ 2669 w 10000"/>
                  <a:gd name="connsiteY14" fmla="*/ 0 h 10080"/>
                  <a:gd name="connsiteX15" fmla="*/ 2120 w 10000"/>
                  <a:gd name="connsiteY15" fmla="*/ 470 h 10080"/>
                  <a:gd name="connsiteX16" fmla="*/ 621 w 10000"/>
                  <a:gd name="connsiteY16" fmla="*/ 1121 h 10080"/>
                  <a:gd name="connsiteX17" fmla="*/ 9 w 10000"/>
                  <a:gd name="connsiteY17" fmla="*/ 2556 h 10080"/>
                  <a:gd name="connsiteX18" fmla="*/ 304 w 10000"/>
                  <a:gd name="connsiteY18" fmla="*/ 3327 h 10080"/>
                  <a:gd name="connsiteX19" fmla="*/ 516 w 10000"/>
                  <a:gd name="connsiteY19" fmla="*/ 4341 h 10080"/>
                  <a:gd name="connsiteX20" fmla="*/ 853 w 10000"/>
                  <a:gd name="connsiteY20" fmla="*/ 5172 h 10080"/>
                  <a:gd name="connsiteX21" fmla="*/ 769 w 10000"/>
                  <a:gd name="connsiteY21" fmla="*/ 6016 h 10080"/>
                  <a:gd name="connsiteX22" fmla="*/ 705 w 10000"/>
                  <a:gd name="connsiteY22" fmla="*/ 6811 h 10080"/>
                  <a:gd name="connsiteX23" fmla="*/ 389 w 10000"/>
                  <a:gd name="connsiteY23" fmla="*/ 8150 h 10080"/>
                  <a:gd name="connsiteX24" fmla="*/ 536 w 10000"/>
                  <a:gd name="connsiteY24" fmla="*/ 9789 h 10080"/>
                  <a:gd name="connsiteX25" fmla="*/ 727 w 10000"/>
                  <a:gd name="connsiteY25" fmla="*/ 9826 h 10080"/>
                  <a:gd name="connsiteX26" fmla="*/ 727 w 10000"/>
                  <a:gd name="connsiteY26" fmla="*/ 9826 h 10080"/>
                  <a:gd name="connsiteX27" fmla="*/ 1719 w 10000"/>
                  <a:gd name="connsiteY27" fmla="*/ 9838 h 10080"/>
                  <a:gd name="connsiteX28" fmla="*/ 7040 w 10000"/>
                  <a:gd name="connsiteY28" fmla="*/ 9886 h 10080"/>
                  <a:gd name="connsiteX29" fmla="*/ 7779 w 10000"/>
                  <a:gd name="connsiteY29" fmla="*/ 7439 h 10080"/>
                  <a:gd name="connsiteX30" fmla="*/ 7948 w 10000"/>
                  <a:gd name="connsiteY30" fmla="*/ 7969 h 10080"/>
                  <a:gd name="connsiteX31" fmla="*/ 8048 w 10000"/>
                  <a:gd name="connsiteY31" fmla="*/ 9333 h 10080"/>
                  <a:gd name="connsiteX32" fmla="*/ 8871 w 10000"/>
                  <a:gd name="connsiteY32" fmla="*/ 9719 h 10080"/>
                  <a:gd name="connsiteX33" fmla="*/ 8037 w 10000"/>
                  <a:gd name="connsiteY33" fmla="*/ 10000 h 10080"/>
                  <a:gd name="connsiteX34" fmla="*/ 8205 w 10000"/>
                  <a:gd name="connsiteY34" fmla="*/ 8285 h 10080"/>
                  <a:gd name="connsiteX35" fmla="*/ 8137 w 10000"/>
                  <a:gd name="connsiteY35" fmla="*/ 6474 h 10080"/>
                  <a:gd name="connsiteX36" fmla="*/ 8032 w 10000"/>
                  <a:gd name="connsiteY36" fmla="*/ 5727 h 10080"/>
                  <a:gd name="connsiteX37" fmla="*/ 9764 w 10000"/>
                  <a:gd name="connsiteY37" fmla="*/ 5727 h 10080"/>
                  <a:gd name="connsiteX38" fmla="*/ 9827 w 10000"/>
                  <a:gd name="connsiteY38" fmla="*/ 5341 h 10080"/>
                  <a:gd name="connsiteX39" fmla="*/ 9932 w 10000"/>
                  <a:gd name="connsiteY39" fmla="*/ 5099 h 10080"/>
                  <a:gd name="connsiteX40" fmla="*/ 9891 w 10000"/>
                  <a:gd name="connsiteY40" fmla="*/ 4388 h 10080"/>
                  <a:gd name="connsiteX0" fmla="*/ 9891 w 10000"/>
                  <a:gd name="connsiteY0" fmla="*/ 4388 h 10090"/>
                  <a:gd name="connsiteX1" fmla="*/ 9848 w 10000"/>
                  <a:gd name="connsiteY1" fmla="*/ 4352 h 10090"/>
                  <a:gd name="connsiteX2" fmla="*/ 7905 w 10000"/>
                  <a:gd name="connsiteY2" fmla="*/ 4136 h 10090"/>
                  <a:gd name="connsiteX3" fmla="*/ 7737 w 10000"/>
                  <a:gd name="connsiteY3" fmla="*/ 3327 h 10090"/>
                  <a:gd name="connsiteX4" fmla="*/ 6639 w 10000"/>
                  <a:gd name="connsiteY4" fmla="*/ 1700 h 10090"/>
                  <a:gd name="connsiteX5" fmla="*/ 5942 w 10000"/>
                  <a:gd name="connsiteY5" fmla="*/ 1194 h 10090"/>
                  <a:gd name="connsiteX6" fmla="*/ 6364 w 10000"/>
                  <a:gd name="connsiteY6" fmla="*/ 1917 h 10090"/>
                  <a:gd name="connsiteX7" fmla="*/ 7230 w 10000"/>
                  <a:gd name="connsiteY7" fmla="*/ 3086 h 10090"/>
                  <a:gd name="connsiteX8" fmla="*/ 7377 w 10000"/>
                  <a:gd name="connsiteY8" fmla="*/ 3774 h 10090"/>
                  <a:gd name="connsiteX9" fmla="*/ 6850 w 10000"/>
                  <a:gd name="connsiteY9" fmla="*/ 2905 h 10090"/>
                  <a:gd name="connsiteX10" fmla="*/ 5351 w 10000"/>
                  <a:gd name="connsiteY10" fmla="*/ 1471 h 10090"/>
                  <a:gd name="connsiteX11" fmla="*/ 5245 w 10000"/>
                  <a:gd name="connsiteY11" fmla="*/ 1375 h 10090"/>
                  <a:gd name="connsiteX12" fmla="*/ 4527 w 10000"/>
                  <a:gd name="connsiteY12" fmla="*/ 832 h 10090"/>
                  <a:gd name="connsiteX13" fmla="*/ 2732 w 10000"/>
                  <a:gd name="connsiteY13" fmla="*/ 12 h 10090"/>
                  <a:gd name="connsiteX14" fmla="*/ 2669 w 10000"/>
                  <a:gd name="connsiteY14" fmla="*/ 0 h 10090"/>
                  <a:gd name="connsiteX15" fmla="*/ 2120 w 10000"/>
                  <a:gd name="connsiteY15" fmla="*/ 470 h 10090"/>
                  <a:gd name="connsiteX16" fmla="*/ 621 w 10000"/>
                  <a:gd name="connsiteY16" fmla="*/ 1121 h 10090"/>
                  <a:gd name="connsiteX17" fmla="*/ 9 w 10000"/>
                  <a:gd name="connsiteY17" fmla="*/ 2556 h 10090"/>
                  <a:gd name="connsiteX18" fmla="*/ 304 w 10000"/>
                  <a:gd name="connsiteY18" fmla="*/ 3327 h 10090"/>
                  <a:gd name="connsiteX19" fmla="*/ 516 w 10000"/>
                  <a:gd name="connsiteY19" fmla="*/ 4341 h 10090"/>
                  <a:gd name="connsiteX20" fmla="*/ 853 w 10000"/>
                  <a:gd name="connsiteY20" fmla="*/ 5172 h 10090"/>
                  <a:gd name="connsiteX21" fmla="*/ 769 w 10000"/>
                  <a:gd name="connsiteY21" fmla="*/ 6016 h 10090"/>
                  <a:gd name="connsiteX22" fmla="*/ 705 w 10000"/>
                  <a:gd name="connsiteY22" fmla="*/ 6811 h 10090"/>
                  <a:gd name="connsiteX23" fmla="*/ 389 w 10000"/>
                  <a:gd name="connsiteY23" fmla="*/ 8150 h 10090"/>
                  <a:gd name="connsiteX24" fmla="*/ 536 w 10000"/>
                  <a:gd name="connsiteY24" fmla="*/ 9789 h 10090"/>
                  <a:gd name="connsiteX25" fmla="*/ 727 w 10000"/>
                  <a:gd name="connsiteY25" fmla="*/ 9826 h 10090"/>
                  <a:gd name="connsiteX26" fmla="*/ 727 w 10000"/>
                  <a:gd name="connsiteY26" fmla="*/ 9826 h 10090"/>
                  <a:gd name="connsiteX27" fmla="*/ 1719 w 10000"/>
                  <a:gd name="connsiteY27" fmla="*/ 9838 h 10090"/>
                  <a:gd name="connsiteX28" fmla="*/ 7040 w 10000"/>
                  <a:gd name="connsiteY28" fmla="*/ 9886 h 10090"/>
                  <a:gd name="connsiteX29" fmla="*/ 7779 w 10000"/>
                  <a:gd name="connsiteY29" fmla="*/ 7439 h 10090"/>
                  <a:gd name="connsiteX30" fmla="*/ 7948 w 10000"/>
                  <a:gd name="connsiteY30" fmla="*/ 7969 h 10090"/>
                  <a:gd name="connsiteX31" fmla="*/ 8048 w 10000"/>
                  <a:gd name="connsiteY31" fmla="*/ 9333 h 10090"/>
                  <a:gd name="connsiteX32" fmla="*/ 7644 w 10000"/>
                  <a:gd name="connsiteY32" fmla="*/ 9786 h 10090"/>
                  <a:gd name="connsiteX33" fmla="*/ 8037 w 10000"/>
                  <a:gd name="connsiteY33" fmla="*/ 10000 h 10090"/>
                  <a:gd name="connsiteX34" fmla="*/ 8205 w 10000"/>
                  <a:gd name="connsiteY34" fmla="*/ 8285 h 10090"/>
                  <a:gd name="connsiteX35" fmla="*/ 8137 w 10000"/>
                  <a:gd name="connsiteY35" fmla="*/ 6474 h 10090"/>
                  <a:gd name="connsiteX36" fmla="*/ 8032 w 10000"/>
                  <a:gd name="connsiteY36" fmla="*/ 5727 h 10090"/>
                  <a:gd name="connsiteX37" fmla="*/ 9764 w 10000"/>
                  <a:gd name="connsiteY37" fmla="*/ 5727 h 10090"/>
                  <a:gd name="connsiteX38" fmla="*/ 9827 w 10000"/>
                  <a:gd name="connsiteY38" fmla="*/ 5341 h 10090"/>
                  <a:gd name="connsiteX39" fmla="*/ 9932 w 10000"/>
                  <a:gd name="connsiteY39" fmla="*/ 5099 h 10090"/>
                  <a:gd name="connsiteX40" fmla="*/ 9891 w 10000"/>
                  <a:gd name="connsiteY40" fmla="*/ 4388 h 10090"/>
                  <a:gd name="connsiteX0" fmla="*/ 9891 w 10000"/>
                  <a:gd name="connsiteY0" fmla="*/ 4388 h 10033"/>
                  <a:gd name="connsiteX1" fmla="*/ 9848 w 10000"/>
                  <a:gd name="connsiteY1" fmla="*/ 4352 h 10033"/>
                  <a:gd name="connsiteX2" fmla="*/ 7905 w 10000"/>
                  <a:gd name="connsiteY2" fmla="*/ 4136 h 10033"/>
                  <a:gd name="connsiteX3" fmla="*/ 7737 w 10000"/>
                  <a:gd name="connsiteY3" fmla="*/ 3327 h 10033"/>
                  <a:gd name="connsiteX4" fmla="*/ 6639 w 10000"/>
                  <a:gd name="connsiteY4" fmla="*/ 1700 h 10033"/>
                  <a:gd name="connsiteX5" fmla="*/ 5942 w 10000"/>
                  <a:gd name="connsiteY5" fmla="*/ 1194 h 10033"/>
                  <a:gd name="connsiteX6" fmla="*/ 6364 w 10000"/>
                  <a:gd name="connsiteY6" fmla="*/ 1917 h 10033"/>
                  <a:gd name="connsiteX7" fmla="*/ 7230 w 10000"/>
                  <a:gd name="connsiteY7" fmla="*/ 3086 h 10033"/>
                  <a:gd name="connsiteX8" fmla="*/ 7377 w 10000"/>
                  <a:gd name="connsiteY8" fmla="*/ 3774 h 10033"/>
                  <a:gd name="connsiteX9" fmla="*/ 6850 w 10000"/>
                  <a:gd name="connsiteY9" fmla="*/ 2905 h 10033"/>
                  <a:gd name="connsiteX10" fmla="*/ 5351 w 10000"/>
                  <a:gd name="connsiteY10" fmla="*/ 1471 h 10033"/>
                  <a:gd name="connsiteX11" fmla="*/ 5245 w 10000"/>
                  <a:gd name="connsiteY11" fmla="*/ 1375 h 10033"/>
                  <a:gd name="connsiteX12" fmla="*/ 4527 w 10000"/>
                  <a:gd name="connsiteY12" fmla="*/ 832 h 10033"/>
                  <a:gd name="connsiteX13" fmla="*/ 2732 w 10000"/>
                  <a:gd name="connsiteY13" fmla="*/ 12 h 10033"/>
                  <a:gd name="connsiteX14" fmla="*/ 2669 w 10000"/>
                  <a:gd name="connsiteY14" fmla="*/ 0 h 10033"/>
                  <a:gd name="connsiteX15" fmla="*/ 2120 w 10000"/>
                  <a:gd name="connsiteY15" fmla="*/ 470 h 10033"/>
                  <a:gd name="connsiteX16" fmla="*/ 621 w 10000"/>
                  <a:gd name="connsiteY16" fmla="*/ 1121 h 10033"/>
                  <a:gd name="connsiteX17" fmla="*/ 9 w 10000"/>
                  <a:gd name="connsiteY17" fmla="*/ 2556 h 10033"/>
                  <a:gd name="connsiteX18" fmla="*/ 304 w 10000"/>
                  <a:gd name="connsiteY18" fmla="*/ 3327 h 10033"/>
                  <a:gd name="connsiteX19" fmla="*/ 516 w 10000"/>
                  <a:gd name="connsiteY19" fmla="*/ 4341 h 10033"/>
                  <a:gd name="connsiteX20" fmla="*/ 853 w 10000"/>
                  <a:gd name="connsiteY20" fmla="*/ 5172 h 10033"/>
                  <a:gd name="connsiteX21" fmla="*/ 769 w 10000"/>
                  <a:gd name="connsiteY21" fmla="*/ 6016 h 10033"/>
                  <a:gd name="connsiteX22" fmla="*/ 705 w 10000"/>
                  <a:gd name="connsiteY22" fmla="*/ 6811 h 10033"/>
                  <a:gd name="connsiteX23" fmla="*/ 389 w 10000"/>
                  <a:gd name="connsiteY23" fmla="*/ 8150 h 10033"/>
                  <a:gd name="connsiteX24" fmla="*/ 536 w 10000"/>
                  <a:gd name="connsiteY24" fmla="*/ 9789 h 10033"/>
                  <a:gd name="connsiteX25" fmla="*/ 727 w 10000"/>
                  <a:gd name="connsiteY25" fmla="*/ 9826 h 10033"/>
                  <a:gd name="connsiteX26" fmla="*/ 727 w 10000"/>
                  <a:gd name="connsiteY26" fmla="*/ 9826 h 10033"/>
                  <a:gd name="connsiteX27" fmla="*/ 1719 w 10000"/>
                  <a:gd name="connsiteY27" fmla="*/ 9838 h 10033"/>
                  <a:gd name="connsiteX28" fmla="*/ 7040 w 10000"/>
                  <a:gd name="connsiteY28" fmla="*/ 9886 h 10033"/>
                  <a:gd name="connsiteX29" fmla="*/ 7779 w 10000"/>
                  <a:gd name="connsiteY29" fmla="*/ 7439 h 10033"/>
                  <a:gd name="connsiteX30" fmla="*/ 7948 w 10000"/>
                  <a:gd name="connsiteY30" fmla="*/ 7969 h 10033"/>
                  <a:gd name="connsiteX31" fmla="*/ 8048 w 10000"/>
                  <a:gd name="connsiteY31" fmla="*/ 9333 h 10033"/>
                  <a:gd name="connsiteX32" fmla="*/ 7644 w 10000"/>
                  <a:gd name="connsiteY32" fmla="*/ 9786 h 10033"/>
                  <a:gd name="connsiteX33" fmla="*/ 8429 w 10000"/>
                  <a:gd name="connsiteY33" fmla="*/ 9933 h 10033"/>
                  <a:gd name="connsiteX34" fmla="*/ 8205 w 10000"/>
                  <a:gd name="connsiteY34" fmla="*/ 8285 h 10033"/>
                  <a:gd name="connsiteX35" fmla="*/ 8137 w 10000"/>
                  <a:gd name="connsiteY35" fmla="*/ 6474 h 10033"/>
                  <a:gd name="connsiteX36" fmla="*/ 8032 w 10000"/>
                  <a:gd name="connsiteY36" fmla="*/ 5727 h 10033"/>
                  <a:gd name="connsiteX37" fmla="*/ 9764 w 10000"/>
                  <a:gd name="connsiteY37" fmla="*/ 5727 h 10033"/>
                  <a:gd name="connsiteX38" fmla="*/ 9827 w 10000"/>
                  <a:gd name="connsiteY38" fmla="*/ 5341 h 10033"/>
                  <a:gd name="connsiteX39" fmla="*/ 9932 w 10000"/>
                  <a:gd name="connsiteY39" fmla="*/ 5099 h 10033"/>
                  <a:gd name="connsiteX40" fmla="*/ 9891 w 10000"/>
                  <a:gd name="connsiteY40" fmla="*/ 4388 h 10033"/>
                  <a:gd name="connsiteX0" fmla="*/ 9891 w 10000"/>
                  <a:gd name="connsiteY0" fmla="*/ 4388 h 10045"/>
                  <a:gd name="connsiteX1" fmla="*/ 9848 w 10000"/>
                  <a:gd name="connsiteY1" fmla="*/ 4352 h 10045"/>
                  <a:gd name="connsiteX2" fmla="*/ 7905 w 10000"/>
                  <a:gd name="connsiteY2" fmla="*/ 4136 h 10045"/>
                  <a:gd name="connsiteX3" fmla="*/ 7737 w 10000"/>
                  <a:gd name="connsiteY3" fmla="*/ 3327 h 10045"/>
                  <a:gd name="connsiteX4" fmla="*/ 6639 w 10000"/>
                  <a:gd name="connsiteY4" fmla="*/ 1700 h 10045"/>
                  <a:gd name="connsiteX5" fmla="*/ 5942 w 10000"/>
                  <a:gd name="connsiteY5" fmla="*/ 1194 h 10045"/>
                  <a:gd name="connsiteX6" fmla="*/ 6364 w 10000"/>
                  <a:gd name="connsiteY6" fmla="*/ 1917 h 10045"/>
                  <a:gd name="connsiteX7" fmla="*/ 7230 w 10000"/>
                  <a:gd name="connsiteY7" fmla="*/ 3086 h 10045"/>
                  <a:gd name="connsiteX8" fmla="*/ 7377 w 10000"/>
                  <a:gd name="connsiteY8" fmla="*/ 3774 h 10045"/>
                  <a:gd name="connsiteX9" fmla="*/ 6850 w 10000"/>
                  <a:gd name="connsiteY9" fmla="*/ 2905 h 10045"/>
                  <a:gd name="connsiteX10" fmla="*/ 5351 w 10000"/>
                  <a:gd name="connsiteY10" fmla="*/ 1471 h 10045"/>
                  <a:gd name="connsiteX11" fmla="*/ 5245 w 10000"/>
                  <a:gd name="connsiteY11" fmla="*/ 1375 h 10045"/>
                  <a:gd name="connsiteX12" fmla="*/ 4527 w 10000"/>
                  <a:gd name="connsiteY12" fmla="*/ 832 h 10045"/>
                  <a:gd name="connsiteX13" fmla="*/ 2732 w 10000"/>
                  <a:gd name="connsiteY13" fmla="*/ 12 h 10045"/>
                  <a:gd name="connsiteX14" fmla="*/ 2669 w 10000"/>
                  <a:gd name="connsiteY14" fmla="*/ 0 h 10045"/>
                  <a:gd name="connsiteX15" fmla="*/ 2120 w 10000"/>
                  <a:gd name="connsiteY15" fmla="*/ 470 h 10045"/>
                  <a:gd name="connsiteX16" fmla="*/ 621 w 10000"/>
                  <a:gd name="connsiteY16" fmla="*/ 1121 h 10045"/>
                  <a:gd name="connsiteX17" fmla="*/ 9 w 10000"/>
                  <a:gd name="connsiteY17" fmla="*/ 2556 h 10045"/>
                  <a:gd name="connsiteX18" fmla="*/ 304 w 10000"/>
                  <a:gd name="connsiteY18" fmla="*/ 3327 h 10045"/>
                  <a:gd name="connsiteX19" fmla="*/ 516 w 10000"/>
                  <a:gd name="connsiteY19" fmla="*/ 4341 h 10045"/>
                  <a:gd name="connsiteX20" fmla="*/ 853 w 10000"/>
                  <a:gd name="connsiteY20" fmla="*/ 5172 h 10045"/>
                  <a:gd name="connsiteX21" fmla="*/ 769 w 10000"/>
                  <a:gd name="connsiteY21" fmla="*/ 6016 h 10045"/>
                  <a:gd name="connsiteX22" fmla="*/ 705 w 10000"/>
                  <a:gd name="connsiteY22" fmla="*/ 6811 h 10045"/>
                  <a:gd name="connsiteX23" fmla="*/ 389 w 10000"/>
                  <a:gd name="connsiteY23" fmla="*/ 8150 h 10045"/>
                  <a:gd name="connsiteX24" fmla="*/ 536 w 10000"/>
                  <a:gd name="connsiteY24" fmla="*/ 9789 h 10045"/>
                  <a:gd name="connsiteX25" fmla="*/ 727 w 10000"/>
                  <a:gd name="connsiteY25" fmla="*/ 9826 h 10045"/>
                  <a:gd name="connsiteX26" fmla="*/ 727 w 10000"/>
                  <a:gd name="connsiteY26" fmla="*/ 9826 h 10045"/>
                  <a:gd name="connsiteX27" fmla="*/ 1719 w 10000"/>
                  <a:gd name="connsiteY27" fmla="*/ 9838 h 10045"/>
                  <a:gd name="connsiteX28" fmla="*/ 7040 w 10000"/>
                  <a:gd name="connsiteY28" fmla="*/ 9886 h 10045"/>
                  <a:gd name="connsiteX29" fmla="*/ 7779 w 10000"/>
                  <a:gd name="connsiteY29" fmla="*/ 7439 h 10045"/>
                  <a:gd name="connsiteX30" fmla="*/ 7948 w 10000"/>
                  <a:gd name="connsiteY30" fmla="*/ 7969 h 10045"/>
                  <a:gd name="connsiteX31" fmla="*/ 8048 w 10000"/>
                  <a:gd name="connsiteY31" fmla="*/ 9333 h 10045"/>
                  <a:gd name="connsiteX32" fmla="*/ 8036 w 10000"/>
                  <a:gd name="connsiteY32" fmla="*/ 9839 h 10045"/>
                  <a:gd name="connsiteX33" fmla="*/ 8429 w 10000"/>
                  <a:gd name="connsiteY33" fmla="*/ 9933 h 10045"/>
                  <a:gd name="connsiteX34" fmla="*/ 8205 w 10000"/>
                  <a:gd name="connsiteY34" fmla="*/ 8285 h 10045"/>
                  <a:gd name="connsiteX35" fmla="*/ 8137 w 10000"/>
                  <a:gd name="connsiteY35" fmla="*/ 6474 h 10045"/>
                  <a:gd name="connsiteX36" fmla="*/ 8032 w 10000"/>
                  <a:gd name="connsiteY36" fmla="*/ 5727 h 10045"/>
                  <a:gd name="connsiteX37" fmla="*/ 9764 w 10000"/>
                  <a:gd name="connsiteY37" fmla="*/ 5727 h 10045"/>
                  <a:gd name="connsiteX38" fmla="*/ 9827 w 10000"/>
                  <a:gd name="connsiteY38" fmla="*/ 5341 h 10045"/>
                  <a:gd name="connsiteX39" fmla="*/ 9932 w 10000"/>
                  <a:gd name="connsiteY39" fmla="*/ 5099 h 10045"/>
                  <a:gd name="connsiteX40" fmla="*/ 9891 w 10000"/>
                  <a:gd name="connsiteY40" fmla="*/ 4388 h 10045"/>
                  <a:gd name="connsiteX0" fmla="*/ 9891 w 10000"/>
                  <a:gd name="connsiteY0" fmla="*/ 4388 h 9886"/>
                  <a:gd name="connsiteX1" fmla="*/ 9848 w 10000"/>
                  <a:gd name="connsiteY1" fmla="*/ 4352 h 9886"/>
                  <a:gd name="connsiteX2" fmla="*/ 7905 w 10000"/>
                  <a:gd name="connsiteY2" fmla="*/ 4136 h 9886"/>
                  <a:gd name="connsiteX3" fmla="*/ 7737 w 10000"/>
                  <a:gd name="connsiteY3" fmla="*/ 3327 h 9886"/>
                  <a:gd name="connsiteX4" fmla="*/ 6639 w 10000"/>
                  <a:gd name="connsiteY4" fmla="*/ 1700 h 9886"/>
                  <a:gd name="connsiteX5" fmla="*/ 5942 w 10000"/>
                  <a:gd name="connsiteY5" fmla="*/ 1194 h 9886"/>
                  <a:gd name="connsiteX6" fmla="*/ 6364 w 10000"/>
                  <a:gd name="connsiteY6" fmla="*/ 1917 h 9886"/>
                  <a:gd name="connsiteX7" fmla="*/ 7230 w 10000"/>
                  <a:gd name="connsiteY7" fmla="*/ 3086 h 9886"/>
                  <a:gd name="connsiteX8" fmla="*/ 7377 w 10000"/>
                  <a:gd name="connsiteY8" fmla="*/ 3774 h 9886"/>
                  <a:gd name="connsiteX9" fmla="*/ 6850 w 10000"/>
                  <a:gd name="connsiteY9" fmla="*/ 2905 h 9886"/>
                  <a:gd name="connsiteX10" fmla="*/ 5351 w 10000"/>
                  <a:gd name="connsiteY10" fmla="*/ 1471 h 9886"/>
                  <a:gd name="connsiteX11" fmla="*/ 5245 w 10000"/>
                  <a:gd name="connsiteY11" fmla="*/ 1375 h 9886"/>
                  <a:gd name="connsiteX12" fmla="*/ 4527 w 10000"/>
                  <a:gd name="connsiteY12" fmla="*/ 832 h 9886"/>
                  <a:gd name="connsiteX13" fmla="*/ 2732 w 10000"/>
                  <a:gd name="connsiteY13" fmla="*/ 12 h 9886"/>
                  <a:gd name="connsiteX14" fmla="*/ 2669 w 10000"/>
                  <a:gd name="connsiteY14" fmla="*/ 0 h 9886"/>
                  <a:gd name="connsiteX15" fmla="*/ 2120 w 10000"/>
                  <a:gd name="connsiteY15" fmla="*/ 470 h 9886"/>
                  <a:gd name="connsiteX16" fmla="*/ 621 w 10000"/>
                  <a:gd name="connsiteY16" fmla="*/ 1121 h 9886"/>
                  <a:gd name="connsiteX17" fmla="*/ 9 w 10000"/>
                  <a:gd name="connsiteY17" fmla="*/ 2556 h 9886"/>
                  <a:gd name="connsiteX18" fmla="*/ 304 w 10000"/>
                  <a:gd name="connsiteY18" fmla="*/ 3327 h 9886"/>
                  <a:gd name="connsiteX19" fmla="*/ 516 w 10000"/>
                  <a:gd name="connsiteY19" fmla="*/ 4341 h 9886"/>
                  <a:gd name="connsiteX20" fmla="*/ 853 w 10000"/>
                  <a:gd name="connsiteY20" fmla="*/ 5172 h 9886"/>
                  <a:gd name="connsiteX21" fmla="*/ 769 w 10000"/>
                  <a:gd name="connsiteY21" fmla="*/ 6016 h 9886"/>
                  <a:gd name="connsiteX22" fmla="*/ 705 w 10000"/>
                  <a:gd name="connsiteY22" fmla="*/ 6811 h 9886"/>
                  <a:gd name="connsiteX23" fmla="*/ 389 w 10000"/>
                  <a:gd name="connsiteY23" fmla="*/ 8150 h 9886"/>
                  <a:gd name="connsiteX24" fmla="*/ 536 w 10000"/>
                  <a:gd name="connsiteY24" fmla="*/ 9789 h 9886"/>
                  <a:gd name="connsiteX25" fmla="*/ 727 w 10000"/>
                  <a:gd name="connsiteY25" fmla="*/ 9826 h 9886"/>
                  <a:gd name="connsiteX26" fmla="*/ 727 w 10000"/>
                  <a:gd name="connsiteY26" fmla="*/ 9826 h 9886"/>
                  <a:gd name="connsiteX27" fmla="*/ 1719 w 10000"/>
                  <a:gd name="connsiteY27" fmla="*/ 9838 h 9886"/>
                  <a:gd name="connsiteX28" fmla="*/ 7040 w 10000"/>
                  <a:gd name="connsiteY28" fmla="*/ 9886 h 9886"/>
                  <a:gd name="connsiteX29" fmla="*/ 7779 w 10000"/>
                  <a:gd name="connsiteY29" fmla="*/ 7439 h 9886"/>
                  <a:gd name="connsiteX30" fmla="*/ 7948 w 10000"/>
                  <a:gd name="connsiteY30" fmla="*/ 7969 h 9886"/>
                  <a:gd name="connsiteX31" fmla="*/ 8048 w 10000"/>
                  <a:gd name="connsiteY31" fmla="*/ 9333 h 9886"/>
                  <a:gd name="connsiteX32" fmla="*/ 8036 w 10000"/>
                  <a:gd name="connsiteY32" fmla="*/ 9839 h 9886"/>
                  <a:gd name="connsiteX33" fmla="*/ 8306 w 10000"/>
                  <a:gd name="connsiteY33" fmla="*/ 9519 h 9886"/>
                  <a:gd name="connsiteX34" fmla="*/ 8205 w 10000"/>
                  <a:gd name="connsiteY34" fmla="*/ 8285 h 9886"/>
                  <a:gd name="connsiteX35" fmla="*/ 8137 w 10000"/>
                  <a:gd name="connsiteY35" fmla="*/ 6474 h 9886"/>
                  <a:gd name="connsiteX36" fmla="*/ 8032 w 10000"/>
                  <a:gd name="connsiteY36" fmla="*/ 5727 h 9886"/>
                  <a:gd name="connsiteX37" fmla="*/ 9764 w 10000"/>
                  <a:gd name="connsiteY37" fmla="*/ 5727 h 9886"/>
                  <a:gd name="connsiteX38" fmla="*/ 9827 w 10000"/>
                  <a:gd name="connsiteY38" fmla="*/ 5341 h 9886"/>
                  <a:gd name="connsiteX39" fmla="*/ 9932 w 10000"/>
                  <a:gd name="connsiteY39" fmla="*/ 5099 h 9886"/>
                  <a:gd name="connsiteX40" fmla="*/ 9891 w 10000"/>
                  <a:gd name="connsiteY40" fmla="*/ 4388 h 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0000" h="9886">
                    <a:moveTo>
                      <a:pt x="9891" y="4388"/>
                    </a:moveTo>
                    <a:cubicBezTo>
                      <a:pt x="9869" y="4364"/>
                      <a:pt x="9848" y="4352"/>
                      <a:pt x="9848" y="4352"/>
                    </a:cubicBezTo>
                    <a:cubicBezTo>
                      <a:pt x="9595" y="4256"/>
                      <a:pt x="7905" y="4136"/>
                      <a:pt x="7905" y="4136"/>
                    </a:cubicBezTo>
                    <a:cubicBezTo>
                      <a:pt x="7905" y="4136"/>
                      <a:pt x="7884" y="3774"/>
                      <a:pt x="7737" y="3327"/>
                    </a:cubicBezTo>
                    <a:cubicBezTo>
                      <a:pt x="7610" y="2881"/>
                      <a:pt x="6765" y="1893"/>
                      <a:pt x="6639" y="1700"/>
                    </a:cubicBezTo>
                    <a:cubicBezTo>
                      <a:pt x="6555" y="1556"/>
                      <a:pt x="6090" y="1266"/>
                      <a:pt x="5942" y="1194"/>
                    </a:cubicBezTo>
                    <a:cubicBezTo>
                      <a:pt x="5900" y="1182"/>
                      <a:pt x="6344" y="1845"/>
                      <a:pt x="6364" y="1917"/>
                    </a:cubicBezTo>
                    <a:cubicBezTo>
                      <a:pt x="6385" y="1977"/>
                      <a:pt x="7104" y="2809"/>
                      <a:pt x="7230" y="3086"/>
                    </a:cubicBezTo>
                    <a:cubicBezTo>
                      <a:pt x="7377" y="3364"/>
                      <a:pt x="7377" y="3774"/>
                      <a:pt x="7377" y="3774"/>
                    </a:cubicBezTo>
                    <a:cubicBezTo>
                      <a:pt x="7357" y="3701"/>
                      <a:pt x="6850" y="2905"/>
                      <a:pt x="6850" y="2905"/>
                    </a:cubicBezTo>
                    <a:cubicBezTo>
                      <a:pt x="6344" y="2326"/>
                      <a:pt x="5794" y="1832"/>
                      <a:pt x="5351" y="1471"/>
                    </a:cubicBezTo>
                    <a:cubicBezTo>
                      <a:pt x="5330" y="1434"/>
                      <a:pt x="5288" y="1410"/>
                      <a:pt x="5245" y="1375"/>
                    </a:cubicBezTo>
                    <a:cubicBezTo>
                      <a:pt x="4823" y="1036"/>
                      <a:pt x="4527" y="832"/>
                      <a:pt x="4527" y="832"/>
                    </a:cubicBezTo>
                    <a:cubicBezTo>
                      <a:pt x="4147" y="615"/>
                      <a:pt x="3007" y="85"/>
                      <a:pt x="2732" y="12"/>
                    </a:cubicBezTo>
                    <a:cubicBezTo>
                      <a:pt x="2711" y="0"/>
                      <a:pt x="2690" y="0"/>
                      <a:pt x="2669" y="0"/>
                    </a:cubicBezTo>
                    <a:cubicBezTo>
                      <a:pt x="2563" y="12"/>
                      <a:pt x="2289" y="278"/>
                      <a:pt x="2120" y="470"/>
                    </a:cubicBezTo>
                    <a:cubicBezTo>
                      <a:pt x="1951" y="663"/>
                      <a:pt x="980" y="904"/>
                      <a:pt x="621" y="1121"/>
                    </a:cubicBezTo>
                    <a:cubicBezTo>
                      <a:pt x="262" y="1351"/>
                      <a:pt x="51" y="2279"/>
                      <a:pt x="9" y="2556"/>
                    </a:cubicBezTo>
                    <a:cubicBezTo>
                      <a:pt x="-55" y="2833"/>
                      <a:pt x="262" y="3002"/>
                      <a:pt x="304" y="3327"/>
                    </a:cubicBezTo>
                    <a:cubicBezTo>
                      <a:pt x="368" y="3653"/>
                      <a:pt x="389" y="4002"/>
                      <a:pt x="516" y="4341"/>
                    </a:cubicBezTo>
                    <a:cubicBezTo>
                      <a:pt x="621" y="4678"/>
                      <a:pt x="811" y="4979"/>
                      <a:pt x="853" y="5172"/>
                    </a:cubicBezTo>
                    <a:cubicBezTo>
                      <a:pt x="875" y="5365"/>
                      <a:pt x="727" y="5835"/>
                      <a:pt x="769" y="6016"/>
                    </a:cubicBezTo>
                    <a:cubicBezTo>
                      <a:pt x="789" y="6185"/>
                      <a:pt x="811" y="6559"/>
                      <a:pt x="705" y="6811"/>
                    </a:cubicBezTo>
                    <a:cubicBezTo>
                      <a:pt x="600" y="7077"/>
                      <a:pt x="452" y="7535"/>
                      <a:pt x="389" y="8150"/>
                    </a:cubicBezTo>
                    <a:cubicBezTo>
                      <a:pt x="347" y="8765"/>
                      <a:pt x="536" y="9789"/>
                      <a:pt x="536" y="9789"/>
                    </a:cubicBezTo>
                    <a:lnTo>
                      <a:pt x="727" y="9826"/>
                    </a:lnTo>
                    <a:lnTo>
                      <a:pt x="727" y="9826"/>
                    </a:lnTo>
                    <a:cubicBezTo>
                      <a:pt x="769" y="9777"/>
                      <a:pt x="1719" y="9838"/>
                      <a:pt x="1719" y="9838"/>
                    </a:cubicBezTo>
                    <a:cubicBezTo>
                      <a:pt x="2753" y="9874"/>
                      <a:pt x="7040" y="9886"/>
                      <a:pt x="7040" y="9886"/>
                    </a:cubicBezTo>
                    <a:cubicBezTo>
                      <a:pt x="7800" y="9886"/>
                      <a:pt x="7821" y="8005"/>
                      <a:pt x="7779" y="7439"/>
                    </a:cubicBezTo>
                    <a:cubicBezTo>
                      <a:pt x="7843" y="7644"/>
                      <a:pt x="7903" y="7653"/>
                      <a:pt x="7948" y="7969"/>
                    </a:cubicBezTo>
                    <a:cubicBezTo>
                      <a:pt x="7993" y="8285"/>
                      <a:pt x="8027" y="8983"/>
                      <a:pt x="8048" y="9333"/>
                    </a:cubicBezTo>
                    <a:cubicBezTo>
                      <a:pt x="8068" y="9646"/>
                      <a:pt x="7993" y="9808"/>
                      <a:pt x="8036" y="9839"/>
                    </a:cubicBezTo>
                    <a:cubicBezTo>
                      <a:pt x="8079" y="9870"/>
                      <a:pt x="8323" y="9776"/>
                      <a:pt x="8306" y="9519"/>
                    </a:cubicBezTo>
                    <a:cubicBezTo>
                      <a:pt x="8283" y="9138"/>
                      <a:pt x="8247" y="8478"/>
                      <a:pt x="8205" y="8285"/>
                    </a:cubicBezTo>
                    <a:cubicBezTo>
                      <a:pt x="8162" y="8069"/>
                      <a:pt x="8166" y="6900"/>
                      <a:pt x="8137" y="6474"/>
                    </a:cubicBezTo>
                    <a:cubicBezTo>
                      <a:pt x="8108" y="6048"/>
                      <a:pt x="8032" y="5727"/>
                      <a:pt x="8032" y="5727"/>
                    </a:cubicBezTo>
                    <a:lnTo>
                      <a:pt x="9764" y="5727"/>
                    </a:lnTo>
                    <a:cubicBezTo>
                      <a:pt x="9700" y="5690"/>
                      <a:pt x="9764" y="5509"/>
                      <a:pt x="9827" y="5341"/>
                    </a:cubicBezTo>
                    <a:cubicBezTo>
                      <a:pt x="9891" y="5208"/>
                      <a:pt x="9932" y="5099"/>
                      <a:pt x="9932" y="5099"/>
                    </a:cubicBezTo>
                    <a:cubicBezTo>
                      <a:pt x="10080" y="4642"/>
                      <a:pt x="9953" y="4449"/>
                      <a:pt x="9891" y="4388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0C990E21-7E39-44E9-9EB5-8DE058DAA9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77377" y="2473035"/>
                <a:ext cx="77788" cy="53975"/>
              </a:xfrm>
              <a:custGeom>
                <a:avLst/>
                <a:gdLst>
                  <a:gd name="T0" fmla="*/ 18 w 29"/>
                  <a:gd name="T1" fmla="*/ 17 h 20"/>
                  <a:gd name="T2" fmla="*/ 29 w 29"/>
                  <a:gd name="T3" fmla="*/ 20 h 20"/>
                  <a:gd name="T4" fmla="*/ 25 w 29"/>
                  <a:gd name="T5" fmla="*/ 14 h 20"/>
                  <a:gd name="T6" fmla="*/ 1 w 29"/>
                  <a:gd name="T7" fmla="*/ 11 h 20"/>
                  <a:gd name="T8" fmla="*/ 0 w 29"/>
                  <a:gd name="T9" fmla="*/ 17 h 20"/>
                  <a:gd name="T10" fmla="*/ 18 w 29"/>
                  <a:gd name="T11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8" y="17"/>
                    </a:moveTo>
                    <a:cubicBezTo>
                      <a:pt x="18" y="17"/>
                      <a:pt x="23" y="18"/>
                      <a:pt x="29" y="20"/>
                    </a:cubicBezTo>
                    <a:cubicBezTo>
                      <a:pt x="28" y="18"/>
                      <a:pt x="27" y="16"/>
                      <a:pt x="25" y="14"/>
                    </a:cubicBezTo>
                    <a:cubicBezTo>
                      <a:pt x="13" y="0"/>
                      <a:pt x="3" y="5"/>
                      <a:pt x="1" y="11"/>
                    </a:cubicBezTo>
                    <a:cubicBezTo>
                      <a:pt x="0" y="12"/>
                      <a:pt x="0" y="14"/>
                      <a:pt x="0" y="17"/>
                    </a:cubicBezTo>
                    <a:cubicBezTo>
                      <a:pt x="6" y="16"/>
                      <a:pt x="13" y="16"/>
                      <a:pt x="18" y="1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E09C362-F61B-41D7-B7F1-2BD7509DEC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51977" y="2677822"/>
                <a:ext cx="150813" cy="146050"/>
              </a:xfrm>
              <a:custGeom>
                <a:avLst/>
                <a:gdLst>
                  <a:gd name="T0" fmla="*/ 54 w 57"/>
                  <a:gd name="T1" fmla="*/ 26 h 55"/>
                  <a:gd name="T2" fmla="*/ 52 w 57"/>
                  <a:gd name="T3" fmla="*/ 17 h 55"/>
                  <a:gd name="T4" fmla="*/ 41 w 57"/>
                  <a:gd name="T5" fmla="*/ 10 h 55"/>
                  <a:gd name="T6" fmla="*/ 31 w 57"/>
                  <a:gd name="T7" fmla="*/ 2 h 55"/>
                  <a:gd name="T8" fmla="*/ 2 w 57"/>
                  <a:gd name="T9" fmla="*/ 13 h 55"/>
                  <a:gd name="T10" fmla="*/ 0 w 57"/>
                  <a:gd name="T11" fmla="*/ 21 h 55"/>
                  <a:gd name="T12" fmla="*/ 16 w 57"/>
                  <a:gd name="T13" fmla="*/ 33 h 55"/>
                  <a:gd name="T14" fmla="*/ 25 w 57"/>
                  <a:gd name="T15" fmla="*/ 48 h 55"/>
                  <a:gd name="T16" fmla="*/ 41 w 57"/>
                  <a:gd name="T17" fmla="*/ 55 h 55"/>
                  <a:gd name="T18" fmla="*/ 49 w 57"/>
                  <a:gd name="T19" fmla="*/ 51 h 55"/>
                  <a:gd name="T20" fmla="*/ 52 w 57"/>
                  <a:gd name="T21" fmla="*/ 40 h 55"/>
                  <a:gd name="T22" fmla="*/ 54 w 57"/>
                  <a:gd name="T23" fmla="*/ 2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55">
                    <a:moveTo>
                      <a:pt x="54" y="26"/>
                    </a:moveTo>
                    <a:cubicBezTo>
                      <a:pt x="51" y="25"/>
                      <a:pt x="53" y="25"/>
                      <a:pt x="52" y="17"/>
                    </a:cubicBezTo>
                    <a:cubicBezTo>
                      <a:pt x="51" y="9"/>
                      <a:pt x="43" y="10"/>
                      <a:pt x="41" y="10"/>
                    </a:cubicBezTo>
                    <a:cubicBezTo>
                      <a:pt x="39" y="10"/>
                      <a:pt x="40" y="0"/>
                      <a:pt x="31" y="2"/>
                    </a:cubicBezTo>
                    <a:cubicBezTo>
                      <a:pt x="22" y="4"/>
                      <a:pt x="14" y="4"/>
                      <a:pt x="2" y="13"/>
                    </a:cubicBezTo>
                    <a:cubicBezTo>
                      <a:pt x="1" y="18"/>
                      <a:pt x="0" y="21"/>
                      <a:pt x="0" y="21"/>
                    </a:cubicBezTo>
                    <a:cubicBezTo>
                      <a:pt x="0" y="33"/>
                      <a:pt x="18" y="26"/>
                      <a:pt x="16" y="33"/>
                    </a:cubicBezTo>
                    <a:cubicBezTo>
                      <a:pt x="14" y="39"/>
                      <a:pt x="23" y="42"/>
                      <a:pt x="25" y="48"/>
                    </a:cubicBezTo>
                    <a:cubicBezTo>
                      <a:pt x="27" y="54"/>
                      <a:pt x="41" y="55"/>
                      <a:pt x="41" y="55"/>
                    </a:cubicBezTo>
                    <a:cubicBezTo>
                      <a:pt x="42" y="55"/>
                      <a:pt x="45" y="54"/>
                      <a:pt x="49" y="51"/>
                    </a:cubicBezTo>
                    <a:cubicBezTo>
                      <a:pt x="49" y="48"/>
                      <a:pt x="50" y="45"/>
                      <a:pt x="52" y="40"/>
                    </a:cubicBezTo>
                    <a:cubicBezTo>
                      <a:pt x="52" y="40"/>
                      <a:pt x="57" y="27"/>
                      <a:pt x="54" y="26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EBB56BE-9889-46D0-A59E-FD7A9D715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63227" y="5301960"/>
                <a:ext cx="15875" cy="23813"/>
              </a:xfrm>
              <a:custGeom>
                <a:avLst/>
                <a:gdLst>
                  <a:gd name="T0" fmla="*/ 6 w 6"/>
                  <a:gd name="T1" fmla="*/ 7 h 9"/>
                  <a:gd name="T2" fmla="*/ 1 w 6"/>
                  <a:gd name="T3" fmla="*/ 0 h 9"/>
                  <a:gd name="T4" fmla="*/ 0 w 6"/>
                  <a:gd name="T5" fmla="*/ 1 h 9"/>
                  <a:gd name="T6" fmla="*/ 5 w 6"/>
                  <a:gd name="T7" fmla="*/ 9 h 9"/>
                  <a:gd name="T8" fmla="*/ 6 w 6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7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1" y="3"/>
                      <a:pt x="3" y="6"/>
                      <a:pt x="5" y="9"/>
                    </a:cubicBezTo>
                    <a:cubicBezTo>
                      <a:pt x="5" y="8"/>
                      <a:pt x="6" y="7"/>
                      <a:pt x="6" y="7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73E63B7B-66A2-4741-876D-4F8BA92066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0390" y="5621047"/>
                <a:ext cx="1588" cy="15875"/>
              </a:xfrm>
              <a:custGeom>
                <a:avLst/>
                <a:gdLst>
                  <a:gd name="T0" fmla="*/ 1 w 1"/>
                  <a:gd name="T1" fmla="*/ 0 h 6"/>
                  <a:gd name="T2" fmla="*/ 1 w 1"/>
                  <a:gd name="T3" fmla="*/ 1 h 6"/>
                  <a:gd name="T4" fmla="*/ 0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0" y="6"/>
                      <a:pt x="0" y="3"/>
                      <a:pt x="1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65D24BF5-51DF-4F2C-B48F-252EC76458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5477" y="5382922"/>
                <a:ext cx="3175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DEF982E0-7777-4799-99B0-264CE61ED9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07285" y="5325772"/>
                <a:ext cx="176581" cy="188913"/>
              </a:xfrm>
              <a:custGeom>
                <a:avLst/>
                <a:gdLst>
                  <a:gd name="T0" fmla="*/ 69 w 70"/>
                  <a:gd name="T1" fmla="*/ 3 h 71"/>
                  <a:gd name="T2" fmla="*/ 67 w 70"/>
                  <a:gd name="T3" fmla="*/ 0 h 71"/>
                  <a:gd name="T4" fmla="*/ 24 w 70"/>
                  <a:gd name="T5" fmla="*/ 46 h 71"/>
                  <a:gd name="T6" fmla="*/ 7 w 70"/>
                  <a:gd name="T7" fmla="*/ 71 h 71"/>
                  <a:gd name="T8" fmla="*/ 58 w 70"/>
                  <a:gd name="T9" fmla="*/ 43 h 71"/>
                  <a:gd name="T10" fmla="*/ 63 w 70"/>
                  <a:gd name="T11" fmla="*/ 42 h 71"/>
                  <a:gd name="T12" fmla="*/ 70 w 70"/>
                  <a:gd name="T13" fmla="*/ 10 h 71"/>
                  <a:gd name="T14" fmla="*/ 69 w 70"/>
                  <a:gd name="T15" fmla="*/ 3 h 71"/>
                  <a:gd name="connsiteX0" fmla="*/ 9364 w 9507"/>
                  <a:gd name="connsiteY0" fmla="*/ 423 h 10000"/>
                  <a:gd name="connsiteX1" fmla="*/ 9078 w 9507"/>
                  <a:gd name="connsiteY1" fmla="*/ 0 h 10000"/>
                  <a:gd name="connsiteX2" fmla="*/ 2936 w 9507"/>
                  <a:gd name="connsiteY2" fmla="*/ 6479 h 10000"/>
                  <a:gd name="connsiteX3" fmla="*/ 507 w 9507"/>
                  <a:gd name="connsiteY3" fmla="*/ 10000 h 10000"/>
                  <a:gd name="connsiteX4" fmla="*/ 7963 w 9507"/>
                  <a:gd name="connsiteY4" fmla="*/ 6679 h 10000"/>
                  <a:gd name="connsiteX5" fmla="*/ 8507 w 9507"/>
                  <a:gd name="connsiteY5" fmla="*/ 5915 h 10000"/>
                  <a:gd name="connsiteX6" fmla="*/ 9507 w 9507"/>
                  <a:gd name="connsiteY6" fmla="*/ 1408 h 10000"/>
                  <a:gd name="connsiteX7" fmla="*/ 9364 w 9507"/>
                  <a:gd name="connsiteY7" fmla="*/ 42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7" h="10000">
                    <a:moveTo>
                      <a:pt x="9364" y="423"/>
                    </a:moveTo>
                    <a:cubicBezTo>
                      <a:pt x="9364" y="282"/>
                      <a:pt x="9221" y="141"/>
                      <a:pt x="9078" y="0"/>
                    </a:cubicBezTo>
                    <a:cubicBezTo>
                      <a:pt x="8364" y="1268"/>
                      <a:pt x="6078" y="4085"/>
                      <a:pt x="2936" y="6479"/>
                    </a:cubicBezTo>
                    <a:cubicBezTo>
                      <a:pt x="-493" y="9014"/>
                      <a:pt x="-331" y="9967"/>
                      <a:pt x="507" y="10000"/>
                    </a:cubicBezTo>
                    <a:cubicBezTo>
                      <a:pt x="1345" y="10033"/>
                      <a:pt x="8391" y="6398"/>
                      <a:pt x="7963" y="6679"/>
                    </a:cubicBezTo>
                    <a:cubicBezTo>
                      <a:pt x="7820" y="6820"/>
                      <a:pt x="8221" y="6197"/>
                      <a:pt x="8507" y="5915"/>
                    </a:cubicBezTo>
                    <a:cubicBezTo>
                      <a:pt x="8793" y="4648"/>
                      <a:pt x="9078" y="2958"/>
                      <a:pt x="9507" y="1408"/>
                    </a:cubicBezTo>
                    <a:cubicBezTo>
                      <a:pt x="9507" y="986"/>
                      <a:pt x="9507" y="563"/>
                      <a:pt x="9364" y="423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6B79D3B8-D20B-4A18-9F30-E0A75984C6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64815" y="5352760"/>
                <a:ext cx="19050" cy="85725"/>
              </a:xfrm>
              <a:custGeom>
                <a:avLst/>
                <a:gdLst>
                  <a:gd name="T0" fmla="*/ 7 w 7"/>
                  <a:gd name="T1" fmla="*/ 0 h 32"/>
                  <a:gd name="T2" fmla="*/ 0 w 7"/>
                  <a:gd name="T3" fmla="*/ 32 h 32"/>
                  <a:gd name="T4" fmla="*/ 7 w 7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2">
                    <a:moveTo>
                      <a:pt x="7" y="0"/>
                    </a:moveTo>
                    <a:cubicBezTo>
                      <a:pt x="4" y="11"/>
                      <a:pt x="2" y="23"/>
                      <a:pt x="0" y="32"/>
                    </a:cubicBezTo>
                    <a:cubicBezTo>
                      <a:pt x="5" y="23"/>
                      <a:pt x="7" y="9"/>
                      <a:pt x="7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969637EA-7C17-4E53-B653-C8D88A7D6F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9915" y="5384510"/>
                <a:ext cx="98425" cy="212725"/>
              </a:xfrm>
              <a:custGeom>
                <a:avLst/>
                <a:gdLst>
                  <a:gd name="T0" fmla="*/ 16 w 37"/>
                  <a:gd name="T1" fmla="*/ 37 h 80"/>
                  <a:gd name="T2" fmla="*/ 0 w 37"/>
                  <a:gd name="T3" fmla="*/ 80 h 80"/>
                  <a:gd name="T4" fmla="*/ 37 w 37"/>
                  <a:gd name="T5" fmla="*/ 38 h 80"/>
                  <a:gd name="T6" fmla="*/ 22 w 37"/>
                  <a:gd name="T7" fmla="*/ 0 h 80"/>
                  <a:gd name="T8" fmla="*/ 26 w 37"/>
                  <a:gd name="T9" fmla="*/ 14 h 80"/>
                  <a:gd name="T10" fmla="*/ 16 w 37"/>
                  <a:gd name="T11" fmla="*/ 3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80">
                    <a:moveTo>
                      <a:pt x="16" y="37"/>
                    </a:moveTo>
                    <a:cubicBezTo>
                      <a:pt x="13" y="44"/>
                      <a:pt x="5" y="65"/>
                      <a:pt x="0" y="80"/>
                    </a:cubicBezTo>
                    <a:cubicBezTo>
                      <a:pt x="10" y="59"/>
                      <a:pt x="28" y="44"/>
                      <a:pt x="37" y="38"/>
                    </a:cubicBezTo>
                    <a:cubicBezTo>
                      <a:pt x="37" y="29"/>
                      <a:pt x="28" y="11"/>
                      <a:pt x="22" y="0"/>
                    </a:cubicBezTo>
                    <a:cubicBezTo>
                      <a:pt x="23" y="3"/>
                      <a:pt x="26" y="10"/>
                      <a:pt x="26" y="14"/>
                    </a:cubicBezTo>
                    <a:cubicBezTo>
                      <a:pt x="26" y="19"/>
                      <a:pt x="22" y="27"/>
                      <a:pt x="16" y="3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E25BBB80-1212-4A72-8EBC-2436675ADC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7695" y="5296301"/>
                <a:ext cx="578231" cy="362155"/>
              </a:xfrm>
              <a:custGeom>
                <a:avLst/>
                <a:gdLst>
                  <a:gd name="T0" fmla="*/ 183 w 226"/>
                  <a:gd name="T1" fmla="*/ 54 h 135"/>
                  <a:gd name="T2" fmla="*/ 226 w 226"/>
                  <a:gd name="T3" fmla="*/ 8 h 135"/>
                  <a:gd name="T4" fmla="*/ 221 w 226"/>
                  <a:gd name="T5" fmla="*/ 0 h 135"/>
                  <a:gd name="T6" fmla="*/ 170 w 226"/>
                  <a:gd name="T7" fmla="*/ 53 h 135"/>
                  <a:gd name="T8" fmla="*/ 118 w 226"/>
                  <a:gd name="T9" fmla="*/ 94 h 135"/>
                  <a:gd name="T10" fmla="*/ 80 w 226"/>
                  <a:gd name="T11" fmla="*/ 94 h 135"/>
                  <a:gd name="T12" fmla="*/ 77 w 226"/>
                  <a:gd name="T13" fmla="*/ 94 h 135"/>
                  <a:gd name="T14" fmla="*/ 12 w 226"/>
                  <a:gd name="T15" fmla="*/ 113 h 135"/>
                  <a:gd name="T16" fmla="*/ 24 w 226"/>
                  <a:gd name="T17" fmla="*/ 130 h 135"/>
                  <a:gd name="T18" fmla="*/ 132 w 226"/>
                  <a:gd name="T19" fmla="*/ 132 h 135"/>
                  <a:gd name="T20" fmla="*/ 150 w 226"/>
                  <a:gd name="T21" fmla="*/ 114 h 135"/>
                  <a:gd name="T22" fmla="*/ 217 w 226"/>
                  <a:gd name="T23" fmla="*/ 63 h 135"/>
                  <a:gd name="T24" fmla="*/ 219 w 226"/>
                  <a:gd name="T25" fmla="*/ 56 h 135"/>
                  <a:gd name="T26" fmla="*/ 220 w 226"/>
                  <a:gd name="T27" fmla="*/ 51 h 135"/>
                  <a:gd name="T28" fmla="*/ 166 w 226"/>
                  <a:gd name="T29" fmla="*/ 79 h 135"/>
                  <a:gd name="T30" fmla="*/ 183 w 226"/>
                  <a:gd name="T31" fmla="*/ 54 h 135"/>
                  <a:gd name="connsiteX0" fmla="*/ 7733 w 9636"/>
                  <a:gd name="connsiteY0" fmla="*/ 4000 h 9848"/>
                  <a:gd name="connsiteX1" fmla="*/ 9636 w 9636"/>
                  <a:gd name="connsiteY1" fmla="*/ 593 h 9848"/>
                  <a:gd name="connsiteX2" fmla="*/ 9415 w 9636"/>
                  <a:gd name="connsiteY2" fmla="*/ 0 h 9848"/>
                  <a:gd name="connsiteX3" fmla="*/ 7158 w 9636"/>
                  <a:gd name="connsiteY3" fmla="*/ 3926 h 9848"/>
                  <a:gd name="connsiteX4" fmla="*/ 4962 w 9636"/>
                  <a:gd name="connsiteY4" fmla="*/ 6717 h 9848"/>
                  <a:gd name="connsiteX5" fmla="*/ 3176 w 9636"/>
                  <a:gd name="connsiteY5" fmla="*/ 6963 h 9848"/>
                  <a:gd name="connsiteX6" fmla="*/ 3043 w 9636"/>
                  <a:gd name="connsiteY6" fmla="*/ 6963 h 9848"/>
                  <a:gd name="connsiteX7" fmla="*/ 167 w 9636"/>
                  <a:gd name="connsiteY7" fmla="*/ 8370 h 9848"/>
                  <a:gd name="connsiteX8" fmla="*/ 698 w 9636"/>
                  <a:gd name="connsiteY8" fmla="*/ 9630 h 9848"/>
                  <a:gd name="connsiteX9" fmla="*/ 5477 w 9636"/>
                  <a:gd name="connsiteY9" fmla="*/ 9778 h 9848"/>
                  <a:gd name="connsiteX10" fmla="*/ 6273 w 9636"/>
                  <a:gd name="connsiteY10" fmla="*/ 8444 h 9848"/>
                  <a:gd name="connsiteX11" fmla="*/ 9238 w 9636"/>
                  <a:gd name="connsiteY11" fmla="*/ 4667 h 9848"/>
                  <a:gd name="connsiteX12" fmla="*/ 9326 w 9636"/>
                  <a:gd name="connsiteY12" fmla="*/ 4148 h 9848"/>
                  <a:gd name="connsiteX13" fmla="*/ 9371 w 9636"/>
                  <a:gd name="connsiteY13" fmla="*/ 3778 h 9848"/>
                  <a:gd name="connsiteX14" fmla="*/ 6981 w 9636"/>
                  <a:gd name="connsiteY14" fmla="*/ 5852 h 9848"/>
                  <a:gd name="connsiteX15" fmla="*/ 7733 w 9636"/>
                  <a:gd name="connsiteY15" fmla="*/ 4000 h 9848"/>
                  <a:gd name="connsiteX0" fmla="*/ 8025 w 10000"/>
                  <a:gd name="connsiteY0" fmla="*/ 4312 h 10250"/>
                  <a:gd name="connsiteX1" fmla="*/ 10000 w 10000"/>
                  <a:gd name="connsiteY1" fmla="*/ 852 h 10250"/>
                  <a:gd name="connsiteX2" fmla="*/ 9716 w 10000"/>
                  <a:gd name="connsiteY2" fmla="*/ 0 h 10250"/>
                  <a:gd name="connsiteX3" fmla="*/ 7428 w 10000"/>
                  <a:gd name="connsiteY3" fmla="*/ 4237 h 10250"/>
                  <a:gd name="connsiteX4" fmla="*/ 5149 w 10000"/>
                  <a:gd name="connsiteY4" fmla="*/ 7071 h 10250"/>
                  <a:gd name="connsiteX5" fmla="*/ 3296 w 10000"/>
                  <a:gd name="connsiteY5" fmla="*/ 7320 h 10250"/>
                  <a:gd name="connsiteX6" fmla="*/ 3158 w 10000"/>
                  <a:gd name="connsiteY6" fmla="*/ 7320 h 10250"/>
                  <a:gd name="connsiteX7" fmla="*/ 173 w 10000"/>
                  <a:gd name="connsiteY7" fmla="*/ 8749 h 10250"/>
                  <a:gd name="connsiteX8" fmla="*/ 724 w 10000"/>
                  <a:gd name="connsiteY8" fmla="*/ 10029 h 10250"/>
                  <a:gd name="connsiteX9" fmla="*/ 5684 w 10000"/>
                  <a:gd name="connsiteY9" fmla="*/ 10179 h 10250"/>
                  <a:gd name="connsiteX10" fmla="*/ 6510 w 10000"/>
                  <a:gd name="connsiteY10" fmla="*/ 8824 h 10250"/>
                  <a:gd name="connsiteX11" fmla="*/ 9587 w 10000"/>
                  <a:gd name="connsiteY11" fmla="*/ 4989 h 10250"/>
                  <a:gd name="connsiteX12" fmla="*/ 9678 w 10000"/>
                  <a:gd name="connsiteY12" fmla="*/ 4462 h 10250"/>
                  <a:gd name="connsiteX13" fmla="*/ 9725 w 10000"/>
                  <a:gd name="connsiteY13" fmla="*/ 4086 h 10250"/>
                  <a:gd name="connsiteX14" fmla="*/ 7245 w 10000"/>
                  <a:gd name="connsiteY14" fmla="*/ 6192 h 10250"/>
                  <a:gd name="connsiteX15" fmla="*/ 8025 w 10000"/>
                  <a:gd name="connsiteY15" fmla="*/ 4312 h 1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250">
                    <a:moveTo>
                      <a:pt x="8025" y="4312"/>
                    </a:moveTo>
                    <a:cubicBezTo>
                      <a:pt x="9036" y="3033"/>
                      <a:pt x="9771" y="1528"/>
                      <a:pt x="10000" y="852"/>
                    </a:cubicBezTo>
                    <a:cubicBezTo>
                      <a:pt x="9909" y="626"/>
                      <a:pt x="9761" y="150"/>
                      <a:pt x="9716" y="0"/>
                    </a:cubicBezTo>
                    <a:cubicBezTo>
                      <a:pt x="9394" y="527"/>
                      <a:pt x="8189" y="3059"/>
                      <a:pt x="7428" y="4237"/>
                    </a:cubicBezTo>
                    <a:cubicBezTo>
                      <a:pt x="6667" y="5415"/>
                      <a:pt x="5517" y="7146"/>
                      <a:pt x="5149" y="7071"/>
                    </a:cubicBezTo>
                    <a:cubicBezTo>
                      <a:pt x="4736" y="6996"/>
                      <a:pt x="3985" y="7170"/>
                      <a:pt x="3296" y="7320"/>
                    </a:cubicBezTo>
                    <a:lnTo>
                      <a:pt x="3158" y="7320"/>
                    </a:lnTo>
                    <a:cubicBezTo>
                      <a:pt x="2378" y="7546"/>
                      <a:pt x="265" y="8449"/>
                      <a:pt x="173" y="8749"/>
                    </a:cubicBezTo>
                    <a:cubicBezTo>
                      <a:pt x="81" y="9051"/>
                      <a:pt x="-378" y="9502"/>
                      <a:pt x="724" y="10029"/>
                    </a:cubicBezTo>
                    <a:cubicBezTo>
                      <a:pt x="724" y="10029"/>
                      <a:pt x="3571" y="10404"/>
                      <a:pt x="5684" y="10179"/>
                    </a:cubicBezTo>
                    <a:cubicBezTo>
                      <a:pt x="5684" y="10179"/>
                      <a:pt x="5913" y="10254"/>
                      <a:pt x="6510" y="8824"/>
                    </a:cubicBezTo>
                    <a:cubicBezTo>
                      <a:pt x="7061" y="7396"/>
                      <a:pt x="8025" y="5290"/>
                      <a:pt x="9587" y="4989"/>
                    </a:cubicBezTo>
                    <a:cubicBezTo>
                      <a:pt x="9587" y="4989"/>
                      <a:pt x="9678" y="4687"/>
                      <a:pt x="9678" y="4462"/>
                    </a:cubicBezTo>
                    <a:cubicBezTo>
                      <a:pt x="9678" y="4312"/>
                      <a:pt x="9678" y="4161"/>
                      <a:pt x="9725" y="4086"/>
                    </a:cubicBezTo>
                    <a:cubicBezTo>
                      <a:pt x="9862" y="3936"/>
                      <a:pt x="7566" y="5665"/>
                      <a:pt x="7245" y="6192"/>
                    </a:cubicBezTo>
                    <a:cubicBezTo>
                      <a:pt x="7245" y="6192"/>
                      <a:pt x="6923" y="5665"/>
                      <a:pt x="8025" y="4312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AE1C96FE-1F65-46F9-944A-DE2F793BB4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1977" y="5597235"/>
                <a:ext cx="7938" cy="26988"/>
              </a:xfrm>
              <a:custGeom>
                <a:avLst/>
                <a:gdLst>
                  <a:gd name="T0" fmla="*/ 3 w 3"/>
                  <a:gd name="T1" fmla="*/ 0 h 10"/>
                  <a:gd name="T2" fmla="*/ 0 w 3"/>
                  <a:gd name="T3" fmla="*/ 10 h 10"/>
                  <a:gd name="T4" fmla="*/ 0 w 3"/>
                  <a:gd name="T5" fmla="*/ 9 h 10"/>
                  <a:gd name="T6" fmla="*/ 3 w 3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0">
                    <a:moveTo>
                      <a:pt x="3" y="0"/>
                    </a:moveTo>
                    <a:cubicBezTo>
                      <a:pt x="2" y="3"/>
                      <a:pt x="1" y="6"/>
                      <a:pt x="0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1" y="7"/>
                      <a:pt x="2" y="3"/>
                      <a:pt x="3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69713782-AEE5-4A95-B005-0CE169B5B6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18752" y="5382922"/>
                <a:ext cx="517525" cy="406400"/>
              </a:xfrm>
              <a:custGeom>
                <a:avLst/>
                <a:gdLst>
                  <a:gd name="T0" fmla="*/ 192 w 195"/>
                  <a:gd name="T1" fmla="*/ 39 h 153"/>
                  <a:gd name="T2" fmla="*/ 155 w 195"/>
                  <a:gd name="T3" fmla="*/ 81 h 153"/>
                  <a:gd name="T4" fmla="*/ 152 w 195"/>
                  <a:gd name="T5" fmla="*/ 90 h 153"/>
                  <a:gd name="T6" fmla="*/ 151 w 195"/>
                  <a:gd name="T7" fmla="*/ 96 h 153"/>
                  <a:gd name="T8" fmla="*/ 152 w 195"/>
                  <a:gd name="T9" fmla="*/ 91 h 153"/>
                  <a:gd name="T10" fmla="*/ 155 w 195"/>
                  <a:gd name="T11" fmla="*/ 81 h 153"/>
                  <a:gd name="T12" fmla="*/ 171 w 195"/>
                  <a:gd name="T13" fmla="*/ 38 h 153"/>
                  <a:gd name="T14" fmla="*/ 181 w 195"/>
                  <a:gd name="T15" fmla="*/ 15 h 153"/>
                  <a:gd name="T16" fmla="*/ 177 w 195"/>
                  <a:gd name="T17" fmla="*/ 1 h 153"/>
                  <a:gd name="T18" fmla="*/ 176 w 195"/>
                  <a:gd name="T19" fmla="*/ 0 h 153"/>
                  <a:gd name="T20" fmla="*/ 154 w 195"/>
                  <a:gd name="T21" fmla="*/ 60 h 153"/>
                  <a:gd name="T22" fmla="*/ 132 w 195"/>
                  <a:gd name="T23" fmla="*/ 105 h 153"/>
                  <a:gd name="T24" fmla="*/ 54 w 195"/>
                  <a:gd name="T25" fmla="*/ 96 h 153"/>
                  <a:gd name="T26" fmla="*/ 54 w 195"/>
                  <a:gd name="T27" fmla="*/ 96 h 153"/>
                  <a:gd name="T28" fmla="*/ 26 w 195"/>
                  <a:gd name="T29" fmla="*/ 126 h 153"/>
                  <a:gd name="T30" fmla="*/ 20 w 195"/>
                  <a:gd name="T31" fmla="*/ 153 h 153"/>
                  <a:gd name="T32" fmla="*/ 130 w 195"/>
                  <a:gd name="T33" fmla="*/ 144 h 153"/>
                  <a:gd name="T34" fmla="*/ 151 w 195"/>
                  <a:gd name="T35" fmla="*/ 118 h 153"/>
                  <a:gd name="T36" fmla="*/ 173 w 195"/>
                  <a:gd name="T37" fmla="*/ 67 h 153"/>
                  <a:gd name="T38" fmla="*/ 172 w 195"/>
                  <a:gd name="T39" fmla="*/ 120 h 153"/>
                  <a:gd name="T40" fmla="*/ 183 w 195"/>
                  <a:gd name="T41" fmla="*/ 118 h 153"/>
                  <a:gd name="T42" fmla="*/ 185 w 195"/>
                  <a:gd name="T43" fmla="*/ 59 h 153"/>
                  <a:gd name="T44" fmla="*/ 192 w 195"/>
                  <a:gd name="T45" fmla="*/ 39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5" h="153">
                    <a:moveTo>
                      <a:pt x="192" y="39"/>
                    </a:moveTo>
                    <a:cubicBezTo>
                      <a:pt x="183" y="45"/>
                      <a:pt x="165" y="60"/>
                      <a:pt x="155" y="81"/>
                    </a:cubicBezTo>
                    <a:cubicBezTo>
                      <a:pt x="154" y="84"/>
                      <a:pt x="153" y="88"/>
                      <a:pt x="152" y="90"/>
                    </a:cubicBezTo>
                    <a:cubicBezTo>
                      <a:pt x="151" y="93"/>
                      <a:pt x="151" y="96"/>
                      <a:pt x="151" y="96"/>
                    </a:cubicBezTo>
                    <a:cubicBezTo>
                      <a:pt x="151" y="94"/>
                      <a:pt x="151" y="93"/>
                      <a:pt x="152" y="91"/>
                    </a:cubicBezTo>
                    <a:cubicBezTo>
                      <a:pt x="153" y="87"/>
                      <a:pt x="154" y="84"/>
                      <a:pt x="155" y="81"/>
                    </a:cubicBezTo>
                    <a:cubicBezTo>
                      <a:pt x="160" y="66"/>
                      <a:pt x="168" y="45"/>
                      <a:pt x="171" y="38"/>
                    </a:cubicBezTo>
                    <a:cubicBezTo>
                      <a:pt x="177" y="28"/>
                      <a:pt x="181" y="20"/>
                      <a:pt x="181" y="15"/>
                    </a:cubicBezTo>
                    <a:cubicBezTo>
                      <a:pt x="181" y="11"/>
                      <a:pt x="178" y="4"/>
                      <a:pt x="177" y="1"/>
                    </a:cubicBezTo>
                    <a:cubicBezTo>
                      <a:pt x="176" y="1"/>
                      <a:pt x="176" y="0"/>
                      <a:pt x="176" y="0"/>
                    </a:cubicBezTo>
                    <a:cubicBezTo>
                      <a:pt x="175" y="3"/>
                      <a:pt x="158" y="45"/>
                      <a:pt x="154" y="60"/>
                    </a:cubicBezTo>
                    <a:cubicBezTo>
                      <a:pt x="150" y="74"/>
                      <a:pt x="139" y="104"/>
                      <a:pt x="132" y="105"/>
                    </a:cubicBezTo>
                    <a:cubicBezTo>
                      <a:pt x="125" y="106"/>
                      <a:pt x="77" y="119"/>
                      <a:pt x="54" y="96"/>
                    </a:cubicBezTo>
                    <a:cubicBezTo>
                      <a:pt x="54" y="96"/>
                      <a:pt x="54" y="96"/>
                      <a:pt x="54" y="96"/>
                    </a:cubicBezTo>
                    <a:cubicBezTo>
                      <a:pt x="54" y="96"/>
                      <a:pt x="32" y="120"/>
                      <a:pt x="26" y="126"/>
                    </a:cubicBezTo>
                    <a:cubicBezTo>
                      <a:pt x="20" y="131"/>
                      <a:pt x="0" y="145"/>
                      <a:pt x="20" y="153"/>
                    </a:cubicBezTo>
                    <a:cubicBezTo>
                      <a:pt x="20" y="153"/>
                      <a:pt x="119" y="146"/>
                      <a:pt x="130" y="144"/>
                    </a:cubicBezTo>
                    <a:cubicBezTo>
                      <a:pt x="141" y="141"/>
                      <a:pt x="149" y="132"/>
                      <a:pt x="151" y="118"/>
                    </a:cubicBezTo>
                    <a:cubicBezTo>
                      <a:pt x="153" y="103"/>
                      <a:pt x="170" y="69"/>
                      <a:pt x="173" y="67"/>
                    </a:cubicBez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72" y="120"/>
                      <a:pt x="183" y="121"/>
                      <a:pt x="183" y="118"/>
                    </a:cubicBezTo>
                    <a:cubicBezTo>
                      <a:pt x="185" y="59"/>
                      <a:pt x="185" y="59"/>
                      <a:pt x="185" y="59"/>
                    </a:cubicBezTo>
                    <a:cubicBezTo>
                      <a:pt x="185" y="59"/>
                      <a:pt x="195" y="37"/>
                      <a:pt x="192" y="39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B13D5D2-C7A6-4DB7-8574-8FE6A01664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88577" y="4441535"/>
                <a:ext cx="733425" cy="1257300"/>
              </a:xfrm>
              <a:custGeom>
                <a:avLst/>
                <a:gdLst>
                  <a:gd name="T0" fmla="*/ 132 w 276"/>
                  <a:gd name="T1" fmla="*/ 75 h 473"/>
                  <a:gd name="T2" fmla="*/ 69 w 276"/>
                  <a:gd name="T3" fmla="*/ 66 h 473"/>
                  <a:gd name="T4" fmla="*/ 58 w 276"/>
                  <a:gd name="T5" fmla="*/ 5 h 473"/>
                  <a:gd name="T6" fmla="*/ 57 w 276"/>
                  <a:gd name="T7" fmla="*/ 4 h 473"/>
                  <a:gd name="T8" fmla="*/ 44 w 276"/>
                  <a:gd name="T9" fmla="*/ 0 h 473"/>
                  <a:gd name="T10" fmla="*/ 52 w 276"/>
                  <a:gd name="T11" fmla="*/ 156 h 473"/>
                  <a:gd name="T12" fmla="*/ 67 w 276"/>
                  <a:gd name="T13" fmla="*/ 298 h 473"/>
                  <a:gd name="T14" fmla="*/ 62 w 276"/>
                  <a:gd name="T15" fmla="*/ 327 h 473"/>
                  <a:gd name="T16" fmla="*/ 25 w 276"/>
                  <a:gd name="T17" fmla="*/ 384 h 473"/>
                  <a:gd name="T18" fmla="*/ 0 w 276"/>
                  <a:gd name="T19" fmla="*/ 419 h 473"/>
                  <a:gd name="T20" fmla="*/ 38 w 276"/>
                  <a:gd name="T21" fmla="*/ 419 h 473"/>
                  <a:gd name="T22" fmla="*/ 90 w 276"/>
                  <a:gd name="T23" fmla="*/ 378 h 473"/>
                  <a:gd name="T24" fmla="*/ 141 w 276"/>
                  <a:gd name="T25" fmla="*/ 325 h 473"/>
                  <a:gd name="T26" fmla="*/ 140 w 276"/>
                  <a:gd name="T27" fmla="*/ 323 h 473"/>
                  <a:gd name="T28" fmla="*/ 137 w 276"/>
                  <a:gd name="T29" fmla="*/ 276 h 473"/>
                  <a:gd name="T30" fmla="*/ 147 w 276"/>
                  <a:gd name="T31" fmla="*/ 169 h 473"/>
                  <a:gd name="T32" fmla="*/ 157 w 276"/>
                  <a:gd name="T33" fmla="*/ 120 h 473"/>
                  <a:gd name="T34" fmla="*/ 161 w 276"/>
                  <a:gd name="T35" fmla="*/ 261 h 473"/>
                  <a:gd name="T36" fmla="*/ 154 w 276"/>
                  <a:gd name="T37" fmla="*/ 324 h 473"/>
                  <a:gd name="T38" fmla="*/ 149 w 276"/>
                  <a:gd name="T39" fmla="*/ 343 h 473"/>
                  <a:gd name="T40" fmla="*/ 142 w 276"/>
                  <a:gd name="T41" fmla="*/ 375 h 473"/>
                  <a:gd name="T42" fmla="*/ 137 w 276"/>
                  <a:gd name="T43" fmla="*/ 396 h 473"/>
                  <a:gd name="T44" fmla="*/ 107 w 276"/>
                  <a:gd name="T45" fmla="*/ 444 h 473"/>
                  <a:gd name="T46" fmla="*/ 103 w 276"/>
                  <a:gd name="T47" fmla="*/ 450 h 473"/>
                  <a:gd name="T48" fmla="*/ 181 w 276"/>
                  <a:gd name="T49" fmla="*/ 459 h 473"/>
                  <a:gd name="T50" fmla="*/ 203 w 276"/>
                  <a:gd name="T51" fmla="*/ 414 h 473"/>
                  <a:gd name="T52" fmla="*/ 225 w 276"/>
                  <a:gd name="T53" fmla="*/ 354 h 473"/>
                  <a:gd name="T54" fmla="*/ 221 w 276"/>
                  <a:gd name="T55" fmla="*/ 347 h 473"/>
                  <a:gd name="T56" fmla="*/ 235 w 276"/>
                  <a:gd name="T57" fmla="*/ 262 h 473"/>
                  <a:gd name="T58" fmla="*/ 274 w 276"/>
                  <a:gd name="T59" fmla="*/ 131 h 473"/>
                  <a:gd name="T60" fmla="*/ 276 w 276"/>
                  <a:gd name="T61" fmla="*/ 61 h 473"/>
                  <a:gd name="T62" fmla="*/ 276 w 276"/>
                  <a:gd name="T63" fmla="*/ 60 h 473"/>
                  <a:gd name="T64" fmla="*/ 132 w 276"/>
                  <a:gd name="T65" fmla="*/ 75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6" h="473">
                    <a:moveTo>
                      <a:pt x="132" y="75"/>
                    </a:moveTo>
                    <a:cubicBezTo>
                      <a:pt x="91" y="78"/>
                      <a:pt x="80" y="76"/>
                      <a:pt x="69" y="66"/>
                    </a:cubicBezTo>
                    <a:cubicBezTo>
                      <a:pt x="58" y="57"/>
                      <a:pt x="62" y="9"/>
                      <a:pt x="58" y="5"/>
                    </a:cubicBezTo>
                    <a:cubicBezTo>
                      <a:pt x="58" y="4"/>
                      <a:pt x="57" y="4"/>
                      <a:pt x="57" y="4"/>
                    </a:cubicBezTo>
                    <a:cubicBezTo>
                      <a:pt x="52" y="1"/>
                      <a:pt x="44" y="0"/>
                      <a:pt x="44" y="0"/>
                    </a:cubicBezTo>
                    <a:cubicBezTo>
                      <a:pt x="39" y="44"/>
                      <a:pt x="52" y="144"/>
                      <a:pt x="52" y="156"/>
                    </a:cubicBezTo>
                    <a:cubicBezTo>
                      <a:pt x="52" y="168"/>
                      <a:pt x="66" y="284"/>
                      <a:pt x="67" y="298"/>
                    </a:cubicBezTo>
                    <a:cubicBezTo>
                      <a:pt x="68" y="312"/>
                      <a:pt x="62" y="327"/>
                      <a:pt x="62" y="327"/>
                    </a:cubicBezTo>
                    <a:cubicBezTo>
                      <a:pt x="52" y="348"/>
                      <a:pt x="34" y="365"/>
                      <a:pt x="25" y="384"/>
                    </a:cubicBezTo>
                    <a:cubicBezTo>
                      <a:pt x="19" y="397"/>
                      <a:pt x="8" y="410"/>
                      <a:pt x="0" y="419"/>
                    </a:cubicBezTo>
                    <a:cubicBezTo>
                      <a:pt x="15" y="417"/>
                      <a:pt x="29" y="418"/>
                      <a:pt x="38" y="419"/>
                    </a:cubicBezTo>
                    <a:cubicBezTo>
                      <a:pt x="46" y="420"/>
                      <a:pt x="82" y="387"/>
                      <a:pt x="90" y="378"/>
                    </a:cubicBezTo>
                    <a:cubicBezTo>
                      <a:pt x="97" y="370"/>
                      <a:pt x="134" y="332"/>
                      <a:pt x="141" y="325"/>
                    </a:cubicBezTo>
                    <a:cubicBezTo>
                      <a:pt x="140" y="324"/>
                      <a:pt x="140" y="323"/>
                      <a:pt x="140" y="323"/>
                    </a:cubicBezTo>
                    <a:cubicBezTo>
                      <a:pt x="138" y="315"/>
                      <a:pt x="137" y="276"/>
                      <a:pt x="137" y="276"/>
                    </a:cubicBezTo>
                    <a:cubicBezTo>
                      <a:pt x="134" y="257"/>
                      <a:pt x="146" y="180"/>
                      <a:pt x="147" y="169"/>
                    </a:cubicBezTo>
                    <a:cubicBezTo>
                      <a:pt x="148" y="158"/>
                      <a:pt x="156" y="113"/>
                      <a:pt x="157" y="120"/>
                    </a:cubicBezTo>
                    <a:cubicBezTo>
                      <a:pt x="158" y="126"/>
                      <a:pt x="161" y="252"/>
                      <a:pt x="161" y="261"/>
                    </a:cubicBezTo>
                    <a:cubicBezTo>
                      <a:pt x="161" y="270"/>
                      <a:pt x="162" y="294"/>
                      <a:pt x="154" y="324"/>
                    </a:cubicBezTo>
                    <a:cubicBezTo>
                      <a:pt x="152" y="330"/>
                      <a:pt x="151" y="337"/>
                      <a:pt x="149" y="343"/>
                    </a:cubicBezTo>
                    <a:cubicBezTo>
                      <a:pt x="149" y="352"/>
                      <a:pt x="147" y="366"/>
                      <a:pt x="142" y="375"/>
                    </a:cubicBezTo>
                    <a:cubicBezTo>
                      <a:pt x="139" y="385"/>
                      <a:pt x="138" y="393"/>
                      <a:pt x="137" y="396"/>
                    </a:cubicBezTo>
                    <a:cubicBezTo>
                      <a:pt x="135" y="403"/>
                      <a:pt x="116" y="434"/>
                      <a:pt x="107" y="444"/>
                    </a:cubicBezTo>
                    <a:cubicBezTo>
                      <a:pt x="105" y="446"/>
                      <a:pt x="104" y="448"/>
                      <a:pt x="103" y="450"/>
                    </a:cubicBezTo>
                    <a:cubicBezTo>
                      <a:pt x="126" y="473"/>
                      <a:pt x="174" y="460"/>
                      <a:pt x="181" y="459"/>
                    </a:cubicBezTo>
                    <a:cubicBezTo>
                      <a:pt x="188" y="458"/>
                      <a:pt x="199" y="428"/>
                      <a:pt x="203" y="414"/>
                    </a:cubicBezTo>
                    <a:cubicBezTo>
                      <a:pt x="207" y="399"/>
                      <a:pt x="224" y="357"/>
                      <a:pt x="225" y="354"/>
                    </a:cubicBezTo>
                    <a:cubicBezTo>
                      <a:pt x="223" y="350"/>
                      <a:pt x="221" y="347"/>
                      <a:pt x="221" y="347"/>
                    </a:cubicBezTo>
                    <a:cubicBezTo>
                      <a:pt x="211" y="323"/>
                      <a:pt x="224" y="296"/>
                      <a:pt x="235" y="262"/>
                    </a:cubicBezTo>
                    <a:cubicBezTo>
                      <a:pt x="246" y="227"/>
                      <a:pt x="271" y="154"/>
                      <a:pt x="274" y="131"/>
                    </a:cubicBezTo>
                    <a:cubicBezTo>
                      <a:pt x="276" y="110"/>
                      <a:pt x="276" y="69"/>
                      <a:pt x="276" y="61"/>
                    </a:cubicBezTo>
                    <a:cubicBezTo>
                      <a:pt x="276" y="61"/>
                      <a:pt x="276" y="60"/>
                      <a:pt x="276" y="60"/>
                    </a:cubicBezTo>
                    <a:cubicBezTo>
                      <a:pt x="276" y="60"/>
                      <a:pt x="174" y="72"/>
                      <a:pt x="132" y="75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91EB7494-0EF3-4A6A-BE2B-B7436563C5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83124" y="3571296"/>
                <a:ext cx="1236454" cy="1082672"/>
              </a:xfrm>
              <a:custGeom>
                <a:avLst/>
                <a:gdLst>
                  <a:gd name="T0" fmla="*/ 458 w 462"/>
                  <a:gd name="T1" fmla="*/ 322 h 396"/>
                  <a:gd name="T2" fmla="*/ 440 w 462"/>
                  <a:gd name="T3" fmla="*/ 154 h 396"/>
                  <a:gd name="T4" fmla="*/ 434 w 462"/>
                  <a:gd name="T5" fmla="*/ 68 h 396"/>
                  <a:gd name="T6" fmla="*/ 397 w 462"/>
                  <a:gd name="T7" fmla="*/ 48 h 396"/>
                  <a:gd name="T8" fmla="*/ 282 w 462"/>
                  <a:gd name="T9" fmla="*/ 58 h 396"/>
                  <a:gd name="T10" fmla="*/ 260 w 462"/>
                  <a:gd name="T11" fmla="*/ 0 h 396"/>
                  <a:gd name="T12" fmla="*/ 254 w 462"/>
                  <a:gd name="T13" fmla="*/ 0 h 396"/>
                  <a:gd name="T14" fmla="*/ 254 w 462"/>
                  <a:gd name="T15" fmla="*/ 33 h 396"/>
                  <a:gd name="T16" fmla="*/ 257 w 462"/>
                  <a:gd name="T17" fmla="*/ 36 h 396"/>
                  <a:gd name="T18" fmla="*/ 256 w 462"/>
                  <a:gd name="T19" fmla="*/ 64 h 396"/>
                  <a:gd name="T20" fmla="*/ 174 w 462"/>
                  <a:gd name="T21" fmla="*/ 67 h 396"/>
                  <a:gd name="T22" fmla="*/ 179 w 462"/>
                  <a:gd name="T23" fmla="*/ 30 h 396"/>
                  <a:gd name="T24" fmla="*/ 183 w 462"/>
                  <a:gd name="T25" fmla="*/ 28 h 396"/>
                  <a:gd name="T26" fmla="*/ 182 w 462"/>
                  <a:gd name="T27" fmla="*/ 2 h 396"/>
                  <a:gd name="T28" fmla="*/ 181 w 462"/>
                  <a:gd name="T29" fmla="*/ 2 h 396"/>
                  <a:gd name="T30" fmla="*/ 153 w 462"/>
                  <a:gd name="T31" fmla="*/ 6 h 396"/>
                  <a:gd name="T32" fmla="*/ 147 w 462"/>
                  <a:gd name="T33" fmla="*/ 36 h 396"/>
                  <a:gd name="T34" fmla="*/ 145 w 462"/>
                  <a:gd name="T35" fmla="*/ 67 h 396"/>
                  <a:gd name="T36" fmla="*/ 70 w 462"/>
                  <a:gd name="T37" fmla="*/ 75 h 396"/>
                  <a:gd name="T38" fmla="*/ 2 w 462"/>
                  <a:gd name="T39" fmla="*/ 97 h 396"/>
                  <a:gd name="T40" fmla="*/ 8 w 462"/>
                  <a:gd name="T41" fmla="*/ 228 h 396"/>
                  <a:gd name="T42" fmla="*/ 15 w 462"/>
                  <a:gd name="T43" fmla="*/ 322 h 396"/>
                  <a:gd name="T44" fmla="*/ 16 w 462"/>
                  <a:gd name="T45" fmla="*/ 323 h 396"/>
                  <a:gd name="T46" fmla="*/ 17 w 462"/>
                  <a:gd name="T47" fmla="*/ 324 h 396"/>
                  <a:gd name="T48" fmla="*/ 27 w 462"/>
                  <a:gd name="T49" fmla="*/ 384 h 396"/>
                  <a:gd name="T50" fmla="*/ 90 w 462"/>
                  <a:gd name="T51" fmla="*/ 393 h 396"/>
                  <a:gd name="T52" fmla="*/ 234 w 462"/>
                  <a:gd name="T53" fmla="*/ 378 h 396"/>
                  <a:gd name="T54" fmla="*/ 234 w 462"/>
                  <a:gd name="T55" fmla="*/ 379 h 396"/>
                  <a:gd name="T56" fmla="*/ 252 w 462"/>
                  <a:gd name="T57" fmla="*/ 376 h 396"/>
                  <a:gd name="T58" fmla="*/ 448 w 462"/>
                  <a:gd name="T59" fmla="*/ 351 h 396"/>
                  <a:gd name="T60" fmla="*/ 458 w 462"/>
                  <a:gd name="T61" fmla="*/ 322 h 396"/>
                  <a:gd name="connsiteX0" fmla="*/ 9972 w 9987"/>
                  <a:gd name="connsiteY0" fmla="*/ 8131 h 9956"/>
                  <a:gd name="connsiteX1" fmla="*/ 9583 w 9987"/>
                  <a:gd name="connsiteY1" fmla="*/ 3889 h 9956"/>
                  <a:gd name="connsiteX2" fmla="*/ 9453 w 9987"/>
                  <a:gd name="connsiteY2" fmla="*/ 1717 h 9956"/>
                  <a:gd name="connsiteX3" fmla="*/ 8652 w 9987"/>
                  <a:gd name="connsiteY3" fmla="*/ 1212 h 9956"/>
                  <a:gd name="connsiteX4" fmla="*/ 6163 w 9987"/>
                  <a:gd name="connsiteY4" fmla="*/ 1465 h 9956"/>
                  <a:gd name="connsiteX5" fmla="*/ 5687 w 9987"/>
                  <a:gd name="connsiteY5" fmla="*/ 0 h 9956"/>
                  <a:gd name="connsiteX6" fmla="*/ 5557 w 9987"/>
                  <a:gd name="connsiteY6" fmla="*/ 0 h 9956"/>
                  <a:gd name="connsiteX7" fmla="*/ 5557 w 9987"/>
                  <a:gd name="connsiteY7" fmla="*/ 833 h 9956"/>
                  <a:gd name="connsiteX8" fmla="*/ 5622 w 9987"/>
                  <a:gd name="connsiteY8" fmla="*/ 909 h 9956"/>
                  <a:gd name="connsiteX9" fmla="*/ 5600 w 9987"/>
                  <a:gd name="connsiteY9" fmla="*/ 1616 h 9956"/>
                  <a:gd name="connsiteX10" fmla="*/ 3825 w 9987"/>
                  <a:gd name="connsiteY10" fmla="*/ 1692 h 9956"/>
                  <a:gd name="connsiteX11" fmla="*/ 3933 w 9987"/>
                  <a:gd name="connsiteY11" fmla="*/ 758 h 9956"/>
                  <a:gd name="connsiteX12" fmla="*/ 4020 w 9987"/>
                  <a:gd name="connsiteY12" fmla="*/ 707 h 9956"/>
                  <a:gd name="connsiteX13" fmla="*/ 3998 w 9987"/>
                  <a:gd name="connsiteY13" fmla="*/ 51 h 9956"/>
                  <a:gd name="connsiteX14" fmla="*/ 3977 w 9987"/>
                  <a:gd name="connsiteY14" fmla="*/ 51 h 9956"/>
                  <a:gd name="connsiteX15" fmla="*/ 3371 w 9987"/>
                  <a:gd name="connsiteY15" fmla="*/ 152 h 9956"/>
                  <a:gd name="connsiteX16" fmla="*/ 3241 w 9987"/>
                  <a:gd name="connsiteY16" fmla="*/ 909 h 9956"/>
                  <a:gd name="connsiteX17" fmla="*/ 3198 w 9987"/>
                  <a:gd name="connsiteY17" fmla="*/ 1692 h 9956"/>
                  <a:gd name="connsiteX18" fmla="*/ 1574 w 9987"/>
                  <a:gd name="connsiteY18" fmla="*/ 1894 h 9956"/>
                  <a:gd name="connsiteX19" fmla="*/ 5 w 9987"/>
                  <a:gd name="connsiteY19" fmla="*/ 2449 h 9956"/>
                  <a:gd name="connsiteX20" fmla="*/ 232 w 9987"/>
                  <a:gd name="connsiteY20" fmla="*/ 5758 h 9956"/>
                  <a:gd name="connsiteX21" fmla="*/ 384 w 9987"/>
                  <a:gd name="connsiteY21" fmla="*/ 8131 h 9956"/>
                  <a:gd name="connsiteX22" fmla="*/ 405 w 9987"/>
                  <a:gd name="connsiteY22" fmla="*/ 8157 h 9956"/>
                  <a:gd name="connsiteX23" fmla="*/ 427 w 9987"/>
                  <a:gd name="connsiteY23" fmla="*/ 8182 h 9956"/>
                  <a:gd name="connsiteX24" fmla="*/ 643 w 9987"/>
                  <a:gd name="connsiteY24" fmla="*/ 9697 h 9956"/>
                  <a:gd name="connsiteX25" fmla="*/ 2007 w 9987"/>
                  <a:gd name="connsiteY25" fmla="*/ 9924 h 9956"/>
                  <a:gd name="connsiteX26" fmla="*/ 5124 w 9987"/>
                  <a:gd name="connsiteY26" fmla="*/ 9545 h 9956"/>
                  <a:gd name="connsiteX27" fmla="*/ 5124 w 9987"/>
                  <a:gd name="connsiteY27" fmla="*/ 9571 h 9956"/>
                  <a:gd name="connsiteX28" fmla="*/ 5514 w 9987"/>
                  <a:gd name="connsiteY28" fmla="*/ 9495 h 9956"/>
                  <a:gd name="connsiteX29" fmla="*/ 9756 w 9987"/>
                  <a:gd name="connsiteY29" fmla="*/ 8864 h 9956"/>
                  <a:gd name="connsiteX30" fmla="*/ 9972 w 9987"/>
                  <a:gd name="connsiteY30" fmla="*/ 8131 h 9956"/>
                  <a:gd name="connsiteX0" fmla="*/ 10023 w 10038"/>
                  <a:gd name="connsiteY0" fmla="*/ 8167 h 10000"/>
                  <a:gd name="connsiteX1" fmla="*/ 9633 w 10038"/>
                  <a:gd name="connsiteY1" fmla="*/ 3906 h 10000"/>
                  <a:gd name="connsiteX2" fmla="*/ 9503 w 10038"/>
                  <a:gd name="connsiteY2" fmla="*/ 1725 h 10000"/>
                  <a:gd name="connsiteX3" fmla="*/ 8701 w 10038"/>
                  <a:gd name="connsiteY3" fmla="*/ 1217 h 10000"/>
                  <a:gd name="connsiteX4" fmla="*/ 6209 w 10038"/>
                  <a:gd name="connsiteY4" fmla="*/ 1471 h 10000"/>
                  <a:gd name="connsiteX5" fmla="*/ 5732 w 10038"/>
                  <a:gd name="connsiteY5" fmla="*/ 0 h 10000"/>
                  <a:gd name="connsiteX6" fmla="*/ 5602 w 10038"/>
                  <a:gd name="connsiteY6" fmla="*/ 0 h 10000"/>
                  <a:gd name="connsiteX7" fmla="*/ 5602 w 10038"/>
                  <a:gd name="connsiteY7" fmla="*/ 837 h 10000"/>
                  <a:gd name="connsiteX8" fmla="*/ 5667 w 10038"/>
                  <a:gd name="connsiteY8" fmla="*/ 913 h 10000"/>
                  <a:gd name="connsiteX9" fmla="*/ 5645 w 10038"/>
                  <a:gd name="connsiteY9" fmla="*/ 1623 h 10000"/>
                  <a:gd name="connsiteX10" fmla="*/ 3868 w 10038"/>
                  <a:gd name="connsiteY10" fmla="*/ 1699 h 10000"/>
                  <a:gd name="connsiteX11" fmla="*/ 3976 w 10038"/>
                  <a:gd name="connsiteY11" fmla="*/ 761 h 10000"/>
                  <a:gd name="connsiteX12" fmla="*/ 4063 w 10038"/>
                  <a:gd name="connsiteY12" fmla="*/ 710 h 10000"/>
                  <a:gd name="connsiteX13" fmla="*/ 4041 w 10038"/>
                  <a:gd name="connsiteY13" fmla="*/ 51 h 10000"/>
                  <a:gd name="connsiteX14" fmla="*/ 4020 w 10038"/>
                  <a:gd name="connsiteY14" fmla="*/ 51 h 10000"/>
                  <a:gd name="connsiteX15" fmla="*/ 3413 w 10038"/>
                  <a:gd name="connsiteY15" fmla="*/ 153 h 10000"/>
                  <a:gd name="connsiteX16" fmla="*/ 3283 w 10038"/>
                  <a:gd name="connsiteY16" fmla="*/ 913 h 10000"/>
                  <a:gd name="connsiteX17" fmla="*/ 3240 w 10038"/>
                  <a:gd name="connsiteY17" fmla="*/ 1699 h 10000"/>
                  <a:gd name="connsiteX18" fmla="*/ 1614 w 10038"/>
                  <a:gd name="connsiteY18" fmla="*/ 1902 h 10000"/>
                  <a:gd name="connsiteX19" fmla="*/ 43 w 10038"/>
                  <a:gd name="connsiteY19" fmla="*/ 2460 h 10000"/>
                  <a:gd name="connsiteX20" fmla="*/ 270 w 10038"/>
                  <a:gd name="connsiteY20" fmla="*/ 5783 h 10000"/>
                  <a:gd name="connsiteX21" fmla="*/ 422 w 10038"/>
                  <a:gd name="connsiteY21" fmla="*/ 8167 h 10000"/>
                  <a:gd name="connsiteX22" fmla="*/ 444 w 10038"/>
                  <a:gd name="connsiteY22" fmla="*/ 8193 h 10000"/>
                  <a:gd name="connsiteX23" fmla="*/ 466 w 10038"/>
                  <a:gd name="connsiteY23" fmla="*/ 8218 h 10000"/>
                  <a:gd name="connsiteX24" fmla="*/ 682 w 10038"/>
                  <a:gd name="connsiteY24" fmla="*/ 9740 h 10000"/>
                  <a:gd name="connsiteX25" fmla="*/ 2048 w 10038"/>
                  <a:gd name="connsiteY25" fmla="*/ 9968 h 10000"/>
                  <a:gd name="connsiteX26" fmla="*/ 5169 w 10038"/>
                  <a:gd name="connsiteY26" fmla="*/ 9587 h 10000"/>
                  <a:gd name="connsiteX27" fmla="*/ 5169 w 10038"/>
                  <a:gd name="connsiteY27" fmla="*/ 9613 h 10000"/>
                  <a:gd name="connsiteX28" fmla="*/ 5559 w 10038"/>
                  <a:gd name="connsiteY28" fmla="*/ 9537 h 10000"/>
                  <a:gd name="connsiteX29" fmla="*/ 9807 w 10038"/>
                  <a:gd name="connsiteY29" fmla="*/ 8903 h 10000"/>
                  <a:gd name="connsiteX30" fmla="*/ 10023 w 10038"/>
                  <a:gd name="connsiteY30" fmla="*/ 8167 h 10000"/>
                  <a:gd name="connsiteX0" fmla="*/ 10061 w 10076"/>
                  <a:gd name="connsiteY0" fmla="*/ 8167 h 10000"/>
                  <a:gd name="connsiteX1" fmla="*/ 9671 w 10076"/>
                  <a:gd name="connsiteY1" fmla="*/ 3906 h 10000"/>
                  <a:gd name="connsiteX2" fmla="*/ 9541 w 10076"/>
                  <a:gd name="connsiteY2" fmla="*/ 1725 h 10000"/>
                  <a:gd name="connsiteX3" fmla="*/ 8739 w 10076"/>
                  <a:gd name="connsiteY3" fmla="*/ 1217 h 10000"/>
                  <a:gd name="connsiteX4" fmla="*/ 6247 w 10076"/>
                  <a:gd name="connsiteY4" fmla="*/ 1471 h 10000"/>
                  <a:gd name="connsiteX5" fmla="*/ 5770 w 10076"/>
                  <a:gd name="connsiteY5" fmla="*/ 0 h 10000"/>
                  <a:gd name="connsiteX6" fmla="*/ 5640 w 10076"/>
                  <a:gd name="connsiteY6" fmla="*/ 0 h 10000"/>
                  <a:gd name="connsiteX7" fmla="*/ 5640 w 10076"/>
                  <a:gd name="connsiteY7" fmla="*/ 837 h 10000"/>
                  <a:gd name="connsiteX8" fmla="*/ 5705 w 10076"/>
                  <a:gd name="connsiteY8" fmla="*/ 913 h 10000"/>
                  <a:gd name="connsiteX9" fmla="*/ 5683 w 10076"/>
                  <a:gd name="connsiteY9" fmla="*/ 1623 h 10000"/>
                  <a:gd name="connsiteX10" fmla="*/ 3906 w 10076"/>
                  <a:gd name="connsiteY10" fmla="*/ 1699 h 10000"/>
                  <a:gd name="connsiteX11" fmla="*/ 4014 w 10076"/>
                  <a:gd name="connsiteY11" fmla="*/ 761 h 10000"/>
                  <a:gd name="connsiteX12" fmla="*/ 4101 w 10076"/>
                  <a:gd name="connsiteY12" fmla="*/ 710 h 10000"/>
                  <a:gd name="connsiteX13" fmla="*/ 4079 w 10076"/>
                  <a:gd name="connsiteY13" fmla="*/ 51 h 10000"/>
                  <a:gd name="connsiteX14" fmla="*/ 4058 w 10076"/>
                  <a:gd name="connsiteY14" fmla="*/ 51 h 10000"/>
                  <a:gd name="connsiteX15" fmla="*/ 3451 w 10076"/>
                  <a:gd name="connsiteY15" fmla="*/ 153 h 10000"/>
                  <a:gd name="connsiteX16" fmla="*/ 3321 w 10076"/>
                  <a:gd name="connsiteY16" fmla="*/ 913 h 10000"/>
                  <a:gd name="connsiteX17" fmla="*/ 3278 w 10076"/>
                  <a:gd name="connsiteY17" fmla="*/ 1699 h 10000"/>
                  <a:gd name="connsiteX18" fmla="*/ 1652 w 10076"/>
                  <a:gd name="connsiteY18" fmla="*/ 1902 h 10000"/>
                  <a:gd name="connsiteX19" fmla="*/ 81 w 10076"/>
                  <a:gd name="connsiteY19" fmla="*/ 2460 h 10000"/>
                  <a:gd name="connsiteX20" fmla="*/ 250 w 10076"/>
                  <a:gd name="connsiteY20" fmla="*/ 5783 h 10000"/>
                  <a:gd name="connsiteX21" fmla="*/ 460 w 10076"/>
                  <a:gd name="connsiteY21" fmla="*/ 8167 h 10000"/>
                  <a:gd name="connsiteX22" fmla="*/ 482 w 10076"/>
                  <a:gd name="connsiteY22" fmla="*/ 8193 h 10000"/>
                  <a:gd name="connsiteX23" fmla="*/ 504 w 10076"/>
                  <a:gd name="connsiteY23" fmla="*/ 8218 h 10000"/>
                  <a:gd name="connsiteX24" fmla="*/ 720 w 10076"/>
                  <a:gd name="connsiteY24" fmla="*/ 9740 h 10000"/>
                  <a:gd name="connsiteX25" fmla="*/ 2086 w 10076"/>
                  <a:gd name="connsiteY25" fmla="*/ 9968 h 10000"/>
                  <a:gd name="connsiteX26" fmla="*/ 5207 w 10076"/>
                  <a:gd name="connsiteY26" fmla="*/ 9587 h 10000"/>
                  <a:gd name="connsiteX27" fmla="*/ 5207 w 10076"/>
                  <a:gd name="connsiteY27" fmla="*/ 9613 h 10000"/>
                  <a:gd name="connsiteX28" fmla="*/ 5597 w 10076"/>
                  <a:gd name="connsiteY28" fmla="*/ 9537 h 10000"/>
                  <a:gd name="connsiteX29" fmla="*/ 9845 w 10076"/>
                  <a:gd name="connsiteY29" fmla="*/ 8903 h 10000"/>
                  <a:gd name="connsiteX30" fmla="*/ 10061 w 10076"/>
                  <a:gd name="connsiteY30" fmla="*/ 8167 h 10000"/>
                  <a:gd name="connsiteX0" fmla="*/ 10061 w 10076"/>
                  <a:gd name="connsiteY0" fmla="*/ 8167 h 10012"/>
                  <a:gd name="connsiteX1" fmla="*/ 9671 w 10076"/>
                  <a:gd name="connsiteY1" fmla="*/ 3906 h 10012"/>
                  <a:gd name="connsiteX2" fmla="*/ 9541 w 10076"/>
                  <a:gd name="connsiteY2" fmla="*/ 1725 h 10012"/>
                  <a:gd name="connsiteX3" fmla="*/ 8739 w 10076"/>
                  <a:gd name="connsiteY3" fmla="*/ 1217 h 10012"/>
                  <a:gd name="connsiteX4" fmla="*/ 6247 w 10076"/>
                  <a:gd name="connsiteY4" fmla="*/ 1471 h 10012"/>
                  <a:gd name="connsiteX5" fmla="*/ 5770 w 10076"/>
                  <a:gd name="connsiteY5" fmla="*/ 0 h 10012"/>
                  <a:gd name="connsiteX6" fmla="*/ 5640 w 10076"/>
                  <a:gd name="connsiteY6" fmla="*/ 0 h 10012"/>
                  <a:gd name="connsiteX7" fmla="*/ 5640 w 10076"/>
                  <a:gd name="connsiteY7" fmla="*/ 837 h 10012"/>
                  <a:gd name="connsiteX8" fmla="*/ 5705 w 10076"/>
                  <a:gd name="connsiteY8" fmla="*/ 913 h 10012"/>
                  <a:gd name="connsiteX9" fmla="*/ 5683 w 10076"/>
                  <a:gd name="connsiteY9" fmla="*/ 1623 h 10012"/>
                  <a:gd name="connsiteX10" fmla="*/ 3906 w 10076"/>
                  <a:gd name="connsiteY10" fmla="*/ 1699 h 10012"/>
                  <a:gd name="connsiteX11" fmla="*/ 4014 w 10076"/>
                  <a:gd name="connsiteY11" fmla="*/ 761 h 10012"/>
                  <a:gd name="connsiteX12" fmla="*/ 4101 w 10076"/>
                  <a:gd name="connsiteY12" fmla="*/ 710 h 10012"/>
                  <a:gd name="connsiteX13" fmla="*/ 4079 w 10076"/>
                  <a:gd name="connsiteY13" fmla="*/ 51 h 10012"/>
                  <a:gd name="connsiteX14" fmla="*/ 4058 w 10076"/>
                  <a:gd name="connsiteY14" fmla="*/ 51 h 10012"/>
                  <a:gd name="connsiteX15" fmla="*/ 3451 w 10076"/>
                  <a:gd name="connsiteY15" fmla="*/ 153 h 10012"/>
                  <a:gd name="connsiteX16" fmla="*/ 3321 w 10076"/>
                  <a:gd name="connsiteY16" fmla="*/ 913 h 10012"/>
                  <a:gd name="connsiteX17" fmla="*/ 3278 w 10076"/>
                  <a:gd name="connsiteY17" fmla="*/ 1699 h 10012"/>
                  <a:gd name="connsiteX18" fmla="*/ 1652 w 10076"/>
                  <a:gd name="connsiteY18" fmla="*/ 1902 h 10012"/>
                  <a:gd name="connsiteX19" fmla="*/ 81 w 10076"/>
                  <a:gd name="connsiteY19" fmla="*/ 2460 h 10012"/>
                  <a:gd name="connsiteX20" fmla="*/ 250 w 10076"/>
                  <a:gd name="connsiteY20" fmla="*/ 5783 h 10012"/>
                  <a:gd name="connsiteX21" fmla="*/ 460 w 10076"/>
                  <a:gd name="connsiteY21" fmla="*/ 8167 h 10012"/>
                  <a:gd name="connsiteX22" fmla="*/ 482 w 10076"/>
                  <a:gd name="connsiteY22" fmla="*/ 8193 h 10012"/>
                  <a:gd name="connsiteX23" fmla="*/ 426 w 10076"/>
                  <a:gd name="connsiteY23" fmla="*/ 8082 h 10012"/>
                  <a:gd name="connsiteX24" fmla="*/ 720 w 10076"/>
                  <a:gd name="connsiteY24" fmla="*/ 9740 h 10012"/>
                  <a:gd name="connsiteX25" fmla="*/ 2086 w 10076"/>
                  <a:gd name="connsiteY25" fmla="*/ 9968 h 10012"/>
                  <a:gd name="connsiteX26" fmla="*/ 5207 w 10076"/>
                  <a:gd name="connsiteY26" fmla="*/ 9587 h 10012"/>
                  <a:gd name="connsiteX27" fmla="*/ 5207 w 10076"/>
                  <a:gd name="connsiteY27" fmla="*/ 9613 h 10012"/>
                  <a:gd name="connsiteX28" fmla="*/ 5597 w 10076"/>
                  <a:gd name="connsiteY28" fmla="*/ 9537 h 10012"/>
                  <a:gd name="connsiteX29" fmla="*/ 9845 w 10076"/>
                  <a:gd name="connsiteY29" fmla="*/ 8903 h 10012"/>
                  <a:gd name="connsiteX30" fmla="*/ 10061 w 10076"/>
                  <a:gd name="connsiteY30" fmla="*/ 8167 h 10012"/>
                  <a:gd name="connsiteX0" fmla="*/ 10061 w 10076"/>
                  <a:gd name="connsiteY0" fmla="*/ 8167 h 10074"/>
                  <a:gd name="connsiteX1" fmla="*/ 9671 w 10076"/>
                  <a:gd name="connsiteY1" fmla="*/ 3906 h 10074"/>
                  <a:gd name="connsiteX2" fmla="*/ 9541 w 10076"/>
                  <a:gd name="connsiteY2" fmla="*/ 1725 h 10074"/>
                  <a:gd name="connsiteX3" fmla="*/ 8739 w 10076"/>
                  <a:gd name="connsiteY3" fmla="*/ 1217 h 10074"/>
                  <a:gd name="connsiteX4" fmla="*/ 6247 w 10076"/>
                  <a:gd name="connsiteY4" fmla="*/ 1471 h 10074"/>
                  <a:gd name="connsiteX5" fmla="*/ 5770 w 10076"/>
                  <a:gd name="connsiteY5" fmla="*/ 0 h 10074"/>
                  <a:gd name="connsiteX6" fmla="*/ 5640 w 10076"/>
                  <a:gd name="connsiteY6" fmla="*/ 0 h 10074"/>
                  <a:gd name="connsiteX7" fmla="*/ 5640 w 10076"/>
                  <a:gd name="connsiteY7" fmla="*/ 837 h 10074"/>
                  <a:gd name="connsiteX8" fmla="*/ 5705 w 10076"/>
                  <a:gd name="connsiteY8" fmla="*/ 913 h 10074"/>
                  <a:gd name="connsiteX9" fmla="*/ 5683 w 10076"/>
                  <a:gd name="connsiteY9" fmla="*/ 1623 h 10074"/>
                  <a:gd name="connsiteX10" fmla="*/ 3906 w 10076"/>
                  <a:gd name="connsiteY10" fmla="*/ 1699 h 10074"/>
                  <a:gd name="connsiteX11" fmla="*/ 4014 w 10076"/>
                  <a:gd name="connsiteY11" fmla="*/ 761 h 10074"/>
                  <a:gd name="connsiteX12" fmla="*/ 4101 w 10076"/>
                  <a:gd name="connsiteY12" fmla="*/ 710 h 10074"/>
                  <a:gd name="connsiteX13" fmla="*/ 4079 w 10076"/>
                  <a:gd name="connsiteY13" fmla="*/ 51 h 10074"/>
                  <a:gd name="connsiteX14" fmla="*/ 4058 w 10076"/>
                  <a:gd name="connsiteY14" fmla="*/ 51 h 10074"/>
                  <a:gd name="connsiteX15" fmla="*/ 3451 w 10076"/>
                  <a:gd name="connsiteY15" fmla="*/ 153 h 10074"/>
                  <a:gd name="connsiteX16" fmla="*/ 3321 w 10076"/>
                  <a:gd name="connsiteY16" fmla="*/ 913 h 10074"/>
                  <a:gd name="connsiteX17" fmla="*/ 3278 w 10076"/>
                  <a:gd name="connsiteY17" fmla="*/ 1699 h 10074"/>
                  <a:gd name="connsiteX18" fmla="*/ 1652 w 10076"/>
                  <a:gd name="connsiteY18" fmla="*/ 1902 h 10074"/>
                  <a:gd name="connsiteX19" fmla="*/ 81 w 10076"/>
                  <a:gd name="connsiteY19" fmla="*/ 2460 h 10074"/>
                  <a:gd name="connsiteX20" fmla="*/ 250 w 10076"/>
                  <a:gd name="connsiteY20" fmla="*/ 5783 h 10074"/>
                  <a:gd name="connsiteX21" fmla="*/ 460 w 10076"/>
                  <a:gd name="connsiteY21" fmla="*/ 8167 h 10074"/>
                  <a:gd name="connsiteX22" fmla="*/ 482 w 10076"/>
                  <a:gd name="connsiteY22" fmla="*/ 8193 h 10074"/>
                  <a:gd name="connsiteX23" fmla="*/ 426 w 10076"/>
                  <a:gd name="connsiteY23" fmla="*/ 8082 h 10074"/>
                  <a:gd name="connsiteX24" fmla="*/ 759 w 10076"/>
                  <a:gd name="connsiteY24" fmla="*/ 9899 h 10074"/>
                  <a:gd name="connsiteX25" fmla="*/ 2086 w 10076"/>
                  <a:gd name="connsiteY25" fmla="*/ 9968 h 10074"/>
                  <a:gd name="connsiteX26" fmla="*/ 5207 w 10076"/>
                  <a:gd name="connsiteY26" fmla="*/ 9587 h 10074"/>
                  <a:gd name="connsiteX27" fmla="*/ 5207 w 10076"/>
                  <a:gd name="connsiteY27" fmla="*/ 9613 h 10074"/>
                  <a:gd name="connsiteX28" fmla="*/ 5597 w 10076"/>
                  <a:gd name="connsiteY28" fmla="*/ 9537 h 10074"/>
                  <a:gd name="connsiteX29" fmla="*/ 9845 w 10076"/>
                  <a:gd name="connsiteY29" fmla="*/ 8903 h 10074"/>
                  <a:gd name="connsiteX30" fmla="*/ 10061 w 10076"/>
                  <a:gd name="connsiteY30" fmla="*/ 8167 h 10074"/>
                  <a:gd name="connsiteX0" fmla="*/ 10061 w 10076"/>
                  <a:gd name="connsiteY0" fmla="*/ 8397 h 10304"/>
                  <a:gd name="connsiteX1" fmla="*/ 9671 w 10076"/>
                  <a:gd name="connsiteY1" fmla="*/ 4136 h 10304"/>
                  <a:gd name="connsiteX2" fmla="*/ 9541 w 10076"/>
                  <a:gd name="connsiteY2" fmla="*/ 1955 h 10304"/>
                  <a:gd name="connsiteX3" fmla="*/ 8739 w 10076"/>
                  <a:gd name="connsiteY3" fmla="*/ 1447 h 10304"/>
                  <a:gd name="connsiteX4" fmla="*/ 6247 w 10076"/>
                  <a:gd name="connsiteY4" fmla="*/ 1701 h 10304"/>
                  <a:gd name="connsiteX5" fmla="*/ 5770 w 10076"/>
                  <a:gd name="connsiteY5" fmla="*/ 230 h 10304"/>
                  <a:gd name="connsiteX6" fmla="*/ 5640 w 10076"/>
                  <a:gd name="connsiteY6" fmla="*/ 230 h 10304"/>
                  <a:gd name="connsiteX7" fmla="*/ 5640 w 10076"/>
                  <a:gd name="connsiteY7" fmla="*/ 1067 h 10304"/>
                  <a:gd name="connsiteX8" fmla="*/ 5705 w 10076"/>
                  <a:gd name="connsiteY8" fmla="*/ 1143 h 10304"/>
                  <a:gd name="connsiteX9" fmla="*/ 5683 w 10076"/>
                  <a:gd name="connsiteY9" fmla="*/ 1853 h 10304"/>
                  <a:gd name="connsiteX10" fmla="*/ 3906 w 10076"/>
                  <a:gd name="connsiteY10" fmla="*/ 1929 h 10304"/>
                  <a:gd name="connsiteX11" fmla="*/ 4014 w 10076"/>
                  <a:gd name="connsiteY11" fmla="*/ 991 h 10304"/>
                  <a:gd name="connsiteX12" fmla="*/ 4101 w 10076"/>
                  <a:gd name="connsiteY12" fmla="*/ 940 h 10304"/>
                  <a:gd name="connsiteX13" fmla="*/ 4079 w 10076"/>
                  <a:gd name="connsiteY13" fmla="*/ 281 h 10304"/>
                  <a:gd name="connsiteX14" fmla="*/ 4058 w 10076"/>
                  <a:gd name="connsiteY14" fmla="*/ 0 h 10304"/>
                  <a:gd name="connsiteX15" fmla="*/ 3451 w 10076"/>
                  <a:gd name="connsiteY15" fmla="*/ 383 h 10304"/>
                  <a:gd name="connsiteX16" fmla="*/ 3321 w 10076"/>
                  <a:gd name="connsiteY16" fmla="*/ 1143 h 10304"/>
                  <a:gd name="connsiteX17" fmla="*/ 3278 w 10076"/>
                  <a:gd name="connsiteY17" fmla="*/ 1929 h 10304"/>
                  <a:gd name="connsiteX18" fmla="*/ 1652 w 10076"/>
                  <a:gd name="connsiteY18" fmla="*/ 2132 h 10304"/>
                  <a:gd name="connsiteX19" fmla="*/ 81 w 10076"/>
                  <a:gd name="connsiteY19" fmla="*/ 2690 h 10304"/>
                  <a:gd name="connsiteX20" fmla="*/ 250 w 10076"/>
                  <a:gd name="connsiteY20" fmla="*/ 6013 h 10304"/>
                  <a:gd name="connsiteX21" fmla="*/ 460 w 10076"/>
                  <a:gd name="connsiteY21" fmla="*/ 8397 h 10304"/>
                  <a:gd name="connsiteX22" fmla="*/ 482 w 10076"/>
                  <a:gd name="connsiteY22" fmla="*/ 8423 h 10304"/>
                  <a:gd name="connsiteX23" fmla="*/ 426 w 10076"/>
                  <a:gd name="connsiteY23" fmla="*/ 8312 h 10304"/>
                  <a:gd name="connsiteX24" fmla="*/ 759 w 10076"/>
                  <a:gd name="connsiteY24" fmla="*/ 10129 h 10304"/>
                  <a:gd name="connsiteX25" fmla="*/ 2086 w 10076"/>
                  <a:gd name="connsiteY25" fmla="*/ 10198 h 10304"/>
                  <a:gd name="connsiteX26" fmla="*/ 5207 w 10076"/>
                  <a:gd name="connsiteY26" fmla="*/ 9817 h 10304"/>
                  <a:gd name="connsiteX27" fmla="*/ 5207 w 10076"/>
                  <a:gd name="connsiteY27" fmla="*/ 9843 h 10304"/>
                  <a:gd name="connsiteX28" fmla="*/ 5597 w 10076"/>
                  <a:gd name="connsiteY28" fmla="*/ 9767 h 10304"/>
                  <a:gd name="connsiteX29" fmla="*/ 9845 w 10076"/>
                  <a:gd name="connsiteY29" fmla="*/ 9133 h 10304"/>
                  <a:gd name="connsiteX30" fmla="*/ 10061 w 10076"/>
                  <a:gd name="connsiteY30" fmla="*/ 8397 h 10304"/>
                  <a:gd name="connsiteX0" fmla="*/ 10061 w 10076"/>
                  <a:gd name="connsiteY0" fmla="*/ 8397 h 10304"/>
                  <a:gd name="connsiteX1" fmla="*/ 9671 w 10076"/>
                  <a:gd name="connsiteY1" fmla="*/ 4136 h 10304"/>
                  <a:gd name="connsiteX2" fmla="*/ 9541 w 10076"/>
                  <a:gd name="connsiteY2" fmla="*/ 1955 h 10304"/>
                  <a:gd name="connsiteX3" fmla="*/ 8739 w 10076"/>
                  <a:gd name="connsiteY3" fmla="*/ 1447 h 10304"/>
                  <a:gd name="connsiteX4" fmla="*/ 6247 w 10076"/>
                  <a:gd name="connsiteY4" fmla="*/ 1701 h 10304"/>
                  <a:gd name="connsiteX5" fmla="*/ 5770 w 10076"/>
                  <a:gd name="connsiteY5" fmla="*/ 230 h 10304"/>
                  <a:gd name="connsiteX6" fmla="*/ 5640 w 10076"/>
                  <a:gd name="connsiteY6" fmla="*/ 230 h 10304"/>
                  <a:gd name="connsiteX7" fmla="*/ 5640 w 10076"/>
                  <a:gd name="connsiteY7" fmla="*/ 1067 h 10304"/>
                  <a:gd name="connsiteX8" fmla="*/ 5705 w 10076"/>
                  <a:gd name="connsiteY8" fmla="*/ 1143 h 10304"/>
                  <a:gd name="connsiteX9" fmla="*/ 5683 w 10076"/>
                  <a:gd name="connsiteY9" fmla="*/ 1853 h 10304"/>
                  <a:gd name="connsiteX10" fmla="*/ 3906 w 10076"/>
                  <a:gd name="connsiteY10" fmla="*/ 1929 h 10304"/>
                  <a:gd name="connsiteX11" fmla="*/ 4014 w 10076"/>
                  <a:gd name="connsiteY11" fmla="*/ 991 h 10304"/>
                  <a:gd name="connsiteX12" fmla="*/ 4101 w 10076"/>
                  <a:gd name="connsiteY12" fmla="*/ 940 h 10304"/>
                  <a:gd name="connsiteX13" fmla="*/ 4079 w 10076"/>
                  <a:gd name="connsiteY13" fmla="*/ 281 h 10304"/>
                  <a:gd name="connsiteX14" fmla="*/ 4058 w 10076"/>
                  <a:gd name="connsiteY14" fmla="*/ 0 h 10304"/>
                  <a:gd name="connsiteX15" fmla="*/ 3451 w 10076"/>
                  <a:gd name="connsiteY15" fmla="*/ 383 h 10304"/>
                  <a:gd name="connsiteX16" fmla="*/ 3321 w 10076"/>
                  <a:gd name="connsiteY16" fmla="*/ 1143 h 10304"/>
                  <a:gd name="connsiteX17" fmla="*/ 3278 w 10076"/>
                  <a:gd name="connsiteY17" fmla="*/ 1929 h 10304"/>
                  <a:gd name="connsiteX18" fmla="*/ 1652 w 10076"/>
                  <a:gd name="connsiteY18" fmla="*/ 1963 h 10304"/>
                  <a:gd name="connsiteX19" fmla="*/ 81 w 10076"/>
                  <a:gd name="connsiteY19" fmla="*/ 2690 h 10304"/>
                  <a:gd name="connsiteX20" fmla="*/ 250 w 10076"/>
                  <a:gd name="connsiteY20" fmla="*/ 6013 h 10304"/>
                  <a:gd name="connsiteX21" fmla="*/ 460 w 10076"/>
                  <a:gd name="connsiteY21" fmla="*/ 8397 h 10304"/>
                  <a:gd name="connsiteX22" fmla="*/ 482 w 10076"/>
                  <a:gd name="connsiteY22" fmla="*/ 8423 h 10304"/>
                  <a:gd name="connsiteX23" fmla="*/ 426 w 10076"/>
                  <a:gd name="connsiteY23" fmla="*/ 8312 h 10304"/>
                  <a:gd name="connsiteX24" fmla="*/ 759 w 10076"/>
                  <a:gd name="connsiteY24" fmla="*/ 10129 h 10304"/>
                  <a:gd name="connsiteX25" fmla="*/ 2086 w 10076"/>
                  <a:gd name="connsiteY25" fmla="*/ 10198 h 10304"/>
                  <a:gd name="connsiteX26" fmla="*/ 5207 w 10076"/>
                  <a:gd name="connsiteY26" fmla="*/ 9817 h 10304"/>
                  <a:gd name="connsiteX27" fmla="*/ 5207 w 10076"/>
                  <a:gd name="connsiteY27" fmla="*/ 9843 h 10304"/>
                  <a:gd name="connsiteX28" fmla="*/ 5597 w 10076"/>
                  <a:gd name="connsiteY28" fmla="*/ 9767 h 10304"/>
                  <a:gd name="connsiteX29" fmla="*/ 9845 w 10076"/>
                  <a:gd name="connsiteY29" fmla="*/ 9133 h 10304"/>
                  <a:gd name="connsiteX30" fmla="*/ 10061 w 10076"/>
                  <a:gd name="connsiteY30" fmla="*/ 8397 h 10304"/>
                  <a:gd name="connsiteX0" fmla="*/ 10061 w 10076"/>
                  <a:gd name="connsiteY0" fmla="*/ 8397 h 10332"/>
                  <a:gd name="connsiteX1" fmla="*/ 9671 w 10076"/>
                  <a:gd name="connsiteY1" fmla="*/ 4136 h 10332"/>
                  <a:gd name="connsiteX2" fmla="*/ 9541 w 10076"/>
                  <a:gd name="connsiteY2" fmla="*/ 1955 h 10332"/>
                  <a:gd name="connsiteX3" fmla="*/ 8739 w 10076"/>
                  <a:gd name="connsiteY3" fmla="*/ 1447 h 10332"/>
                  <a:gd name="connsiteX4" fmla="*/ 6247 w 10076"/>
                  <a:gd name="connsiteY4" fmla="*/ 1701 h 10332"/>
                  <a:gd name="connsiteX5" fmla="*/ 5770 w 10076"/>
                  <a:gd name="connsiteY5" fmla="*/ 230 h 10332"/>
                  <a:gd name="connsiteX6" fmla="*/ 5640 w 10076"/>
                  <a:gd name="connsiteY6" fmla="*/ 230 h 10332"/>
                  <a:gd name="connsiteX7" fmla="*/ 5640 w 10076"/>
                  <a:gd name="connsiteY7" fmla="*/ 1067 h 10332"/>
                  <a:gd name="connsiteX8" fmla="*/ 5705 w 10076"/>
                  <a:gd name="connsiteY8" fmla="*/ 1143 h 10332"/>
                  <a:gd name="connsiteX9" fmla="*/ 5683 w 10076"/>
                  <a:gd name="connsiteY9" fmla="*/ 1853 h 10332"/>
                  <a:gd name="connsiteX10" fmla="*/ 3906 w 10076"/>
                  <a:gd name="connsiteY10" fmla="*/ 1929 h 10332"/>
                  <a:gd name="connsiteX11" fmla="*/ 4014 w 10076"/>
                  <a:gd name="connsiteY11" fmla="*/ 991 h 10332"/>
                  <a:gd name="connsiteX12" fmla="*/ 4101 w 10076"/>
                  <a:gd name="connsiteY12" fmla="*/ 940 h 10332"/>
                  <a:gd name="connsiteX13" fmla="*/ 4079 w 10076"/>
                  <a:gd name="connsiteY13" fmla="*/ 281 h 10332"/>
                  <a:gd name="connsiteX14" fmla="*/ 4058 w 10076"/>
                  <a:gd name="connsiteY14" fmla="*/ 0 h 10332"/>
                  <a:gd name="connsiteX15" fmla="*/ 3451 w 10076"/>
                  <a:gd name="connsiteY15" fmla="*/ 383 h 10332"/>
                  <a:gd name="connsiteX16" fmla="*/ 3321 w 10076"/>
                  <a:gd name="connsiteY16" fmla="*/ 1143 h 10332"/>
                  <a:gd name="connsiteX17" fmla="*/ 3278 w 10076"/>
                  <a:gd name="connsiteY17" fmla="*/ 1929 h 10332"/>
                  <a:gd name="connsiteX18" fmla="*/ 1652 w 10076"/>
                  <a:gd name="connsiteY18" fmla="*/ 1963 h 10332"/>
                  <a:gd name="connsiteX19" fmla="*/ 81 w 10076"/>
                  <a:gd name="connsiteY19" fmla="*/ 2690 h 10332"/>
                  <a:gd name="connsiteX20" fmla="*/ 250 w 10076"/>
                  <a:gd name="connsiteY20" fmla="*/ 6013 h 10332"/>
                  <a:gd name="connsiteX21" fmla="*/ 460 w 10076"/>
                  <a:gd name="connsiteY21" fmla="*/ 8397 h 10332"/>
                  <a:gd name="connsiteX22" fmla="*/ 482 w 10076"/>
                  <a:gd name="connsiteY22" fmla="*/ 8423 h 10332"/>
                  <a:gd name="connsiteX23" fmla="*/ 426 w 10076"/>
                  <a:gd name="connsiteY23" fmla="*/ 8312 h 10332"/>
                  <a:gd name="connsiteX24" fmla="*/ 759 w 10076"/>
                  <a:gd name="connsiteY24" fmla="*/ 10129 h 10332"/>
                  <a:gd name="connsiteX25" fmla="*/ 2086 w 10076"/>
                  <a:gd name="connsiteY25" fmla="*/ 10254 h 10332"/>
                  <a:gd name="connsiteX26" fmla="*/ 5207 w 10076"/>
                  <a:gd name="connsiteY26" fmla="*/ 9817 h 10332"/>
                  <a:gd name="connsiteX27" fmla="*/ 5207 w 10076"/>
                  <a:gd name="connsiteY27" fmla="*/ 9843 h 10332"/>
                  <a:gd name="connsiteX28" fmla="*/ 5597 w 10076"/>
                  <a:gd name="connsiteY28" fmla="*/ 9767 h 10332"/>
                  <a:gd name="connsiteX29" fmla="*/ 9845 w 10076"/>
                  <a:gd name="connsiteY29" fmla="*/ 9133 h 10332"/>
                  <a:gd name="connsiteX30" fmla="*/ 10061 w 10076"/>
                  <a:gd name="connsiteY30" fmla="*/ 8397 h 10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076" h="10332">
                    <a:moveTo>
                      <a:pt x="10061" y="8397"/>
                    </a:moveTo>
                    <a:cubicBezTo>
                      <a:pt x="9996" y="7687"/>
                      <a:pt x="9693" y="4491"/>
                      <a:pt x="9671" y="4136"/>
                    </a:cubicBezTo>
                    <a:cubicBezTo>
                      <a:pt x="9671" y="4136"/>
                      <a:pt x="9628" y="2107"/>
                      <a:pt x="9541" y="1955"/>
                    </a:cubicBezTo>
                    <a:cubicBezTo>
                      <a:pt x="9454" y="1803"/>
                      <a:pt x="9195" y="1397"/>
                      <a:pt x="8739" y="1447"/>
                    </a:cubicBezTo>
                    <a:cubicBezTo>
                      <a:pt x="8285" y="1472"/>
                      <a:pt x="6247" y="1701"/>
                      <a:pt x="6247" y="1701"/>
                    </a:cubicBezTo>
                    <a:cubicBezTo>
                      <a:pt x="6247" y="1701"/>
                      <a:pt x="6247" y="281"/>
                      <a:pt x="5770" y="230"/>
                    </a:cubicBezTo>
                    <a:lnTo>
                      <a:pt x="5640" y="230"/>
                    </a:lnTo>
                    <a:cubicBezTo>
                      <a:pt x="5661" y="484"/>
                      <a:pt x="5683" y="788"/>
                      <a:pt x="5640" y="1067"/>
                    </a:cubicBezTo>
                    <a:cubicBezTo>
                      <a:pt x="5683" y="1118"/>
                      <a:pt x="5705" y="1143"/>
                      <a:pt x="5705" y="1143"/>
                    </a:cubicBezTo>
                    <a:cubicBezTo>
                      <a:pt x="5705" y="1244"/>
                      <a:pt x="5683" y="1853"/>
                      <a:pt x="5683" y="1853"/>
                    </a:cubicBezTo>
                    <a:lnTo>
                      <a:pt x="3906" y="1929"/>
                    </a:lnTo>
                    <a:cubicBezTo>
                      <a:pt x="3820" y="1270"/>
                      <a:pt x="4014" y="991"/>
                      <a:pt x="4014" y="991"/>
                    </a:cubicBezTo>
                    <a:cubicBezTo>
                      <a:pt x="4036" y="991"/>
                      <a:pt x="4079" y="965"/>
                      <a:pt x="4101" y="940"/>
                    </a:cubicBezTo>
                    <a:cubicBezTo>
                      <a:pt x="4079" y="788"/>
                      <a:pt x="4079" y="534"/>
                      <a:pt x="4079" y="281"/>
                    </a:cubicBezTo>
                    <a:cubicBezTo>
                      <a:pt x="4072" y="281"/>
                      <a:pt x="4065" y="0"/>
                      <a:pt x="4058" y="0"/>
                    </a:cubicBezTo>
                    <a:cubicBezTo>
                      <a:pt x="3755" y="25"/>
                      <a:pt x="3574" y="193"/>
                      <a:pt x="3451" y="383"/>
                    </a:cubicBezTo>
                    <a:cubicBezTo>
                      <a:pt x="3328" y="573"/>
                      <a:pt x="3321" y="331"/>
                      <a:pt x="3321" y="1143"/>
                    </a:cubicBezTo>
                    <a:cubicBezTo>
                      <a:pt x="3321" y="1143"/>
                      <a:pt x="3321" y="1878"/>
                      <a:pt x="3278" y="1929"/>
                    </a:cubicBezTo>
                    <a:cubicBezTo>
                      <a:pt x="3234" y="1980"/>
                      <a:pt x="2185" y="1837"/>
                      <a:pt x="1652" y="1963"/>
                    </a:cubicBezTo>
                    <a:cubicBezTo>
                      <a:pt x="1119" y="2090"/>
                      <a:pt x="315" y="2015"/>
                      <a:pt x="81" y="2690"/>
                    </a:cubicBezTo>
                    <a:cubicBezTo>
                      <a:pt x="-153" y="3365"/>
                      <a:pt x="187" y="5062"/>
                      <a:pt x="250" y="6013"/>
                    </a:cubicBezTo>
                    <a:cubicBezTo>
                      <a:pt x="313" y="6965"/>
                      <a:pt x="421" y="7995"/>
                      <a:pt x="460" y="8397"/>
                    </a:cubicBezTo>
                    <a:cubicBezTo>
                      <a:pt x="499" y="8799"/>
                      <a:pt x="488" y="8437"/>
                      <a:pt x="482" y="8423"/>
                    </a:cubicBezTo>
                    <a:cubicBezTo>
                      <a:pt x="476" y="8409"/>
                      <a:pt x="426" y="8287"/>
                      <a:pt x="426" y="8312"/>
                    </a:cubicBezTo>
                    <a:cubicBezTo>
                      <a:pt x="491" y="8490"/>
                      <a:pt x="482" y="9805"/>
                      <a:pt x="759" y="10129"/>
                    </a:cubicBezTo>
                    <a:cubicBezTo>
                      <a:pt x="1036" y="10453"/>
                      <a:pt x="1345" y="10306"/>
                      <a:pt x="2086" y="10254"/>
                    </a:cubicBezTo>
                    <a:cubicBezTo>
                      <a:pt x="2827" y="10202"/>
                      <a:pt x="5207" y="9817"/>
                      <a:pt x="5207" y="9817"/>
                    </a:cubicBezTo>
                    <a:lnTo>
                      <a:pt x="5207" y="9843"/>
                    </a:lnTo>
                    <a:cubicBezTo>
                      <a:pt x="5315" y="9792"/>
                      <a:pt x="5445" y="9767"/>
                      <a:pt x="5597" y="9767"/>
                    </a:cubicBezTo>
                    <a:cubicBezTo>
                      <a:pt x="5857" y="9767"/>
                      <a:pt x="9845" y="9133"/>
                      <a:pt x="9845" y="9133"/>
                    </a:cubicBezTo>
                    <a:cubicBezTo>
                      <a:pt x="9845" y="9133"/>
                      <a:pt x="10148" y="9133"/>
                      <a:pt x="10061" y="8397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F06DCF3-E989-4548-9CF2-DDCA8E4AC0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46207" y="3663891"/>
                <a:ext cx="266734" cy="121080"/>
              </a:xfrm>
              <a:custGeom>
                <a:avLst/>
                <a:gdLst>
                  <a:gd name="T0" fmla="*/ 72 w 87"/>
                  <a:gd name="T1" fmla="*/ 10 h 39"/>
                  <a:gd name="T2" fmla="*/ 54 w 87"/>
                  <a:gd name="T3" fmla="*/ 14 h 39"/>
                  <a:gd name="T4" fmla="*/ 38 w 87"/>
                  <a:gd name="T5" fmla="*/ 13 h 39"/>
                  <a:gd name="T6" fmla="*/ 14 w 87"/>
                  <a:gd name="T7" fmla="*/ 10 h 39"/>
                  <a:gd name="T8" fmla="*/ 13 w 87"/>
                  <a:gd name="T9" fmla="*/ 0 h 39"/>
                  <a:gd name="T10" fmla="*/ 9 w 87"/>
                  <a:gd name="T11" fmla="*/ 2 h 39"/>
                  <a:gd name="T12" fmla="*/ 4 w 87"/>
                  <a:gd name="T13" fmla="*/ 39 h 39"/>
                  <a:gd name="T14" fmla="*/ 86 w 87"/>
                  <a:gd name="T15" fmla="*/ 36 h 39"/>
                  <a:gd name="T16" fmla="*/ 87 w 87"/>
                  <a:gd name="T17" fmla="*/ 8 h 39"/>
                  <a:gd name="T18" fmla="*/ 84 w 87"/>
                  <a:gd name="T19" fmla="*/ 5 h 39"/>
                  <a:gd name="T20" fmla="*/ 82 w 87"/>
                  <a:gd name="T21" fmla="*/ 12 h 39"/>
                  <a:gd name="T22" fmla="*/ 72 w 87"/>
                  <a:gd name="T23" fmla="*/ 10 h 39"/>
                  <a:gd name="connsiteX0" fmla="*/ 7934 w 9658"/>
                  <a:gd name="connsiteY0" fmla="*/ 2564 h 10000"/>
                  <a:gd name="connsiteX1" fmla="*/ 5865 w 9658"/>
                  <a:gd name="connsiteY1" fmla="*/ 3590 h 10000"/>
                  <a:gd name="connsiteX2" fmla="*/ 4026 w 9658"/>
                  <a:gd name="connsiteY2" fmla="*/ 766 h 10000"/>
                  <a:gd name="connsiteX3" fmla="*/ 1267 w 9658"/>
                  <a:gd name="connsiteY3" fmla="*/ 2564 h 10000"/>
                  <a:gd name="connsiteX4" fmla="*/ 1152 w 9658"/>
                  <a:gd name="connsiteY4" fmla="*/ 0 h 10000"/>
                  <a:gd name="connsiteX5" fmla="*/ 692 w 9658"/>
                  <a:gd name="connsiteY5" fmla="*/ 513 h 10000"/>
                  <a:gd name="connsiteX6" fmla="*/ 118 w 9658"/>
                  <a:gd name="connsiteY6" fmla="*/ 10000 h 10000"/>
                  <a:gd name="connsiteX7" fmla="*/ 9543 w 9658"/>
                  <a:gd name="connsiteY7" fmla="*/ 9231 h 10000"/>
                  <a:gd name="connsiteX8" fmla="*/ 9658 w 9658"/>
                  <a:gd name="connsiteY8" fmla="*/ 2051 h 10000"/>
                  <a:gd name="connsiteX9" fmla="*/ 9313 w 9658"/>
                  <a:gd name="connsiteY9" fmla="*/ 1282 h 10000"/>
                  <a:gd name="connsiteX10" fmla="*/ 9083 w 9658"/>
                  <a:gd name="connsiteY10" fmla="*/ 3077 h 10000"/>
                  <a:gd name="connsiteX11" fmla="*/ 7934 w 9658"/>
                  <a:gd name="connsiteY11" fmla="*/ 2564 h 10000"/>
                  <a:gd name="connsiteX0" fmla="*/ 8215 w 10000"/>
                  <a:gd name="connsiteY0" fmla="*/ 2564 h 10000"/>
                  <a:gd name="connsiteX1" fmla="*/ 6073 w 10000"/>
                  <a:gd name="connsiteY1" fmla="*/ 738 h 10000"/>
                  <a:gd name="connsiteX2" fmla="*/ 4169 w 10000"/>
                  <a:gd name="connsiteY2" fmla="*/ 766 h 10000"/>
                  <a:gd name="connsiteX3" fmla="*/ 1312 w 10000"/>
                  <a:gd name="connsiteY3" fmla="*/ 2564 h 10000"/>
                  <a:gd name="connsiteX4" fmla="*/ 1193 w 10000"/>
                  <a:gd name="connsiteY4" fmla="*/ 0 h 10000"/>
                  <a:gd name="connsiteX5" fmla="*/ 717 w 10000"/>
                  <a:gd name="connsiteY5" fmla="*/ 513 h 10000"/>
                  <a:gd name="connsiteX6" fmla="*/ 122 w 10000"/>
                  <a:gd name="connsiteY6" fmla="*/ 10000 h 10000"/>
                  <a:gd name="connsiteX7" fmla="*/ 9881 w 10000"/>
                  <a:gd name="connsiteY7" fmla="*/ 9231 h 10000"/>
                  <a:gd name="connsiteX8" fmla="*/ 10000 w 10000"/>
                  <a:gd name="connsiteY8" fmla="*/ 2051 h 10000"/>
                  <a:gd name="connsiteX9" fmla="*/ 9643 w 10000"/>
                  <a:gd name="connsiteY9" fmla="*/ 1282 h 10000"/>
                  <a:gd name="connsiteX10" fmla="*/ 9405 w 10000"/>
                  <a:gd name="connsiteY10" fmla="*/ 3077 h 10000"/>
                  <a:gd name="connsiteX11" fmla="*/ 8215 w 10000"/>
                  <a:gd name="connsiteY11" fmla="*/ 2564 h 10000"/>
                  <a:gd name="connsiteX0" fmla="*/ 8215 w 10000"/>
                  <a:gd name="connsiteY0" fmla="*/ 2564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9" fmla="*/ 9405 w 10000"/>
                  <a:gd name="connsiteY9" fmla="*/ 3077 h 10000"/>
                  <a:gd name="connsiteX10" fmla="*/ 8215 w 10000"/>
                  <a:gd name="connsiteY10" fmla="*/ 2564 h 10000"/>
                  <a:gd name="connsiteX0" fmla="*/ 7645 w 10000"/>
                  <a:gd name="connsiteY0" fmla="*/ 88 h 10376"/>
                  <a:gd name="connsiteX1" fmla="*/ 4169 w 10000"/>
                  <a:gd name="connsiteY1" fmla="*/ 1142 h 10376"/>
                  <a:gd name="connsiteX2" fmla="*/ 1312 w 10000"/>
                  <a:gd name="connsiteY2" fmla="*/ 2940 h 10376"/>
                  <a:gd name="connsiteX3" fmla="*/ 1193 w 10000"/>
                  <a:gd name="connsiteY3" fmla="*/ 376 h 10376"/>
                  <a:gd name="connsiteX4" fmla="*/ 717 w 10000"/>
                  <a:gd name="connsiteY4" fmla="*/ 889 h 10376"/>
                  <a:gd name="connsiteX5" fmla="*/ 122 w 10000"/>
                  <a:gd name="connsiteY5" fmla="*/ 10376 h 10376"/>
                  <a:gd name="connsiteX6" fmla="*/ 9881 w 10000"/>
                  <a:gd name="connsiteY6" fmla="*/ 9607 h 10376"/>
                  <a:gd name="connsiteX7" fmla="*/ 10000 w 10000"/>
                  <a:gd name="connsiteY7" fmla="*/ 2427 h 10376"/>
                  <a:gd name="connsiteX8" fmla="*/ 9643 w 10000"/>
                  <a:gd name="connsiteY8" fmla="*/ 1658 h 10376"/>
                  <a:gd name="connsiteX9" fmla="*/ 9405 w 10000"/>
                  <a:gd name="connsiteY9" fmla="*/ 3453 h 10376"/>
                  <a:gd name="connsiteX10" fmla="*/ 7645 w 10000"/>
                  <a:gd name="connsiteY10" fmla="*/ 88 h 10376"/>
                  <a:gd name="connsiteX0" fmla="*/ 9405 w 10000"/>
                  <a:gd name="connsiteY0" fmla="*/ 3077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9" fmla="*/ 9405 w 10000"/>
                  <a:gd name="connsiteY9" fmla="*/ 3077 h 10000"/>
                  <a:gd name="connsiteX0" fmla="*/ 8408 w 10000"/>
                  <a:gd name="connsiteY0" fmla="*/ 5 h 10636"/>
                  <a:gd name="connsiteX1" fmla="*/ 4169 w 10000"/>
                  <a:gd name="connsiteY1" fmla="*/ 1402 h 10636"/>
                  <a:gd name="connsiteX2" fmla="*/ 1312 w 10000"/>
                  <a:gd name="connsiteY2" fmla="*/ 3200 h 10636"/>
                  <a:gd name="connsiteX3" fmla="*/ 1193 w 10000"/>
                  <a:gd name="connsiteY3" fmla="*/ 636 h 10636"/>
                  <a:gd name="connsiteX4" fmla="*/ 717 w 10000"/>
                  <a:gd name="connsiteY4" fmla="*/ 1149 h 10636"/>
                  <a:gd name="connsiteX5" fmla="*/ 122 w 10000"/>
                  <a:gd name="connsiteY5" fmla="*/ 10636 h 10636"/>
                  <a:gd name="connsiteX6" fmla="*/ 9881 w 10000"/>
                  <a:gd name="connsiteY6" fmla="*/ 9867 h 10636"/>
                  <a:gd name="connsiteX7" fmla="*/ 10000 w 10000"/>
                  <a:gd name="connsiteY7" fmla="*/ 2687 h 10636"/>
                  <a:gd name="connsiteX8" fmla="*/ 9643 w 10000"/>
                  <a:gd name="connsiteY8" fmla="*/ 1918 h 10636"/>
                  <a:gd name="connsiteX9" fmla="*/ 8408 w 10000"/>
                  <a:gd name="connsiteY9" fmla="*/ 5 h 10636"/>
                  <a:gd name="connsiteX0" fmla="*/ 9643 w 10000"/>
                  <a:gd name="connsiteY0" fmla="*/ 1282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0" fmla="*/ 7650 w 10139"/>
                  <a:gd name="connsiteY0" fmla="*/ 26 h 10741"/>
                  <a:gd name="connsiteX1" fmla="*/ 4169 w 10139"/>
                  <a:gd name="connsiteY1" fmla="*/ 1507 h 10741"/>
                  <a:gd name="connsiteX2" fmla="*/ 1312 w 10139"/>
                  <a:gd name="connsiteY2" fmla="*/ 3305 h 10741"/>
                  <a:gd name="connsiteX3" fmla="*/ 1193 w 10139"/>
                  <a:gd name="connsiteY3" fmla="*/ 741 h 10741"/>
                  <a:gd name="connsiteX4" fmla="*/ 717 w 10139"/>
                  <a:gd name="connsiteY4" fmla="*/ 1254 h 10741"/>
                  <a:gd name="connsiteX5" fmla="*/ 122 w 10139"/>
                  <a:gd name="connsiteY5" fmla="*/ 10741 h 10741"/>
                  <a:gd name="connsiteX6" fmla="*/ 9881 w 10139"/>
                  <a:gd name="connsiteY6" fmla="*/ 9972 h 10741"/>
                  <a:gd name="connsiteX7" fmla="*/ 10000 w 10139"/>
                  <a:gd name="connsiteY7" fmla="*/ 2792 h 10741"/>
                  <a:gd name="connsiteX8" fmla="*/ 7650 w 10139"/>
                  <a:gd name="connsiteY8" fmla="*/ 26 h 10741"/>
                  <a:gd name="connsiteX0" fmla="*/ 10000 w 10394"/>
                  <a:gd name="connsiteY0" fmla="*/ 2051 h 10000"/>
                  <a:gd name="connsiteX1" fmla="*/ 4169 w 10394"/>
                  <a:gd name="connsiteY1" fmla="*/ 766 h 10000"/>
                  <a:gd name="connsiteX2" fmla="*/ 1312 w 10394"/>
                  <a:gd name="connsiteY2" fmla="*/ 2564 h 10000"/>
                  <a:gd name="connsiteX3" fmla="*/ 1193 w 10394"/>
                  <a:gd name="connsiteY3" fmla="*/ 0 h 10000"/>
                  <a:gd name="connsiteX4" fmla="*/ 717 w 10394"/>
                  <a:gd name="connsiteY4" fmla="*/ 513 h 10000"/>
                  <a:gd name="connsiteX5" fmla="*/ 122 w 10394"/>
                  <a:gd name="connsiteY5" fmla="*/ 10000 h 10000"/>
                  <a:gd name="connsiteX6" fmla="*/ 9881 w 10394"/>
                  <a:gd name="connsiteY6" fmla="*/ 9231 h 10000"/>
                  <a:gd name="connsiteX7" fmla="*/ 10000 w 10394"/>
                  <a:gd name="connsiteY7" fmla="*/ 2051 h 10000"/>
                  <a:gd name="connsiteX0" fmla="*/ 10000 w 10394"/>
                  <a:gd name="connsiteY0" fmla="*/ 2051 h 10000"/>
                  <a:gd name="connsiteX1" fmla="*/ 4169 w 10394"/>
                  <a:gd name="connsiteY1" fmla="*/ 766 h 10000"/>
                  <a:gd name="connsiteX2" fmla="*/ 1193 w 10394"/>
                  <a:gd name="connsiteY2" fmla="*/ 0 h 10000"/>
                  <a:gd name="connsiteX3" fmla="*/ 717 w 10394"/>
                  <a:gd name="connsiteY3" fmla="*/ 513 h 10000"/>
                  <a:gd name="connsiteX4" fmla="*/ 122 w 10394"/>
                  <a:gd name="connsiteY4" fmla="*/ 10000 h 10000"/>
                  <a:gd name="connsiteX5" fmla="*/ 9881 w 10394"/>
                  <a:gd name="connsiteY5" fmla="*/ 9231 h 10000"/>
                  <a:gd name="connsiteX6" fmla="*/ 10000 w 10394"/>
                  <a:gd name="connsiteY6" fmla="*/ 2051 h 10000"/>
                  <a:gd name="connsiteX0" fmla="*/ 10034 w 10428"/>
                  <a:gd name="connsiteY0" fmla="*/ 3762 h 11711"/>
                  <a:gd name="connsiteX1" fmla="*/ 4203 w 10428"/>
                  <a:gd name="connsiteY1" fmla="*/ 2477 h 11711"/>
                  <a:gd name="connsiteX2" fmla="*/ 2224 w 10428"/>
                  <a:gd name="connsiteY2" fmla="*/ 0 h 11711"/>
                  <a:gd name="connsiteX3" fmla="*/ 751 w 10428"/>
                  <a:gd name="connsiteY3" fmla="*/ 2224 h 11711"/>
                  <a:gd name="connsiteX4" fmla="*/ 156 w 10428"/>
                  <a:gd name="connsiteY4" fmla="*/ 11711 h 11711"/>
                  <a:gd name="connsiteX5" fmla="*/ 9915 w 10428"/>
                  <a:gd name="connsiteY5" fmla="*/ 10942 h 11711"/>
                  <a:gd name="connsiteX6" fmla="*/ 10034 w 10428"/>
                  <a:gd name="connsiteY6" fmla="*/ 3762 h 11711"/>
                  <a:gd name="connsiteX0" fmla="*/ 10034 w 10428"/>
                  <a:gd name="connsiteY0" fmla="*/ 2214 h 10163"/>
                  <a:gd name="connsiteX1" fmla="*/ 4203 w 10428"/>
                  <a:gd name="connsiteY1" fmla="*/ 929 h 10163"/>
                  <a:gd name="connsiteX2" fmla="*/ 751 w 10428"/>
                  <a:gd name="connsiteY2" fmla="*/ 676 h 10163"/>
                  <a:gd name="connsiteX3" fmla="*/ 156 w 10428"/>
                  <a:gd name="connsiteY3" fmla="*/ 10163 h 10163"/>
                  <a:gd name="connsiteX4" fmla="*/ 9915 w 10428"/>
                  <a:gd name="connsiteY4" fmla="*/ 9394 h 10163"/>
                  <a:gd name="connsiteX5" fmla="*/ 10034 w 10428"/>
                  <a:gd name="connsiteY5" fmla="*/ 2214 h 10163"/>
                  <a:gd name="connsiteX0" fmla="*/ 10164 w 10411"/>
                  <a:gd name="connsiteY0" fmla="*/ 2568 h 10517"/>
                  <a:gd name="connsiteX1" fmla="*/ 6326 w 10411"/>
                  <a:gd name="connsiteY1" fmla="*/ 427 h 10517"/>
                  <a:gd name="connsiteX2" fmla="*/ 881 w 10411"/>
                  <a:gd name="connsiteY2" fmla="*/ 1030 h 10517"/>
                  <a:gd name="connsiteX3" fmla="*/ 286 w 10411"/>
                  <a:gd name="connsiteY3" fmla="*/ 10517 h 10517"/>
                  <a:gd name="connsiteX4" fmla="*/ 10045 w 10411"/>
                  <a:gd name="connsiteY4" fmla="*/ 9748 h 10517"/>
                  <a:gd name="connsiteX5" fmla="*/ 10164 w 10411"/>
                  <a:gd name="connsiteY5" fmla="*/ 2568 h 10517"/>
                  <a:gd name="connsiteX0" fmla="*/ 10068 w 10872"/>
                  <a:gd name="connsiteY0" fmla="*/ 2606 h 11126"/>
                  <a:gd name="connsiteX1" fmla="*/ 6230 w 10872"/>
                  <a:gd name="connsiteY1" fmla="*/ 465 h 11126"/>
                  <a:gd name="connsiteX2" fmla="*/ 785 w 10872"/>
                  <a:gd name="connsiteY2" fmla="*/ 1068 h 11126"/>
                  <a:gd name="connsiteX3" fmla="*/ 332 w 10872"/>
                  <a:gd name="connsiteY3" fmla="*/ 11126 h 11126"/>
                  <a:gd name="connsiteX4" fmla="*/ 9949 w 10872"/>
                  <a:gd name="connsiteY4" fmla="*/ 9786 h 11126"/>
                  <a:gd name="connsiteX5" fmla="*/ 10068 w 10872"/>
                  <a:gd name="connsiteY5" fmla="*/ 2606 h 11126"/>
                  <a:gd name="connsiteX0" fmla="*/ 10068 w 10695"/>
                  <a:gd name="connsiteY0" fmla="*/ 2606 h 11126"/>
                  <a:gd name="connsiteX1" fmla="*/ 6230 w 10695"/>
                  <a:gd name="connsiteY1" fmla="*/ 465 h 11126"/>
                  <a:gd name="connsiteX2" fmla="*/ 785 w 10695"/>
                  <a:gd name="connsiteY2" fmla="*/ 1068 h 11126"/>
                  <a:gd name="connsiteX3" fmla="*/ 332 w 10695"/>
                  <a:gd name="connsiteY3" fmla="*/ 11126 h 11126"/>
                  <a:gd name="connsiteX4" fmla="*/ 9949 w 10695"/>
                  <a:gd name="connsiteY4" fmla="*/ 9786 h 11126"/>
                  <a:gd name="connsiteX5" fmla="*/ 10068 w 10695"/>
                  <a:gd name="connsiteY5" fmla="*/ 2606 h 11126"/>
                  <a:gd name="connsiteX0" fmla="*/ 10068 w 11202"/>
                  <a:gd name="connsiteY0" fmla="*/ 2606 h 11126"/>
                  <a:gd name="connsiteX1" fmla="*/ 6230 w 11202"/>
                  <a:gd name="connsiteY1" fmla="*/ 465 h 11126"/>
                  <a:gd name="connsiteX2" fmla="*/ 785 w 11202"/>
                  <a:gd name="connsiteY2" fmla="*/ 1068 h 11126"/>
                  <a:gd name="connsiteX3" fmla="*/ 332 w 11202"/>
                  <a:gd name="connsiteY3" fmla="*/ 11126 h 11126"/>
                  <a:gd name="connsiteX4" fmla="*/ 10661 w 11202"/>
                  <a:gd name="connsiteY4" fmla="*/ 9786 h 11126"/>
                  <a:gd name="connsiteX5" fmla="*/ 10068 w 11202"/>
                  <a:gd name="connsiteY5" fmla="*/ 2606 h 11126"/>
                  <a:gd name="connsiteX0" fmla="*/ 10621 w 11998"/>
                  <a:gd name="connsiteY0" fmla="*/ 2644 h 11734"/>
                  <a:gd name="connsiteX1" fmla="*/ 6783 w 11998"/>
                  <a:gd name="connsiteY1" fmla="*/ 503 h 11734"/>
                  <a:gd name="connsiteX2" fmla="*/ 1338 w 11998"/>
                  <a:gd name="connsiteY2" fmla="*/ 1106 h 11734"/>
                  <a:gd name="connsiteX3" fmla="*/ 173 w 11998"/>
                  <a:gd name="connsiteY3" fmla="*/ 11734 h 11734"/>
                  <a:gd name="connsiteX4" fmla="*/ 11214 w 11998"/>
                  <a:gd name="connsiteY4" fmla="*/ 9824 h 11734"/>
                  <a:gd name="connsiteX5" fmla="*/ 10621 w 11998"/>
                  <a:gd name="connsiteY5" fmla="*/ 2644 h 1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98" h="11734">
                    <a:moveTo>
                      <a:pt x="10621" y="2644"/>
                    </a:moveTo>
                    <a:cubicBezTo>
                      <a:pt x="9883" y="1091"/>
                      <a:pt x="8330" y="759"/>
                      <a:pt x="6783" y="503"/>
                    </a:cubicBezTo>
                    <a:cubicBezTo>
                      <a:pt x="5236" y="247"/>
                      <a:pt x="2440" y="-766"/>
                      <a:pt x="1338" y="1106"/>
                    </a:cubicBezTo>
                    <a:cubicBezTo>
                      <a:pt x="236" y="2978"/>
                      <a:pt x="-303" y="5067"/>
                      <a:pt x="173" y="11734"/>
                    </a:cubicBezTo>
                    <a:cubicBezTo>
                      <a:pt x="3379" y="11287"/>
                      <a:pt x="9473" y="11339"/>
                      <a:pt x="11214" y="9824"/>
                    </a:cubicBezTo>
                    <a:cubicBezTo>
                      <a:pt x="12955" y="8309"/>
                      <a:pt x="11359" y="4197"/>
                      <a:pt x="10621" y="2644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1491CCDD-5B91-4EDE-A704-6625CC581F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0227" y="2515897"/>
                <a:ext cx="268288" cy="314325"/>
              </a:xfrm>
              <a:custGeom>
                <a:avLst/>
                <a:gdLst>
                  <a:gd name="T0" fmla="*/ 91 w 101"/>
                  <a:gd name="T1" fmla="*/ 42 h 118"/>
                  <a:gd name="T2" fmla="*/ 73 w 101"/>
                  <a:gd name="T3" fmla="*/ 19 h 118"/>
                  <a:gd name="T4" fmla="*/ 51 w 101"/>
                  <a:gd name="T5" fmla="*/ 4 h 118"/>
                  <a:gd name="T6" fmla="*/ 40 w 101"/>
                  <a:gd name="T7" fmla="*/ 1 h 118"/>
                  <a:gd name="T8" fmla="*/ 22 w 101"/>
                  <a:gd name="T9" fmla="*/ 1 h 118"/>
                  <a:gd name="T10" fmla="*/ 3 w 101"/>
                  <a:gd name="T11" fmla="*/ 3 h 118"/>
                  <a:gd name="T12" fmla="*/ 5 w 101"/>
                  <a:gd name="T13" fmla="*/ 62 h 118"/>
                  <a:gd name="T14" fmla="*/ 0 w 101"/>
                  <a:gd name="T15" fmla="*/ 82 h 118"/>
                  <a:gd name="T16" fmla="*/ 9 w 101"/>
                  <a:gd name="T17" fmla="*/ 79 h 118"/>
                  <a:gd name="T18" fmla="*/ 14 w 101"/>
                  <a:gd name="T19" fmla="*/ 74 h 118"/>
                  <a:gd name="T20" fmla="*/ 43 w 101"/>
                  <a:gd name="T21" fmla="*/ 63 h 118"/>
                  <a:gd name="T22" fmla="*/ 53 w 101"/>
                  <a:gd name="T23" fmla="*/ 71 h 118"/>
                  <a:gd name="T24" fmla="*/ 64 w 101"/>
                  <a:gd name="T25" fmla="*/ 78 h 118"/>
                  <a:gd name="T26" fmla="*/ 66 w 101"/>
                  <a:gd name="T27" fmla="*/ 87 h 118"/>
                  <a:gd name="T28" fmla="*/ 64 w 101"/>
                  <a:gd name="T29" fmla="*/ 101 h 118"/>
                  <a:gd name="T30" fmla="*/ 61 w 101"/>
                  <a:gd name="T31" fmla="*/ 112 h 118"/>
                  <a:gd name="T32" fmla="*/ 64 w 101"/>
                  <a:gd name="T33" fmla="*/ 117 h 118"/>
                  <a:gd name="T34" fmla="*/ 76 w 101"/>
                  <a:gd name="T35" fmla="*/ 113 h 118"/>
                  <a:gd name="T36" fmla="*/ 101 w 101"/>
                  <a:gd name="T37" fmla="*/ 81 h 118"/>
                  <a:gd name="T38" fmla="*/ 91 w 101"/>
                  <a:gd name="T39" fmla="*/ 42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18">
                    <a:moveTo>
                      <a:pt x="91" y="42"/>
                    </a:moveTo>
                    <a:cubicBezTo>
                      <a:pt x="83" y="27"/>
                      <a:pt x="73" y="19"/>
                      <a:pt x="73" y="19"/>
                    </a:cubicBezTo>
                    <a:cubicBezTo>
                      <a:pt x="66" y="12"/>
                      <a:pt x="58" y="7"/>
                      <a:pt x="51" y="4"/>
                    </a:cubicBezTo>
                    <a:cubicBezTo>
                      <a:pt x="45" y="2"/>
                      <a:pt x="40" y="1"/>
                      <a:pt x="40" y="1"/>
                    </a:cubicBezTo>
                    <a:cubicBezTo>
                      <a:pt x="35" y="0"/>
                      <a:pt x="28" y="0"/>
                      <a:pt x="22" y="1"/>
                    </a:cubicBezTo>
                    <a:cubicBezTo>
                      <a:pt x="15" y="1"/>
                      <a:pt x="8" y="2"/>
                      <a:pt x="3" y="3"/>
                    </a:cubicBezTo>
                    <a:cubicBezTo>
                      <a:pt x="6" y="8"/>
                      <a:pt x="12" y="24"/>
                      <a:pt x="5" y="62"/>
                    </a:cubicBezTo>
                    <a:cubicBezTo>
                      <a:pt x="5" y="62"/>
                      <a:pt x="3" y="71"/>
                      <a:pt x="0" y="82"/>
                    </a:cubicBezTo>
                    <a:cubicBezTo>
                      <a:pt x="6" y="82"/>
                      <a:pt x="9" y="79"/>
                      <a:pt x="9" y="79"/>
                    </a:cubicBezTo>
                    <a:cubicBezTo>
                      <a:pt x="10" y="77"/>
                      <a:pt x="12" y="76"/>
                      <a:pt x="14" y="74"/>
                    </a:cubicBezTo>
                    <a:cubicBezTo>
                      <a:pt x="26" y="65"/>
                      <a:pt x="34" y="65"/>
                      <a:pt x="43" y="63"/>
                    </a:cubicBezTo>
                    <a:cubicBezTo>
                      <a:pt x="52" y="61"/>
                      <a:pt x="51" y="71"/>
                      <a:pt x="53" y="71"/>
                    </a:cubicBezTo>
                    <a:cubicBezTo>
                      <a:pt x="55" y="71"/>
                      <a:pt x="63" y="70"/>
                      <a:pt x="64" y="78"/>
                    </a:cubicBezTo>
                    <a:cubicBezTo>
                      <a:pt x="65" y="86"/>
                      <a:pt x="63" y="86"/>
                      <a:pt x="66" y="87"/>
                    </a:cubicBezTo>
                    <a:cubicBezTo>
                      <a:pt x="69" y="88"/>
                      <a:pt x="64" y="101"/>
                      <a:pt x="64" y="101"/>
                    </a:cubicBezTo>
                    <a:cubicBezTo>
                      <a:pt x="62" y="106"/>
                      <a:pt x="61" y="109"/>
                      <a:pt x="61" y="112"/>
                    </a:cubicBezTo>
                    <a:cubicBezTo>
                      <a:pt x="61" y="115"/>
                      <a:pt x="62" y="117"/>
                      <a:pt x="64" y="117"/>
                    </a:cubicBezTo>
                    <a:cubicBezTo>
                      <a:pt x="68" y="118"/>
                      <a:pt x="76" y="113"/>
                      <a:pt x="76" y="113"/>
                    </a:cubicBezTo>
                    <a:cubicBezTo>
                      <a:pt x="91" y="108"/>
                      <a:pt x="101" y="81"/>
                      <a:pt x="101" y="81"/>
                    </a:cubicBezTo>
                    <a:cubicBezTo>
                      <a:pt x="101" y="65"/>
                      <a:pt x="97" y="53"/>
                      <a:pt x="91" y="42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30">
                <a:extLst>
                  <a:ext uri="{FF2B5EF4-FFF2-40B4-BE49-F238E27FC236}">
                    <a16:creationId xmlns:a16="http://schemas.microsoft.com/office/drawing/2014/main" id="{1543CEFB-3706-4986-ACE2-50DDE35DB2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4729" y="3317697"/>
                <a:ext cx="722638" cy="1139712"/>
              </a:xfrm>
              <a:custGeom>
                <a:avLst/>
                <a:gdLst>
                  <a:gd name="T0" fmla="*/ 268 w 268"/>
                  <a:gd name="T1" fmla="*/ 76 h 417"/>
                  <a:gd name="T2" fmla="*/ 268 w 268"/>
                  <a:gd name="T3" fmla="*/ 70 h 417"/>
                  <a:gd name="T4" fmla="*/ 243 w 268"/>
                  <a:gd name="T5" fmla="*/ 61 h 417"/>
                  <a:gd name="T6" fmla="*/ 244 w 268"/>
                  <a:gd name="T7" fmla="*/ 0 h 417"/>
                  <a:gd name="T8" fmla="*/ 194 w 268"/>
                  <a:gd name="T9" fmla="*/ 5 h 417"/>
                  <a:gd name="T10" fmla="*/ 95 w 268"/>
                  <a:gd name="T11" fmla="*/ 10 h 417"/>
                  <a:gd name="T12" fmla="*/ 67 w 268"/>
                  <a:gd name="T13" fmla="*/ 3 h 417"/>
                  <a:gd name="T14" fmla="*/ 42 w 268"/>
                  <a:gd name="T15" fmla="*/ 11 h 417"/>
                  <a:gd name="T16" fmla="*/ 2 w 268"/>
                  <a:gd name="T17" fmla="*/ 5 h 417"/>
                  <a:gd name="T18" fmla="*/ 2 w 268"/>
                  <a:gd name="T19" fmla="*/ 6 h 417"/>
                  <a:gd name="T20" fmla="*/ 5 w 268"/>
                  <a:gd name="T21" fmla="*/ 101 h 417"/>
                  <a:gd name="T22" fmla="*/ 24 w 268"/>
                  <a:gd name="T23" fmla="*/ 225 h 417"/>
                  <a:gd name="T24" fmla="*/ 50 w 268"/>
                  <a:gd name="T25" fmla="*/ 352 h 417"/>
                  <a:gd name="T26" fmla="*/ 58 w 268"/>
                  <a:gd name="T27" fmla="*/ 391 h 417"/>
                  <a:gd name="T28" fmla="*/ 103 w 268"/>
                  <a:gd name="T29" fmla="*/ 417 h 417"/>
                  <a:gd name="T30" fmla="*/ 102 w 268"/>
                  <a:gd name="T31" fmla="*/ 416 h 417"/>
                  <a:gd name="T32" fmla="*/ 101 w 268"/>
                  <a:gd name="T33" fmla="*/ 415 h 417"/>
                  <a:gd name="T34" fmla="*/ 94 w 268"/>
                  <a:gd name="T35" fmla="*/ 321 h 417"/>
                  <a:gd name="T36" fmla="*/ 88 w 268"/>
                  <a:gd name="T37" fmla="*/ 190 h 417"/>
                  <a:gd name="T38" fmla="*/ 156 w 268"/>
                  <a:gd name="T39" fmla="*/ 168 h 417"/>
                  <a:gd name="T40" fmla="*/ 231 w 268"/>
                  <a:gd name="T41" fmla="*/ 160 h 417"/>
                  <a:gd name="T42" fmla="*/ 233 w 268"/>
                  <a:gd name="T43" fmla="*/ 129 h 417"/>
                  <a:gd name="T44" fmla="*/ 239 w 268"/>
                  <a:gd name="T45" fmla="*/ 99 h 417"/>
                  <a:gd name="T46" fmla="*/ 267 w 268"/>
                  <a:gd name="T47" fmla="*/ 95 h 417"/>
                  <a:gd name="T48" fmla="*/ 268 w 268"/>
                  <a:gd name="T49" fmla="*/ 76 h 417"/>
                  <a:gd name="connsiteX0" fmla="*/ 9956 w 9956"/>
                  <a:gd name="connsiteY0" fmla="*/ 1973 h 10150"/>
                  <a:gd name="connsiteX1" fmla="*/ 9956 w 9956"/>
                  <a:gd name="connsiteY1" fmla="*/ 1829 h 10150"/>
                  <a:gd name="connsiteX2" fmla="*/ 9023 w 9956"/>
                  <a:gd name="connsiteY2" fmla="*/ 1613 h 10150"/>
                  <a:gd name="connsiteX3" fmla="*/ 9027 w 9956"/>
                  <a:gd name="connsiteY3" fmla="*/ 0 h 10150"/>
                  <a:gd name="connsiteX4" fmla="*/ 7195 w 9956"/>
                  <a:gd name="connsiteY4" fmla="*/ 270 h 10150"/>
                  <a:gd name="connsiteX5" fmla="*/ 3501 w 9956"/>
                  <a:gd name="connsiteY5" fmla="*/ 390 h 10150"/>
                  <a:gd name="connsiteX6" fmla="*/ 2456 w 9956"/>
                  <a:gd name="connsiteY6" fmla="*/ 222 h 10150"/>
                  <a:gd name="connsiteX7" fmla="*/ 1523 w 9956"/>
                  <a:gd name="connsiteY7" fmla="*/ 414 h 10150"/>
                  <a:gd name="connsiteX8" fmla="*/ 31 w 9956"/>
                  <a:gd name="connsiteY8" fmla="*/ 270 h 10150"/>
                  <a:gd name="connsiteX9" fmla="*/ 31 w 9956"/>
                  <a:gd name="connsiteY9" fmla="*/ 294 h 10150"/>
                  <a:gd name="connsiteX10" fmla="*/ 143 w 9956"/>
                  <a:gd name="connsiteY10" fmla="*/ 2572 h 10150"/>
                  <a:gd name="connsiteX11" fmla="*/ 852 w 9956"/>
                  <a:gd name="connsiteY11" fmla="*/ 5546 h 10150"/>
                  <a:gd name="connsiteX12" fmla="*/ 1822 w 9956"/>
                  <a:gd name="connsiteY12" fmla="*/ 8591 h 10150"/>
                  <a:gd name="connsiteX13" fmla="*/ 2120 w 9956"/>
                  <a:gd name="connsiteY13" fmla="*/ 9526 h 10150"/>
                  <a:gd name="connsiteX14" fmla="*/ 3799 w 9956"/>
                  <a:gd name="connsiteY14" fmla="*/ 10150 h 10150"/>
                  <a:gd name="connsiteX15" fmla="*/ 3762 w 9956"/>
                  <a:gd name="connsiteY15" fmla="*/ 10126 h 10150"/>
                  <a:gd name="connsiteX16" fmla="*/ 3725 w 9956"/>
                  <a:gd name="connsiteY16" fmla="*/ 10102 h 10150"/>
                  <a:gd name="connsiteX17" fmla="*/ 3463 w 9956"/>
                  <a:gd name="connsiteY17" fmla="*/ 7848 h 10150"/>
                  <a:gd name="connsiteX18" fmla="*/ 3240 w 9956"/>
                  <a:gd name="connsiteY18" fmla="*/ 4706 h 10150"/>
                  <a:gd name="connsiteX19" fmla="*/ 5777 w 9956"/>
                  <a:gd name="connsiteY19" fmla="*/ 4179 h 10150"/>
                  <a:gd name="connsiteX20" fmla="*/ 8575 w 9956"/>
                  <a:gd name="connsiteY20" fmla="*/ 3987 h 10150"/>
                  <a:gd name="connsiteX21" fmla="*/ 8650 w 9956"/>
                  <a:gd name="connsiteY21" fmla="*/ 3244 h 10150"/>
                  <a:gd name="connsiteX22" fmla="*/ 8874 w 9956"/>
                  <a:gd name="connsiteY22" fmla="*/ 2524 h 10150"/>
                  <a:gd name="connsiteX23" fmla="*/ 9919 w 9956"/>
                  <a:gd name="connsiteY23" fmla="*/ 2428 h 10150"/>
                  <a:gd name="connsiteX24" fmla="*/ 9956 w 9956"/>
                  <a:gd name="connsiteY24" fmla="*/ 1973 h 10150"/>
                  <a:gd name="connsiteX0" fmla="*/ 10000 w 10000"/>
                  <a:gd name="connsiteY0" fmla="*/ 2007 h 10063"/>
                  <a:gd name="connsiteX1" fmla="*/ 10000 w 10000"/>
                  <a:gd name="connsiteY1" fmla="*/ 1865 h 10063"/>
                  <a:gd name="connsiteX2" fmla="*/ 9063 w 10000"/>
                  <a:gd name="connsiteY2" fmla="*/ 1652 h 10063"/>
                  <a:gd name="connsiteX3" fmla="*/ 9335 w 10000"/>
                  <a:gd name="connsiteY3" fmla="*/ 0 h 10063"/>
                  <a:gd name="connsiteX4" fmla="*/ 7227 w 10000"/>
                  <a:gd name="connsiteY4" fmla="*/ 329 h 10063"/>
                  <a:gd name="connsiteX5" fmla="*/ 3516 w 10000"/>
                  <a:gd name="connsiteY5" fmla="*/ 447 h 10063"/>
                  <a:gd name="connsiteX6" fmla="*/ 2467 w 10000"/>
                  <a:gd name="connsiteY6" fmla="*/ 282 h 10063"/>
                  <a:gd name="connsiteX7" fmla="*/ 1530 w 10000"/>
                  <a:gd name="connsiteY7" fmla="*/ 471 h 10063"/>
                  <a:gd name="connsiteX8" fmla="*/ 31 w 10000"/>
                  <a:gd name="connsiteY8" fmla="*/ 329 h 10063"/>
                  <a:gd name="connsiteX9" fmla="*/ 31 w 10000"/>
                  <a:gd name="connsiteY9" fmla="*/ 353 h 10063"/>
                  <a:gd name="connsiteX10" fmla="*/ 144 w 10000"/>
                  <a:gd name="connsiteY10" fmla="*/ 2597 h 10063"/>
                  <a:gd name="connsiteX11" fmla="*/ 856 w 10000"/>
                  <a:gd name="connsiteY11" fmla="*/ 5527 h 10063"/>
                  <a:gd name="connsiteX12" fmla="*/ 1830 w 10000"/>
                  <a:gd name="connsiteY12" fmla="*/ 8527 h 10063"/>
                  <a:gd name="connsiteX13" fmla="*/ 2129 w 10000"/>
                  <a:gd name="connsiteY13" fmla="*/ 9448 h 10063"/>
                  <a:gd name="connsiteX14" fmla="*/ 3816 w 10000"/>
                  <a:gd name="connsiteY14" fmla="*/ 10063 h 10063"/>
                  <a:gd name="connsiteX15" fmla="*/ 3779 w 10000"/>
                  <a:gd name="connsiteY15" fmla="*/ 10039 h 10063"/>
                  <a:gd name="connsiteX16" fmla="*/ 3741 w 10000"/>
                  <a:gd name="connsiteY16" fmla="*/ 10016 h 10063"/>
                  <a:gd name="connsiteX17" fmla="*/ 3478 w 10000"/>
                  <a:gd name="connsiteY17" fmla="*/ 7795 h 10063"/>
                  <a:gd name="connsiteX18" fmla="*/ 3254 w 10000"/>
                  <a:gd name="connsiteY18" fmla="*/ 4699 h 10063"/>
                  <a:gd name="connsiteX19" fmla="*/ 5803 w 10000"/>
                  <a:gd name="connsiteY19" fmla="*/ 4180 h 10063"/>
                  <a:gd name="connsiteX20" fmla="*/ 8613 w 10000"/>
                  <a:gd name="connsiteY20" fmla="*/ 3991 h 10063"/>
                  <a:gd name="connsiteX21" fmla="*/ 8688 w 10000"/>
                  <a:gd name="connsiteY21" fmla="*/ 3259 h 10063"/>
                  <a:gd name="connsiteX22" fmla="*/ 8913 w 10000"/>
                  <a:gd name="connsiteY22" fmla="*/ 2550 h 10063"/>
                  <a:gd name="connsiteX23" fmla="*/ 9963 w 10000"/>
                  <a:gd name="connsiteY23" fmla="*/ 2455 h 10063"/>
                  <a:gd name="connsiteX24" fmla="*/ 10000 w 10000"/>
                  <a:gd name="connsiteY24" fmla="*/ 2007 h 10063"/>
                  <a:gd name="connsiteX0" fmla="*/ 10000 w 10049"/>
                  <a:gd name="connsiteY0" fmla="*/ 2046 h 10102"/>
                  <a:gd name="connsiteX1" fmla="*/ 10000 w 10049"/>
                  <a:gd name="connsiteY1" fmla="*/ 1904 h 10102"/>
                  <a:gd name="connsiteX2" fmla="*/ 9331 w 10049"/>
                  <a:gd name="connsiteY2" fmla="*/ 1374 h 10102"/>
                  <a:gd name="connsiteX3" fmla="*/ 9335 w 10049"/>
                  <a:gd name="connsiteY3" fmla="*/ 39 h 10102"/>
                  <a:gd name="connsiteX4" fmla="*/ 7227 w 10049"/>
                  <a:gd name="connsiteY4" fmla="*/ 368 h 10102"/>
                  <a:gd name="connsiteX5" fmla="*/ 3516 w 10049"/>
                  <a:gd name="connsiteY5" fmla="*/ 486 h 10102"/>
                  <a:gd name="connsiteX6" fmla="*/ 2467 w 10049"/>
                  <a:gd name="connsiteY6" fmla="*/ 321 h 10102"/>
                  <a:gd name="connsiteX7" fmla="*/ 1530 w 10049"/>
                  <a:gd name="connsiteY7" fmla="*/ 510 h 10102"/>
                  <a:gd name="connsiteX8" fmla="*/ 31 w 10049"/>
                  <a:gd name="connsiteY8" fmla="*/ 368 h 10102"/>
                  <a:gd name="connsiteX9" fmla="*/ 31 w 10049"/>
                  <a:gd name="connsiteY9" fmla="*/ 392 h 10102"/>
                  <a:gd name="connsiteX10" fmla="*/ 144 w 10049"/>
                  <a:gd name="connsiteY10" fmla="*/ 2636 h 10102"/>
                  <a:gd name="connsiteX11" fmla="*/ 856 w 10049"/>
                  <a:gd name="connsiteY11" fmla="*/ 5566 h 10102"/>
                  <a:gd name="connsiteX12" fmla="*/ 1830 w 10049"/>
                  <a:gd name="connsiteY12" fmla="*/ 8566 h 10102"/>
                  <a:gd name="connsiteX13" fmla="*/ 2129 w 10049"/>
                  <a:gd name="connsiteY13" fmla="*/ 9487 h 10102"/>
                  <a:gd name="connsiteX14" fmla="*/ 3816 w 10049"/>
                  <a:gd name="connsiteY14" fmla="*/ 10102 h 10102"/>
                  <a:gd name="connsiteX15" fmla="*/ 3779 w 10049"/>
                  <a:gd name="connsiteY15" fmla="*/ 10078 h 10102"/>
                  <a:gd name="connsiteX16" fmla="*/ 3741 w 10049"/>
                  <a:gd name="connsiteY16" fmla="*/ 10055 h 10102"/>
                  <a:gd name="connsiteX17" fmla="*/ 3478 w 10049"/>
                  <a:gd name="connsiteY17" fmla="*/ 7834 h 10102"/>
                  <a:gd name="connsiteX18" fmla="*/ 3254 w 10049"/>
                  <a:gd name="connsiteY18" fmla="*/ 4738 h 10102"/>
                  <a:gd name="connsiteX19" fmla="*/ 5803 w 10049"/>
                  <a:gd name="connsiteY19" fmla="*/ 4219 h 10102"/>
                  <a:gd name="connsiteX20" fmla="*/ 8613 w 10049"/>
                  <a:gd name="connsiteY20" fmla="*/ 4030 h 10102"/>
                  <a:gd name="connsiteX21" fmla="*/ 8688 w 10049"/>
                  <a:gd name="connsiteY21" fmla="*/ 3298 h 10102"/>
                  <a:gd name="connsiteX22" fmla="*/ 8913 w 10049"/>
                  <a:gd name="connsiteY22" fmla="*/ 2589 h 10102"/>
                  <a:gd name="connsiteX23" fmla="*/ 9963 w 10049"/>
                  <a:gd name="connsiteY23" fmla="*/ 2494 h 10102"/>
                  <a:gd name="connsiteX24" fmla="*/ 10000 w 10049"/>
                  <a:gd name="connsiteY24" fmla="*/ 2046 h 10102"/>
                  <a:gd name="connsiteX0" fmla="*/ 10000 w 10049"/>
                  <a:gd name="connsiteY0" fmla="*/ 2066 h 10122"/>
                  <a:gd name="connsiteX1" fmla="*/ 10000 w 10049"/>
                  <a:gd name="connsiteY1" fmla="*/ 1924 h 10122"/>
                  <a:gd name="connsiteX2" fmla="*/ 9331 w 10049"/>
                  <a:gd name="connsiteY2" fmla="*/ 1394 h 10122"/>
                  <a:gd name="connsiteX3" fmla="*/ 9335 w 10049"/>
                  <a:gd name="connsiteY3" fmla="*/ 59 h 10122"/>
                  <a:gd name="connsiteX4" fmla="*/ 7093 w 10049"/>
                  <a:gd name="connsiteY4" fmla="*/ 261 h 10122"/>
                  <a:gd name="connsiteX5" fmla="*/ 3516 w 10049"/>
                  <a:gd name="connsiteY5" fmla="*/ 506 h 10122"/>
                  <a:gd name="connsiteX6" fmla="*/ 2467 w 10049"/>
                  <a:gd name="connsiteY6" fmla="*/ 341 h 10122"/>
                  <a:gd name="connsiteX7" fmla="*/ 1530 w 10049"/>
                  <a:gd name="connsiteY7" fmla="*/ 530 h 10122"/>
                  <a:gd name="connsiteX8" fmla="*/ 31 w 10049"/>
                  <a:gd name="connsiteY8" fmla="*/ 388 h 10122"/>
                  <a:gd name="connsiteX9" fmla="*/ 31 w 10049"/>
                  <a:gd name="connsiteY9" fmla="*/ 412 h 10122"/>
                  <a:gd name="connsiteX10" fmla="*/ 144 w 10049"/>
                  <a:gd name="connsiteY10" fmla="*/ 2656 h 10122"/>
                  <a:gd name="connsiteX11" fmla="*/ 856 w 10049"/>
                  <a:gd name="connsiteY11" fmla="*/ 5586 h 10122"/>
                  <a:gd name="connsiteX12" fmla="*/ 1830 w 10049"/>
                  <a:gd name="connsiteY12" fmla="*/ 8586 h 10122"/>
                  <a:gd name="connsiteX13" fmla="*/ 2129 w 10049"/>
                  <a:gd name="connsiteY13" fmla="*/ 9507 h 10122"/>
                  <a:gd name="connsiteX14" fmla="*/ 3816 w 10049"/>
                  <a:gd name="connsiteY14" fmla="*/ 10122 h 10122"/>
                  <a:gd name="connsiteX15" fmla="*/ 3779 w 10049"/>
                  <a:gd name="connsiteY15" fmla="*/ 10098 h 10122"/>
                  <a:gd name="connsiteX16" fmla="*/ 3741 w 10049"/>
                  <a:gd name="connsiteY16" fmla="*/ 10075 h 10122"/>
                  <a:gd name="connsiteX17" fmla="*/ 3478 w 10049"/>
                  <a:gd name="connsiteY17" fmla="*/ 7854 h 10122"/>
                  <a:gd name="connsiteX18" fmla="*/ 3254 w 10049"/>
                  <a:gd name="connsiteY18" fmla="*/ 4758 h 10122"/>
                  <a:gd name="connsiteX19" fmla="*/ 5803 w 10049"/>
                  <a:gd name="connsiteY19" fmla="*/ 4239 h 10122"/>
                  <a:gd name="connsiteX20" fmla="*/ 8613 w 10049"/>
                  <a:gd name="connsiteY20" fmla="*/ 4050 h 10122"/>
                  <a:gd name="connsiteX21" fmla="*/ 8688 w 10049"/>
                  <a:gd name="connsiteY21" fmla="*/ 3318 h 10122"/>
                  <a:gd name="connsiteX22" fmla="*/ 8913 w 10049"/>
                  <a:gd name="connsiteY22" fmla="*/ 2609 h 10122"/>
                  <a:gd name="connsiteX23" fmla="*/ 9963 w 10049"/>
                  <a:gd name="connsiteY23" fmla="*/ 2514 h 10122"/>
                  <a:gd name="connsiteX24" fmla="*/ 10000 w 10049"/>
                  <a:gd name="connsiteY24" fmla="*/ 2066 h 10122"/>
                  <a:gd name="connsiteX0" fmla="*/ 10000 w 10049"/>
                  <a:gd name="connsiteY0" fmla="*/ 2063 h 10119"/>
                  <a:gd name="connsiteX1" fmla="*/ 10000 w 10049"/>
                  <a:gd name="connsiteY1" fmla="*/ 1921 h 10119"/>
                  <a:gd name="connsiteX2" fmla="*/ 9331 w 10049"/>
                  <a:gd name="connsiteY2" fmla="*/ 1391 h 10119"/>
                  <a:gd name="connsiteX3" fmla="*/ 9335 w 10049"/>
                  <a:gd name="connsiteY3" fmla="*/ 56 h 10119"/>
                  <a:gd name="connsiteX4" fmla="*/ 7093 w 10049"/>
                  <a:gd name="connsiteY4" fmla="*/ 258 h 10119"/>
                  <a:gd name="connsiteX5" fmla="*/ 3617 w 10049"/>
                  <a:gd name="connsiteY5" fmla="*/ 292 h 10119"/>
                  <a:gd name="connsiteX6" fmla="*/ 2467 w 10049"/>
                  <a:gd name="connsiteY6" fmla="*/ 338 h 10119"/>
                  <a:gd name="connsiteX7" fmla="*/ 1530 w 10049"/>
                  <a:gd name="connsiteY7" fmla="*/ 527 h 10119"/>
                  <a:gd name="connsiteX8" fmla="*/ 31 w 10049"/>
                  <a:gd name="connsiteY8" fmla="*/ 385 h 10119"/>
                  <a:gd name="connsiteX9" fmla="*/ 31 w 10049"/>
                  <a:gd name="connsiteY9" fmla="*/ 409 h 10119"/>
                  <a:gd name="connsiteX10" fmla="*/ 144 w 10049"/>
                  <a:gd name="connsiteY10" fmla="*/ 2653 h 10119"/>
                  <a:gd name="connsiteX11" fmla="*/ 856 w 10049"/>
                  <a:gd name="connsiteY11" fmla="*/ 5583 h 10119"/>
                  <a:gd name="connsiteX12" fmla="*/ 1830 w 10049"/>
                  <a:gd name="connsiteY12" fmla="*/ 8583 h 10119"/>
                  <a:gd name="connsiteX13" fmla="*/ 2129 w 10049"/>
                  <a:gd name="connsiteY13" fmla="*/ 9504 h 10119"/>
                  <a:gd name="connsiteX14" fmla="*/ 3816 w 10049"/>
                  <a:gd name="connsiteY14" fmla="*/ 10119 h 10119"/>
                  <a:gd name="connsiteX15" fmla="*/ 3779 w 10049"/>
                  <a:gd name="connsiteY15" fmla="*/ 10095 h 10119"/>
                  <a:gd name="connsiteX16" fmla="*/ 3741 w 10049"/>
                  <a:gd name="connsiteY16" fmla="*/ 10072 h 10119"/>
                  <a:gd name="connsiteX17" fmla="*/ 3478 w 10049"/>
                  <a:gd name="connsiteY17" fmla="*/ 7851 h 10119"/>
                  <a:gd name="connsiteX18" fmla="*/ 3254 w 10049"/>
                  <a:gd name="connsiteY18" fmla="*/ 4755 h 10119"/>
                  <a:gd name="connsiteX19" fmla="*/ 5803 w 10049"/>
                  <a:gd name="connsiteY19" fmla="*/ 4236 h 10119"/>
                  <a:gd name="connsiteX20" fmla="*/ 8613 w 10049"/>
                  <a:gd name="connsiteY20" fmla="*/ 4047 h 10119"/>
                  <a:gd name="connsiteX21" fmla="*/ 8688 w 10049"/>
                  <a:gd name="connsiteY21" fmla="*/ 3315 h 10119"/>
                  <a:gd name="connsiteX22" fmla="*/ 8913 w 10049"/>
                  <a:gd name="connsiteY22" fmla="*/ 2606 h 10119"/>
                  <a:gd name="connsiteX23" fmla="*/ 9963 w 10049"/>
                  <a:gd name="connsiteY23" fmla="*/ 2511 h 10119"/>
                  <a:gd name="connsiteX24" fmla="*/ 10000 w 10049"/>
                  <a:gd name="connsiteY24" fmla="*/ 2063 h 10119"/>
                  <a:gd name="connsiteX0" fmla="*/ 10000 w 10049"/>
                  <a:gd name="connsiteY0" fmla="*/ 2063 h 10119"/>
                  <a:gd name="connsiteX1" fmla="*/ 10000 w 10049"/>
                  <a:gd name="connsiteY1" fmla="*/ 1921 h 10119"/>
                  <a:gd name="connsiteX2" fmla="*/ 9331 w 10049"/>
                  <a:gd name="connsiteY2" fmla="*/ 1391 h 10119"/>
                  <a:gd name="connsiteX3" fmla="*/ 9335 w 10049"/>
                  <a:gd name="connsiteY3" fmla="*/ 56 h 10119"/>
                  <a:gd name="connsiteX4" fmla="*/ 7093 w 10049"/>
                  <a:gd name="connsiteY4" fmla="*/ 258 h 10119"/>
                  <a:gd name="connsiteX5" fmla="*/ 3617 w 10049"/>
                  <a:gd name="connsiteY5" fmla="*/ 292 h 10119"/>
                  <a:gd name="connsiteX6" fmla="*/ 2266 w 10049"/>
                  <a:gd name="connsiteY6" fmla="*/ 253 h 10119"/>
                  <a:gd name="connsiteX7" fmla="*/ 1530 w 10049"/>
                  <a:gd name="connsiteY7" fmla="*/ 527 h 10119"/>
                  <a:gd name="connsiteX8" fmla="*/ 31 w 10049"/>
                  <a:gd name="connsiteY8" fmla="*/ 385 h 10119"/>
                  <a:gd name="connsiteX9" fmla="*/ 31 w 10049"/>
                  <a:gd name="connsiteY9" fmla="*/ 409 h 10119"/>
                  <a:gd name="connsiteX10" fmla="*/ 144 w 10049"/>
                  <a:gd name="connsiteY10" fmla="*/ 2653 h 10119"/>
                  <a:gd name="connsiteX11" fmla="*/ 856 w 10049"/>
                  <a:gd name="connsiteY11" fmla="*/ 5583 h 10119"/>
                  <a:gd name="connsiteX12" fmla="*/ 1830 w 10049"/>
                  <a:gd name="connsiteY12" fmla="*/ 8583 h 10119"/>
                  <a:gd name="connsiteX13" fmla="*/ 2129 w 10049"/>
                  <a:gd name="connsiteY13" fmla="*/ 9504 h 10119"/>
                  <a:gd name="connsiteX14" fmla="*/ 3816 w 10049"/>
                  <a:gd name="connsiteY14" fmla="*/ 10119 h 10119"/>
                  <a:gd name="connsiteX15" fmla="*/ 3779 w 10049"/>
                  <a:gd name="connsiteY15" fmla="*/ 10095 h 10119"/>
                  <a:gd name="connsiteX16" fmla="*/ 3741 w 10049"/>
                  <a:gd name="connsiteY16" fmla="*/ 10072 h 10119"/>
                  <a:gd name="connsiteX17" fmla="*/ 3478 w 10049"/>
                  <a:gd name="connsiteY17" fmla="*/ 7851 h 10119"/>
                  <a:gd name="connsiteX18" fmla="*/ 3254 w 10049"/>
                  <a:gd name="connsiteY18" fmla="*/ 4755 h 10119"/>
                  <a:gd name="connsiteX19" fmla="*/ 5803 w 10049"/>
                  <a:gd name="connsiteY19" fmla="*/ 4236 h 10119"/>
                  <a:gd name="connsiteX20" fmla="*/ 8613 w 10049"/>
                  <a:gd name="connsiteY20" fmla="*/ 4047 h 10119"/>
                  <a:gd name="connsiteX21" fmla="*/ 8688 w 10049"/>
                  <a:gd name="connsiteY21" fmla="*/ 3315 h 10119"/>
                  <a:gd name="connsiteX22" fmla="*/ 8913 w 10049"/>
                  <a:gd name="connsiteY22" fmla="*/ 2606 h 10119"/>
                  <a:gd name="connsiteX23" fmla="*/ 9963 w 10049"/>
                  <a:gd name="connsiteY23" fmla="*/ 2511 h 10119"/>
                  <a:gd name="connsiteX24" fmla="*/ 10000 w 10049"/>
                  <a:gd name="connsiteY24" fmla="*/ 2063 h 10119"/>
                  <a:gd name="connsiteX0" fmla="*/ 10077 w 10126"/>
                  <a:gd name="connsiteY0" fmla="*/ 2063 h 10119"/>
                  <a:gd name="connsiteX1" fmla="*/ 10077 w 10126"/>
                  <a:gd name="connsiteY1" fmla="*/ 1921 h 10119"/>
                  <a:gd name="connsiteX2" fmla="*/ 9408 w 10126"/>
                  <a:gd name="connsiteY2" fmla="*/ 1391 h 10119"/>
                  <a:gd name="connsiteX3" fmla="*/ 9412 w 10126"/>
                  <a:gd name="connsiteY3" fmla="*/ 56 h 10119"/>
                  <a:gd name="connsiteX4" fmla="*/ 7170 w 10126"/>
                  <a:gd name="connsiteY4" fmla="*/ 258 h 10119"/>
                  <a:gd name="connsiteX5" fmla="*/ 3694 w 10126"/>
                  <a:gd name="connsiteY5" fmla="*/ 292 h 10119"/>
                  <a:gd name="connsiteX6" fmla="*/ 2343 w 10126"/>
                  <a:gd name="connsiteY6" fmla="*/ 253 h 10119"/>
                  <a:gd name="connsiteX7" fmla="*/ 1573 w 10126"/>
                  <a:gd name="connsiteY7" fmla="*/ 421 h 10119"/>
                  <a:gd name="connsiteX8" fmla="*/ 108 w 10126"/>
                  <a:gd name="connsiteY8" fmla="*/ 385 h 10119"/>
                  <a:gd name="connsiteX9" fmla="*/ 108 w 10126"/>
                  <a:gd name="connsiteY9" fmla="*/ 409 h 10119"/>
                  <a:gd name="connsiteX10" fmla="*/ 221 w 10126"/>
                  <a:gd name="connsiteY10" fmla="*/ 2653 h 10119"/>
                  <a:gd name="connsiteX11" fmla="*/ 933 w 10126"/>
                  <a:gd name="connsiteY11" fmla="*/ 5583 h 10119"/>
                  <a:gd name="connsiteX12" fmla="*/ 1907 w 10126"/>
                  <a:gd name="connsiteY12" fmla="*/ 8583 h 10119"/>
                  <a:gd name="connsiteX13" fmla="*/ 2206 w 10126"/>
                  <a:gd name="connsiteY13" fmla="*/ 9504 h 10119"/>
                  <a:gd name="connsiteX14" fmla="*/ 3893 w 10126"/>
                  <a:gd name="connsiteY14" fmla="*/ 10119 h 10119"/>
                  <a:gd name="connsiteX15" fmla="*/ 3856 w 10126"/>
                  <a:gd name="connsiteY15" fmla="*/ 10095 h 10119"/>
                  <a:gd name="connsiteX16" fmla="*/ 3818 w 10126"/>
                  <a:gd name="connsiteY16" fmla="*/ 10072 h 10119"/>
                  <a:gd name="connsiteX17" fmla="*/ 3555 w 10126"/>
                  <a:gd name="connsiteY17" fmla="*/ 7851 h 10119"/>
                  <a:gd name="connsiteX18" fmla="*/ 3331 w 10126"/>
                  <a:gd name="connsiteY18" fmla="*/ 4755 h 10119"/>
                  <a:gd name="connsiteX19" fmla="*/ 5880 w 10126"/>
                  <a:gd name="connsiteY19" fmla="*/ 4236 h 10119"/>
                  <a:gd name="connsiteX20" fmla="*/ 8690 w 10126"/>
                  <a:gd name="connsiteY20" fmla="*/ 4047 h 10119"/>
                  <a:gd name="connsiteX21" fmla="*/ 8765 w 10126"/>
                  <a:gd name="connsiteY21" fmla="*/ 3315 h 10119"/>
                  <a:gd name="connsiteX22" fmla="*/ 8990 w 10126"/>
                  <a:gd name="connsiteY22" fmla="*/ 2606 h 10119"/>
                  <a:gd name="connsiteX23" fmla="*/ 10040 w 10126"/>
                  <a:gd name="connsiteY23" fmla="*/ 2511 h 10119"/>
                  <a:gd name="connsiteX24" fmla="*/ 10077 w 10126"/>
                  <a:gd name="connsiteY24" fmla="*/ 2063 h 10119"/>
                  <a:gd name="connsiteX0" fmla="*/ 10077 w 10126"/>
                  <a:gd name="connsiteY0" fmla="*/ 2063 h 10119"/>
                  <a:gd name="connsiteX1" fmla="*/ 10077 w 10126"/>
                  <a:gd name="connsiteY1" fmla="*/ 1921 h 10119"/>
                  <a:gd name="connsiteX2" fmla="*/ 9408 w 10126"/>
                  <a:gd name="connsiteY2" fmla="*/ 1391 h 10119"/>
                  <a:gd name="connsiteX3" fmla="*/ 9412 w 10126"/>
                  <a:gd name="connsiteY3" fmla="*/ 56 h 10119"/>
                  <a:gd name="connsiteX4" fmla="*/ 7170 w 10126"/>
                  <a:gd name="connsiteY4" fmla="*/ 258 h 10119"/>
                  <a:gd name="connsiteX5" fmla="*/ 3694 w 10126"/>
                  <a:gd name="connsiteY5" fmla="*/ 292 h 10119"/>
                  <a:gd name="connsiteX6" fmla="*/ 2343 w 10126"/>
                  <a:gd name="connsiteY6" fmla="*/ 253 h 10119"/>
                  <a:gd name="connsiteX7" fmla="*/ 1573 w 10126"/>
                  <a:gd name="connsiteY7" fmla="*/ 421 h 10119"/>
                  <a:gd name="connsiteX8" fmla="*/ 108 w 10126"/>
                  <a:gd name="connsiteY8" fmla="*/ 385 h 10119"/>
                  <a:gd name="connsiteX9" fmla="*/ 108 w 10126"/>
                  <a:gd name="connsiteY9" fmla="*/ 261 h 10119"/>
                  <a:gd name="connsiteX10" fmla="*/ 221 w 10126"/>
                  <a:gd name="connsiteY10" fmla="*/ 2653 h 10119"/>
                  <a:gd name="connsiteX11" fmla="*/ 933 w 10126"/>
                  <a:gd name="connsiteY11" fmla="*/ 5583 h 10119"/>
                  <a:gd name="connsiteX12" fmla="*/ 1907 w 10126"/>
                  <a:gd name="connsiteY12" fmla="*/ 8583 h 10119"/>
                  <a:gd name="connsiteX13" fmla="*/ 2206 w 10126"/>
                  <a:gd name="connsiteY13" fmla="*/ 9504 h 10119"/>
                  <a:gd name="connsiteX14" fmla="*/ 3893 w 10126"/>
                  <a:gd name="connsiteY14" fmla="*/ 10119 h 10119"/>
                  <a:gd name="connsiteX15" fmla="*/ 3856 w 10126"/>
                  <a:gd name="connsiteY15" fmla="*/ 10095 h 10119"/>
                  <a:gd name="connsiteX16" fmla="*/ 3818 w 10126"/>
                  <a:gd name="connsiteY16" fmla="*/ 10072 h 10119"/>
                  <a:gd name="connsiteX17" fmla="*/ 3555 w 10126"/>
                  <a:gd name="connsiteY17" fmla="*/ 7851 h 10119"/>
                  <a:gd name="connsiteX18" fmla="*/ 3331 w 10126"/>
                  <a:gd name="connsiteY18" fmla="*/ 4755 h 10119"/>
                  <a:gd name="connsiteX19" fmla="*/ 5880 w 10126"/>
                  <a:gd name="connsiteY19" fmla="*/ 4236 h 10119"/>
                  <a:gd name="connsiteX20" fmla="*/ 8690 w 10126"/>
                  <a:gd name="connsiteY20" fmla="*/ 4047 h 10119"/>
                  <a:gd name="connsiteX21" fmla="*/ 8765 w 10126"/>
                  <a:gd name="connsiteY21" fmla="*/ 3315 h 10119"/>
                  <a:gd name="connsiteX22" fmla="*/ 8990 w 10126"/>
                  <a:gd name="connsiteY22" fmla="*/ 2606 h 10119"/>
                  <a:gd name="connsiteX23" fmla="*/ 10040 w 10126"/>
                  <a:gd name="connsiteY23" fmla="*/ 2511 h 10119"/>
                  <a:gd name="connsiteX24" fmla="*/ 10077 w 10126"/>
                  <a:gd name="connsiteY24" fmla="*/ 2063 h 10119"/>
                  <a:gd name="connsiteX0" fmla="*/ 10134 w 10183"/>
                  <a:gd name="connsiteY0" fmla="*/ 2063 h 10119"/>
                  <a:gd name="connsiteX1" fmla="*/ 10134 w 10183"/>
                  <a:gd name="connsiteY1" fmla="*/ 1921 h 10119"/>
                  <a:gd name="connsiteX2" fmla="*/ 9465 w 10183"/>
                  <a:gd name="connsiteY2" fmla="*/ 1391 h 10119"/>
                  <a:gd name="connsiteX3" fmla="*/ 9469 w 10183"/>
                  <a:gd name="connsiteY3" fmla="*/ 56 h 10119"/>
                  <a:gd name="connsiteX4" fmla="*/ 7227 w 10183"/>
                  <a:gd name="connsiteY4" fmla="*/ 258 h 10119"/>
                  <a:gd name="connsiteX5" fmla="*/ 3751 w 10183"/>
                  <a:gd name="connsiteY5" fmla="*/ 292 h 10119"/>
                  <a:gd name="connsiteX6" fmla="*/ 2400 w 10183"/>
                  <a:gd name="connsiteY6" fmla="*/ 253 h 10119"/>
                  <a:gd name="connsiteX7" fmla="*/ 1630 w 10183"/>
                  <a:gd name="connsiteY7" fmla="*/ 421 h 10119"/>
                  <a:gd name="connsiteX8" fmla="*/ 98 w 10183"/>
                  <a:gd name="connsiteY8" fmla="*/ 195 h 10119"/>
                  <a:gd name="connsiteX9" fmla="*/ 165 w 10183"/>
                  <a:gd name="connsiteY9" fmla="*/ 261 h 10119"/>
                  <a:gd name="connsiteX10" fmla="*/ 278 w 10183"/>
                  <a:gd name="connsiteY10" fmla="*/ 2653 h 10119"/>
                  <a:gd name="connsiteX11" fmla="*/ 990 w 10183"/>
                  <a:gd name="connsiteY11" fmla="*/ 5583 h 10119"/>
                  <a:gd name="connsiteX12" fmla="*/ 1964 w 10183"/>
                  <a:gd name="connsiteY12" fmla="*/ 8583 h 10119"/>
                  <a:gd name="connsiteX13" fmla="*/ 2263 w 10183"/>
                  <a:gd name="connsiteY13" fmla="*/ 9504 h 10119"/>
                  <a:gd name="connsiteX14" fmla="*/ 3950 w 10183"/>
                  <a:gd name="connsiteY14" fmla="*/ 10119 h 10119"/>
                  <a:gd name="connsiteX15" fmla="*/ 3913 w 10183"/>
                  <a:gd name="connsiteY15" fmla="*/ 10095 h 10119"/>
                  <a:gd name="connsiteX16" fmla="*/ 3875 w 10183"/>
                  <a:gd name="connsiteY16" fmla="*/ 10072 h 10119"/>
                  <a:gd name="connsiteX17" fmla="*/ 3612 w 10183"/>
                  <a:gd name="connsiteY17" fmla="*/ 7851 h 10119"/>
                  <a:gd name="connsiteX18" fmla="*/ 3388 w 10183"/>
                  <a:gd name="connsiteY18" fmla="*/ 4755 h 10119"/>
                  <a:gd name="connsiteX19" fmla="*/ 5937 w 10183"/>
                  <a:gd name="connsiteY19" fmla="*/ 4236 h 10119"/>
                  <a:gd name="connsiteX20" fmla="*/ 8747 w 10183"/>
                  <a:gd name="connsiteY20" fmla="*/ 4047 h 10119"/>
                  <a:gd name="connsiteX21" fmla="*/ 8822 w 10183"/>
                  <a:gd name="connsiteY21" fmla="*/ 3315 h 10119"/>
                  <a:gd name="connsiteX22" fmla="*/ 9047 w 10183"/>
                  <a:gd name="connsiteY22" fmla="*/ 2606 h 10119"/>
                  <a:gd name="connsiteX23" fmla="*/ 10097 w 10183"/>
                  <a:gd name="connsiteY23" fmla="*/ 2511 h 10119"/>
                  <a:gd name="connsiteX24" fmla="*/ 10134 w 10183"/>
                  <a:gd name="connsiteY24" fmla="*/ 2063 h 1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83" h="10119">
                    <a:moveTo>
                      <a:pt x="10134" y="2063"/>
                    </a:moveTo>
                    <a:cubicBezTo>
                      <a:pt x="10134" y="2016"/>
                      <a:pt x="10245" y="2033"/>
                      <a:pt x="10134" y="1921"/>
                    </a:cubicBezTo>
                    <a:cubicBezTo>
                      <a:pt x="10023" y="1809"/>
                      <a:pt x="9576" y="1702"/>
                      <a:pt x="9465" y="1391"/>
                    </a:cubicBezTo>
                    <a:cubicBezTo>
                      <a:pt x="9354" y="1080"/>
                      <a:pt x="9842" y="245"/>
                      <a:pt x="9469" y="56"/>
                    </a:cubicBezTo>
                    <a:cubicBezTo>
                      <a:pt x="9096" y="-133"/>
                      <a:pt x="8180" y="219"/>
                      <a:pt x="7227" y="258"/>
                    </a:cubicBezTo>
                    <a:cubicBezTo>
                      <a:pt x="6274" y="297"/>
                      <a:pt x="4555" y="293"/>
                      <a:pt x="3751" y="292"/>
                    </a:cubicBezTo>
                    <a:cubicBezTo>
                      <a:pt x="2947" y="291"/>
                      <a:pt x="2753" y="232"/>
                      <a:pt x="2400" y="253"/>
                    </a:cubicBezTo>
                    <a:cubicBezTo>
                      <a:pt x="2047" y="274"/>
                      <a:pt x="2342" y="397"/>
                      <a:pt x="1630" y="421"/>
                    </a:cubicBezTo>
                    <a:cubicBezTo>
                      <a:pt x="956" y="421"/>
                      <a:pt x="342" y="222"/>
                      <a:pt x="98" y="195"/>
                    </a:cubicBezTo>
                    <a:cubicBezTo>
                      <a:pt x="-146" y="168"/>
                      <a:pt x="135" y="-149"/>
                      <a:pt x="165" y="261"/>
                    </a:cubicBezTo>
                    <a:cubicBezTo>
                      <a:pt x="195" y="671"/>
                      <a:pt x="165" y="2156"/>
                      <a:pt x="278" y="2653"/>
                    </a:cubicBezTo>
                    <a:cubicBezTo>
                      <a:pt x="390" y="3197"/>
                      <a:pt x="689" y="4449"/>
                      <a:pt x="990" y="5583"/>
                    </a:cubicBezTo>
                    <a:cubicBezTo>
                      <a:pt x="1326" y="6693"/>
                      <a:pt x="1776" y="8040"/>
                      <a:pt x="1964" y="8583"/>
                    </a:cubicBezTo>
                    <a:cubicBezTo>
                      <a:pt x="2114" y="9127"/>
                      <a:pt x="2263" y="9504"/>
                      <a:pt x="2263" y="9504"/>
                    </a:cubicBezTo>
                    <a:cubicBezTo>
                      <a:pt x="2564" y="9812"/>
                      <a:pt x="3388" y="10001"/>
                      <a:pt x="3950" y="10119"/>
                    </a:cubicBezTo>
                    <a:cubicBezTo>
                      <a:pt x="3950" y="10095"/>
                      <a:pt x="3913" y="10095"/>
                      <a:pt x="3913" y="10095"/>
                    </a:cubicBezTo>
                    <a:cubicBezTo>
                      <a:pt x="3913" y="10072"/>
                      <a:pt x="3875" y="10072"/>
                      <a:pt x="3875" y="10072"/>
                    </a:cubicBezTo>
                    <a:cubicBezTo>
                      <a:pt x="3875" y="9528"/>
                      <a:pt x="3612" y="7851"/>
                      <a:pt x="3612" y="7851"/>
                    </a:cubicBezTo>
                    <a:cubicBezTo>
                      <a:pt x="3388" y="5937"/>
                      <a:pt x="3313" y="5063"/>
                      <a:pt x="3388" y="4755"/>
                    </a:cubicBezTo>
                    <a:cubicBezTo>
                      <a:pt x="3463" y="4449"/>
                      <a:pt x="4175" y="4307"/>
                      <a:pt x="5937" y="4236"/>
                    </a:cubicBezTo>
                    <a:cubicBezTo>
                      <a:pt x="7735" y="4165"/>
                      <a:pt x="8673" y="4094"/>
                      <a:pt x="8747" y="4047"/>
                    </a:cubicBezTo>
                    <a:cubicBezTo>
                      <a:pt x="8822" y="4000"/>
                      <a:pt x="8822" y="3315"/>
                      <a:pt x="8822" y="3315"/>
                    </a:cubicBezTo>
                    <a:cubicBezTo>
                      <a:pt x="8822" y="2558"/>
                      <a:pt x="9047" y="2606"/>
                      <a:pt x="9047" y="2606"/>
                    </a:cubicBezTo>
                    <a:cubicBezTo>
                      <a:pt x="9123" y="2558"/>
                      <a:pt x="9572" y="2535"/>
                      <a:pt x="10097" y="2511"/>
                    </a:cubicBezTo>
                    <a:cubicBezTo>
                      <a:pt x="10134" y="2346"/>
                      <a:pt x="10134" y="2180"/>
                      <a:pt x="10134" y="206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31">
                <a:extLst>
                  <a:ext uri="{FF2B5EF4-FFF2-40B4-BE49-F238E27FC236}">
                    <a16:creationId xmlns:a16="http://schemas.microsoft.com/office/drawing/2014/main" id="{03BBEE8C-27E5-4DDC-839F-833DA61063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3890" y="3520785"/>
                <a:ext cx="196850" cy="242888"/>
              </a:xfrm>
              <a:custGeom>
                <a:avLst/>
                <a:gdLst>
                  <a:gd name="T0" fmla="*/ 72 w 74"/>
                  <a:gd name="T1" fmla="*/ 28 h 91"/>
                  <a:gd name="T2" fmla="*/ 71 w 74"/>
                  <a:gd name="T3" fmla="*/ 17 h 91"/>
                  <a:gd name="T4" fmla="*/ 70 w 74"/>
                  <a:gd name="T5" fmla="*/ 11 h 91"/>
                  <a:gd name="T6" fmla="*/ 6 w 74"/>
                  <a:gd name="T7" fmla="*/ 5 h 91"/>
                  <a:gd name="T8" fmla="*/ 4 w 74"/>
                  <a:gd name="T9" fmla="*/ 10 h 91"/>
                  <a:gd name="T10" fmla="*/ 0 w 74"/>
                  <a:gd name="T11" fmla="*/ 30 h 91"/>
                  <a:gd name="T12" fmla="*/ 1 w 74"/>
                  <a:gd name="T13" fmla="*/ 56 h 91"/>
                  <a:gd name="T14" fmla="*/ 2 w 74"/>
                  <a:gd name="T15" fmla="*/ 66 h 91"/>
                  <a:gd name="T16" fmla="*/ 26 w 74"/>
                  <a:gd name="T17" fmla="*/ 69 h 91"/>
                  <a:gd name="T18" fmla="*/ 42 w 74"/>
                  <a:gd name="T19" fmla="*/ 70 h 91"/>
                  <a:gd name="T20" fmla="*/ 60 w 74"/>
                  <a:gd name="T21" fmla="*/ 66 h 91"/>
                  <a:gd name="T22" fmla="*/ 70 w 74"/>
                  <a:gd name="T23" fmla="*/ 68 h 91"/>
                  <a:gd name="T24" fmla="*/ 72 w 74"/>
                  <a:gd name="T25" fmla="*/ 61 h 91"/>
                  <a:gd name="T26" fmla="*/ 72 w 74"/>
                  <a:gd name="T27" fmla="*/ 2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4" h="91">
                    <a:moveTo>
                      <a:pt x="72" y="28"/>
                    </a:moveTo>
                    <a:cubicBezTo>
                      <a:pt x="72" y="24"/>
                      <a:pt x="71" y="20"/>
                      <a:pt x="71" y="17"/>
                    </a:cubicBezTo>
                    <a:cubicBezTo>
                      <a:pt x="70" y="13"/>
                      <a:pt x="70" y="11"/>
                      <a:pt x="70" y="11"/>
                    </a:cubicBezTo>
                    <a:cubicBezTo>
                      <a:pt x="44" y="0"/>
                      <a:pt x="6" y="5"/>
                      <a:pt x="6" y="5"/>
                    </a:cubicBezTo>
                    <a:cubicBezTo>
                      <a:pt x="5" y="7"/>
                      <a:pt x="4" y="8"/>
                      <a:pt x="4" y="10"/>
                    </a:cubicBezTo>
                    <a:cubicBezTo>
                      <a:pt x="2" y="16"/>
                      <a:pt x="1" y="23"/>
                      <a:pt x="0" y="30"/>
                    </a:cubicBezTo>
                    <a:cubicBezTo>
                      <a:pt x="0" y="40"/>
                      <a:pt x="0" y="50"/>
                      <a:pt x="1" y="56"/>
                    </a:cubicBezTo>
                    <a:cubicBezTo>
                      <a:pt x="2" y="62"/>
                      <a:pt x="2" y="66"/>
                      <a:pt x="2" y="66"/>
                    </a:cubicBezTo>
                    <a:cubicBezTo>
                      <a:pt x="10" y="91"/>
                      <a:pt x="26" y="69"/>
                      <a:pt x="26" y="69"/>
                    </a:cubicBezTo>
                    <a:cubicBezTo>
                      <a:pt x="34" y="85"/>
                      <a:pt x="42" y="70"/>
                      <a:pt x="42" y="70"/>
                    </a:cubicBezTo>
                    <a:cubicBezTo>
                      <a:pt x="57" y="85"/>
                      <a:pt x="60" y="66"/>
                      <a:pt x="60" y="66"/>
                    </a:cubicBezTo>
                    <a:cubicBezTo>
                      <a:pt x="61" y="68"/>
                      <a:pt x="70" y="68"/>
                      <a:pt x="70" y="68"/>
                    </a:cubicBezTo>
                    <a:cubicBezTo>
                      <a:pt x="71" y="66"/>
                      <a:pt x="71" y="63"/>
                      <a:pt x="72" y="61"/>
                    </a:cubicBezTo>
                    <a:cubicBezTo>
                      <a:pt x="74" y="50"/>
                      <a:pt x="73" y="38"/>
                      <a:pt x="72" y="28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32">
                <a:extLst>
                  <a:ext uri="{FF2B5EF4-FFF2-40B4-BE49-F238E27FC236}">
                    <a16:creationId xmlns:a16="http://schemas.microsoft.com/office/drawing/2014/main" id="{A9E7C245-067A-4440-870E-CF5385C943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80713" y="1815980"/>
                <a:ext cx="1437402" cy="1747702"/>
              </a:xfrm>
              <a:custGeom>
                <a:avLst/>
                <a:gdLst>
                  <a:gd name="T0" fmla="*/ 538 w 543"/>
                  <a:gd name="T1" fmla="*/ 390 h 663"/>
                  <a:gd name="T2" fmla="*/ 542 w 543"/>
                  <a:gd name="T3" fmla="*/ 345 h 663"/>
                  <a:gd name="T4" fmla="*/ 536 w 543"/>
                  <a:gd name="T5" fmla="*/ 302 h 663"/>
                  <a:gd name="T6" fmla="*/ 537 w 543"/>
                  <a:gd name="T7" fmla="*/ 247 h 663"/>
                  <a:gd name="T8" fmla="*/ 535 w 543"/>
                  <a:gd name="T9" fmla="*/ 198 h 663"/>
                  <a:gd name="T10" fmla="*/ 527 w 543"/>
                  <a:gd name="T11" fmla="*/ 106 h 663"/>
                  <a:gd name="T12" fmla="*/ 494 w 543"/>
                  <a:gd name="T13" fmla="*/ 56 h 663"/>
                  <a:gd name="T14" fmla="*/ 442 w 543"/>
                  <a:gd name="T15" fmla="*/ 46 h 663"/>
                  <a:gd name="T16" fmla="*/ 412 w 543"/>
                  <a:gd name="T17" fmla="*/ 36 h 663"/>
                  <a:gd name="T18" fmla="*/ 393 w 543"/>
                  <a:gd name="T19" fmla="*/ 10 h 663"/>
                  <a:gd name="T20" fmla="*/ 377 w 543"/>
                  <a:gd name="T21" fmla="*/ 6 h 663"/>
                  <a:gd name="T22" fmla="*/ 375 w 543"/>
                  <a:gd name="T23" fmla="*/ 13 h 663"/>
                  <a:gd name="T24" fmla="*/ 374 w 543"/>
                  <a:gd name="T25" fmla="*/ 25 h 663"/>
                  <a:gd name="T26" fmla="*/ 262 w 543"/>
                  <a:gd name="T27" fmla="*/ 159 h 663"/>
                  <a:gd name="T28" fmla="*/ 241 w 543"/>
                  <a:gd name="T29" fmla="*/ 185 h 663"/>
                  <a:gd name="T30" fmla="*/ 242 w 543"/>
                  <a:gd name="T31" fmla="*/ 171 h 663"/>
                  <a:gd name="T32" fmla="*/ 263 w 543"/>
                  <a:gd name="T33" fmla="*/ 110 h 663"/>
                  <a:gd name="T34" fmla="*/ 275 w 543"/>
                  <a:gd name="T35" fmla="*/ 79 h 663"/>
                  <a:gd name="T36" fmla="*/ 274 w 543"/>
                  <a:gd name="T37" fmla="*/ 55 h 663"/>
                  <a:gd name="T38" fmla="*/ 273 w 543"/>
                  <a:gd name="T39" fmla="*/ 55 h 663"/>
                  <a:gd name="T40" fmla="*/ 253 w 543"/>
                  <a:gd name="T41" fmla="*/ 78 h 663"/>
                  <a:gd name="T42" fmla="*/ 212 w 543"/>
                  <a:gd name="T43" fmla="*/ 100 h 663"/>
                  <a:gd name="T44" fmla="*/ 170 w 543"/>
                  <a:gd name="T45" fmla="*/ 129 h 663"/>
                  <a:gd name="T46" fmla="*/ 158 w 543"/>
                  <a:gd name="T47" fmla="*/ 190 h 663"/>
                  <a:gd name="T48" fmla="*/ 149 w 543"/>
                  <a:gd name="T49" fmla="*/ 269 h 663"/>
                  <a:gd name="T50" fmla="*/ 143 w 543"/>
                  <a:gd name="T51" fmla="*/ 292 h 663"/>
                  <a:gd name="T52" fmla="*/ 124 w 543"/>
                  <a:gd name="T53" fmla="*/ 317 h 663"/>
                  <a:gd name="T54" fmla="*/ 88 w 543"/>
                  <a:gd name="T55" fmla="*/ 323 h 663"/>
                  <a:gd name="T56" fmla="*/ 40 w 543"/>
                  <a:gd name="T57" fmla="*/ 310 h 663"/>
                  <a:gd name="T58" fmla="*/ 32 w 543"/>
                  <a:gd name="T59" fmla="*/ 308 h 663"/>
                  <a:gd name="T60" fmla="*/ 42 w 543"/>
                  <a:gd name="T61" fmla="*/ 347 h 663"/>
                  <a:gd name="T62" fmla="*/ 17 w 543"/>
                  <a:gd name="T63" fmla="*/ 379 h 663"/>
                  <a:gd name="T64" fmla="*/ 5 w 543"/>
                  <a:gd name="T65" fmla="*/ 383 h 663"/>
                  <a:gd name="T66" fmla="*/ 4 w 543"/>
                  <a:gd name="T67" fmla="*/ 418 h 663"/>
                  <a:gd name="T68" fmla="*/ 75 w 543"/>
                  <a:gd name="T69" fmla="*/ 422 h 663"/>
                  <a:gd name="T70" fmla="*/ 124 w 543"/>
                  <a:gd name="T71" fmla="*/ 424 h 663"/>
                  <a:gd name="T72" fmla="*/ 177 w 543"/>
                  <a:gd name="T73" fmla="*/ 417 h 663"/>
                  <a:gd name="T74" fmla="*/ 190 w 543"/>
                  <a:gd name="T75" fmla="*/ 432 h 663"/>
                  <a:gd name="T76" fmla="*/ 186 w 543"/>
                  <a:gd name="T77" fmla="*/ 506 h 663"/>
                  <a:gd name="T78" fmla="*/ 184 w 543"/>
                  <a:gd name="T79" fmla="*/ 576 h 663"/>
                  <a:gd name="T80" fmla="*/ 188 w 543"/>
                  <a:gd name="T81" fmla="*/ 585 h 663"/>
                  <a:gd name="T82" fmla="*/ 188 w 543"/>
                  <a:gd name="T83" fmla="*/ 584 h 663"/>
                  <a:gd name="T84" fmla="*/ 228 w 543"/>
                  <a:gd name="T85" fmla="*/ 590 h 663"/>
                  <a:gd name="T86" fmla="*/ 253 w 543"/>
                  <a:gd name="T87" fmla="*/ 582 h 663"/>
                  <a:gd name="T88" fmla="*/ 281 w 543"/>
                  <a:gd name="T89" fmla="*/ 589 h 663"/>
                  <a:gd name="T90" fmla="*/ 380 w 543"/>
                  <a:gd name="T91" fmla="*/ 584 h 663"/>
                  <a:gd name="T92" fmla="*/ 430 w 543"/>
                  <a:gd name="T93" fmla="*/ 579 h 663"/>
                  <a:gd name="T94" fmla="*/ 429 w 543"/>
                  <a:gd name="T95" fmla="*/ 640 h 663"/>
                  <a:gd name="T96" fmla="*/ 454 w 543"/>
                  <a:gd name="T97" fmla="*/ 649 h 663"/>
                  <a:gd name="T98" fmla="*/ 454 w 543"/>
                  <a:gd name="T99" fmla="*/ 655 h 663"/>
                  <a:gd name="T100" fmla="*/ 458 w 543"/>
                  <a:gd name="T101" fmla="*/ 654 h 663"/>
                  <a:gd name="T102" fmla="*/ 460 w 543"/>
                  <a:gd name="T103" fmla="*/ 649 h 663"/>
                  <a:gd name="T104" fmla="*/ 524 w 543"/>
                  <a:gd name="T105" fmla="*/ 655 h 663"/>
                  <a:gd name="T106" fmla="*/ 525 w 543"/>
                  <a:gd name="T107" fmla="*/ 661 h 663"/>
                  <a:gd name="T108" fmla="*/ 534 w 543"/>
                  <a:gd name="T109" fmla="*/ 660 h 663"/>
                  <a:gd name="T110" fmla="*/ 536 w 543"/>
                  <a:gd name="T111" fmla="*/ 596 h 663"/>
                  <a:gd name="T112" fmla="*/ 537 w 543"/>
                  <a:gd name="T113" fmla="*/ 503 h 663"/>
                  <a:gd name="T114" fmla="*/ 542 w 543"/>
                  <a:gd name="T115" fmla="*/ 468 h 663"/>
                  <a:gd name="T116" fmla="*/ 538 w 543"/>
                  <a:gd name="T117" fmla="*/ 390 h 663"/>
                  <a:gd name="connsiteX0" fmla="*/ 9874 w 9950"/>
                  <a:gd name="connsiteY0" fmla="*/ 5845 h 9948"/>
                  <a:gd name="connsiteX1" fmla="*/ 9948 w 9950"/>
                  <a:gd name="connsiteY1" fmla="*/ 5167 h 9948"/>
                  <a:gd name="connsiteX2" fmla="*/ 9837 w 9950"/>
                  <a:gd name="connsiteY2" fmla="*/ 4518 h 9948"/>
                  <a:gd name="connsiteX3" fmla="*/ 9856 w 9950"/>
                  <a:gd name="connsiteY3" fmla="*/ 3688 h 9948"/>
                  <a:gd name="connsiteX4" fmla="*/ 9819 w 9950"/>
                  <a:gd name="connsiteY4" fmla="*/ 2949 h 9948"/>
                  <a:gd name="connsiteX5" fmla="*/ 9671 w 9950"/>
                  <a:gd name="connsiteY5" fmla="*/ 1562 h 9948"/>
                  <a:gd name="connsiteX6" fmla="*/ 9064 w 9950"/>
                  <a:gd name="connsiteY6" fmla="*/ 808 h 9948"/>
                  <a:gd name="connsiteX7" fmla="*/ 8106 w 9950"/>
                  <a:gd name="connsiteY7" fmla="*/ 657 h 9948"/>
                  <a:gd name="connsiteX8" fmla="*/ 7553 w 9950"/>
                  <a:gd name="connsiteY8" fmla="*/ 506 h 9948"/>
                  <a:gd name="connsiteX9" fmla="*/ 7204 w 9950"/>
                  <a:gd name="connsiteY9" fmla="*/ 114 h 9948"/>
                  <a:gd name="connsiteX10" fmla="*/ 6909 w 9950"/>
                  <a:gd name="connsiteY10" fmla="*/ 53 h 9948"/>
                  <a:gd name="connsiteX11" fmla="*/ 6872 w 9950"/>
                  <a:gd name="connsiteY11" fmla="*/ 159 h 9948"/>
                  <a:gd name="connsiteX12" fmla="*/ 6854 w 9950"/>
                  <a:gd name="connsiteY12" fmla="*/ 340 h 9948"/>
                  <a:gd name="connsiteX13" fmla="*/ 4791 w 9950"/>
                  <a:gd name="connsiteY13" fmla="*/ 2361 h 9948"/>
                  <a:gd name="connsiteX14" fmla="*/ 4404 w 9950"/>
                  <a:gd name="connsiteY14" fmla="*/ 2753 h 9948"/>
                  <a:gd name="connsiteX15" fmla="*/ 4423 w 9950"/>
                  <a:gd name="connsiteY15" fmla="*/ 2542 h 9948"/>
                  <a:gd name="connsiteX16" fmla="*/ 4809 w 9950"/>
                  <a:gd name="connsiteY16" fmla="*/ 1622 h 9948"/>
                  <a:gd name="connsiteX17" fmla="*/ 5030 w 9950"/>
                  <a:gd name="connsiteY17" fmla="*/ 1155 h 9948"/>
                  <a:gd name="connsiteX18" fmla="*/ 5012 w 9950"/>
                  <a:gd name="connsiteY18" fmla="*/ 793 h 9948"/>
                  <a:gd name="connsiteX19" fmla="*/ 4994 w 9950"/>
                  <a:gd name="connsiteY19" fmla="*/ 793 h 9948"/>
                  <a:gd name="connsiteX20" fmla="*/ 4625 w 9950"/>
                  <a:gd name="connsiteY20" fmla="*/ 1139 h 9948"/>
                  <a:gd name="connsiteX21" fmla="*/ 3870 w 9950"/>
                  <a:gd name="connsiteY21" fmla="*/ 1471 h 9948"/>
                  <a:gd name="connsiteX22" fmla="*/ 3097 w 9950"/>
                  <a:gd name="connsiteY22" fmla="*/ 1909 h 9948"/>
                  <a:gd name="connsiteX23" fmla="*/ 2876 w 9950"/>
                  <a:gd name="connsiteY23" fmla="*/ 2829 h 9948"/>
                  <a:gd name="connsiteX24" fmla="*/ 2710 w 9950"/>
                  <a:gd name="connsiteY24" fmla="*/ 4020 h 9948"/>
                  <a:gd name="connsiteX25" fmla="*/ 2600 w 9950"/>
                  <a:gd name="connsiteY25" fmla="*/ 4367 h 9948"/>
                  <a:gd name="connsiteX26" fmla="*/ 2250 w 9950"/>
                  <a:gd name="connsiteY26" fmla="*/ 4744 h 9948"/>
                  <a:gd name="connsiteX27" fmla="*/ 1587 w 9950"/>
                  <a:gd name="connsiteY27" fmla="*/ 4835 h 9948"/>
                  <a:gd name="connsiteX28" fmla="*/ 703 w 9950"/>
                  <a:gd name="connsiteY28" fmla="*/ 4639 h 9948"/>
                  <a:gd name="connsiteX29" fmla="*/ 555 w 9950"/>
                  <a:gd name="connsiteY29" fmla="*/ 4609 h 9948"/>
                  <a:gd name="connsiteX30" fmla="*/ 739 w 9950"/>
                  <a:gd name="connsiteY30" fmla="*/ 5197 h 9948"/>
                  <a:gd name="connsiteX31" fmla="*/ 279 w 9950"/>
                  <a:gd name="connsiteY31" fmla="*/ 5679 h 9948"/>
                  <a:gd name="connsiteX32" fmla="*/ 58 w 9950"/>
                  <a:gd name="connsiteY32" fmla="*/ 5740 h 9948"/>
                  <a:gd name="connsiteX33" fmla="*/ 40 w 9950"/>
                  <a:gd name="connsiteY33" fmla="*/ 6268 h 9948"/>
                  <a:gd name="connsiteX34" fmla="*/ 1347 w 9950"/>
                  <a:gd name="connsiteY34" fmla="*/ 6328 h 9948"/>
                  <a:gd name="connsiteX35" fmla="*/ 2250 w 9950"/>
                  <a:gd name="connsiteY35" fmla="*/ 6358 h 9948"/>
                  <a:gd name="connsiteX36" fmla="*/ 3226 w 9950"/>
                  <a:gd name="connsiteY36" fmla="*/ 6253 h 9948"/>
                  <a:gd name="connsiteX37" fmla="*/ 3465 w 9950"/>
                  <a:gd name="connsiteY37" fmla="*/ 6479 h 9948"/>
                  <a:gd name="connsiteX38" fmla="*/ 3391 w 9950"/>
                  <a:gd name="connsiteY38" fmla="*/ 7595 h 9948"/>
                  <a:gd name="connsiteX39" fmla="*/ 3355 w 9950"/>
                  <a:gd name="connsiteY39" fmla="*/ 8651 h 9948"/>
                  <a:gd name="connsiteX40" fmla="*/ 3428 w 9950"/>
                  <a:gd name="connsiteY40" fmla="*/ 8787 h 9948"/>
                  <a:gd name="connsiteX41" fmla="*/ 3428 w 9950"/>
                  <a:gd name="connsiteY41" fmla="*/ 8771 h 9948"/>
                  <a:gd name="connsiteX42" fmla="*/ 4165 w 9950"/>
                  <a:gd name="connsiteY42" fmla="*/ 8862 h 9948"/>
                  <a:gd name="connsiteX43" fmla="*/ 4625 w 9950"/>
                  <a:gd name="connsiteY43" fmla="*/ 8741 h 9948"/>
                  <a:gd name="connsiteX44" fmla="*/ 5141 w 9950"/>
                  <a:gd name="connsiteY44" fmla="*/ 8847 h 9948"/>
                  <a:gd name="connsiteX45" fmla="*/ 6964 w 9950"/>
                  <a:gd name="connsiteY45" fmla="*/ 8771 h 9948"/>
                  <a:gd name="connsiteX46" fmla="*/ 7885 w 9950"/>
                  <a:gd name="connsiteY46" fmla="*/ 8696 h 9948"/>
                  <a:gd name="connsiteX47" fmla="*/ 7867 w 9950"/>
                  <a:gd name="connsiteY47" fmla="*/ 9616 h 9948"/>
                  <a:gd name="connsiteX48" fmla="*/ 8327 w 9950"/>
                  <a:gd name="connsiteY48" fmla="*/ 9752 h 9948"/>
                  <a:gd name="connsiteX49" fmla="*/ 8327 w 9950"/>
                  <a:gd name="connsiteY49" fmla="*/ 9842 h 9948"/>
                  <a:gd name="connsiteX50" fmla="*/ 8401 w 9950"/>
                  <a:gd name="connsiteY50" fmla="*/ 9827 h 9948"/>
                  <a:gd name="connsiteX51" fmla="*/ 8481 w 9950"/>
                  <a:gd name="connsiteY51" fmla="*/ 9785 h 9948"/>
                  <a:gd name="connsiteX52" fmla="*/ 9616 w 9950"/>
                  <a:gd name="connsiteY52" fmla="*/ 9842 h 9948"/>
                  <a:gd name="connsiteX53" fmla="*/ 9635 w 9950"/>
                  <a:gd name="connsiteY53" fmla="*/ 9933 h 9948"/>
                  <a:gd name="connsiteX54" fmla="*/ 9800 w 9950"/>
                  <a:gd name="connsiteY54" fmla="*/ 9918 h 9948"/>
                  <a:gd name="connsiteX55" fmla="*/ 9837 w 9950"/>
                  <a:gd name="connsiteY55" fmla="*/ 8952 h 9948"/>
                  <a:gd name="connsiteX56" fmla="*/ 9856 w 9950"/>
                  <a:gd name="connsiteY56" fmla="*/ 7550 h 9948"/>
                  <a:gd name="connsiteX57" fmla="*/ 9948 w 9950"/>
                  <a:gd name="connsiteY57" fmla="*/ 7022 h 9948"/>
                  <a:gd name="connsiteX58" fmla="*/ 9874 w 9950"/>
                  <a:gd name="connsiteY58" fmla="*/ 5845 h 9948"/>
                  <a:gd name="connsiteX0" fmla="*/ 9924 w 10000"/>
                  <a:gd name="connsiteY0" fmla="*/ 5876 h 10000"/>
                  <a:gd name="connsiteX1" fmla="*/ 9998 w 10000"/>
                  <a:gd name="connsiteY1" fmla="*/ 5194 h 10000"/>
                  <a:gd name="connsiteX2" fmla="*/ 9886 w 10000"/>
                  <a:gd name="connsiteY2" fmla="*/ 4542 h 10000"/>
                  <a:gd name="connsiteX3" fmla="*/ 9906 w 10000"/>
                  <a:gd name="connsiteY3" fmla="*/ 3707 h 10000"/>
                  <a:gd name="connsiteX4" fmla="*/ 9868 w 10000"/>
                  <a:gd name="connsiteY4" fmla="*/ 2964 h 10000"/>
                  <a:gd name="connsiteX5" fmla="*/ 9720 w 10000"/>
                  <a:gd name="connsiteY5" fmla="*/ 1570 h 10000"/>
                  <a:gd name="connsiteX6" fmla="*/ 9110 w 10000"/>
                  <a:gd name="connsiteY6" fmla="*/ 812 h 10000"/>
                  <a:gd name="connsiteX7" fmla="*/ 8147 w 10000"/>
                  <a:gd name="connsiteY7" fmla="*/ 660 h 10000"/>
                  <a:gd name="connsiteX8" fmla="*/ 7591 w 10000"/>
                  <a:gd name="connsiteY8" fmla="*/ 509 h 10000"/>
                  <a:gd name="connsiteX9" fmla="*/ 7240 w 10000"/>
                  <a:gd name="connsiteY9" fmla="*/ 115 h 10000"/>
                  <a:gd name="connsiteX10" fmla="*/ 6944 w 10000"/>
                  <a:gd name="connsiteY10" fmla="*/ 53 h 10000"/>
                  <a:gd name="connsiteX11" fmla="*/ 6907 w 10000"/>
                  <a:gd name="connsiteY11" fmla="*/ 160 h 10000"/>
                  <a:gd name="connsiteX12" fmla="*/ 6888 w 10000"/>
                  <a:gd name="connsiteY12" fmla="*/ 342 h 10000"/>
                  <a:gd name="connsiteX13" fmla="*/ 4815 w 10000"/>
                  <a:gd name="connsiteY13" fmla="*/ 2373 h 10000"/>
                  <a:gd name="connsiteX14" fmla="*/ 4426 w 10000"/>
                  <a:gd name="connsiteY14" fmla="*/ 2767 h 10000"/>
                  <a:gd name="connsiteX15" fmla="*/ 4445 w 10000"/>
                  <a:gd name="connsiteY15" fmla="*/ 2555 h 10000"/>
                  <a:gd name="connsiteX16" fmla="*/ 4833 w 10000"/>
                  <a:gd name="connsiteY16" fmla="*/ 1630 h 10000"/>
                  <a:gd name="connsiteX17" fmla="*/ 5055 w 10000"/>
                  <a:gd name="connsiteY17" fmla="*/ 1161 h 10000"/>
                  <a:gd name="connsiteX18" fmla="*/ 5037 w 10000"/>
                  <a:gd name="connsiteY18" fmla="*/ 797 h 10000"/>
                  <a:gd name="connsiteX19" fmla="*/ 5019 w 10000"/>
                  <a:gd name="connsiteY19" fmla="*/ 797 h 10000"/>
                  <a:gd name="connsiteX20" fmla="*/ 4648 w 10000"/>
                  <a:gd name="connsiteY20" fmla="*/ 1145 h 10000"/>
                  <a:gd name="connsiteX21" fmla="*/ 3889 w 10000"/>
                  <a:gd name="connsiteY21" fmla="*/ 1479 h 10000"/>
                  <a:gd name="connsiteX22" fmla="*/ 3113 w 10000"/>
                  <a:gd name="connsiteY22" fmla="*/ 1919 h 10000"/>
                  <a:gd name="connsiteX23" fmla="*/ 2890 w 10000"/>
                  <a:gd name="connsiteY23" fmla="*/ 2844 h 10000"/>
                  <a:gd name="connsiteX24" fmla="*/ 2724 w 10000"/>
                  <a:gd name="connsiteY24" fmla="*/ 4041 h 10000"/>
                  <a:gd name="connsiteX25" fmla="*/ 2613 w 10000"/>
                  <a:gd name="connsiteY25" fmla="*/ 4390 h 10000"/>
                  <a:gd name="connsiteX26" fmla="*/ 2261 w 10000"/>
                  <a:gd name="connsiteY26" fmla="*/ 4769 h 10000"/>
                  <a:gd name="connsiteX27" fmla="*/ 1595 w 10000"/>
                  <a:gd name="connsiteY27" fmla="*/ 4860 h 10000"/>
                  <a:gd name="connsiteX28" fmla="*/ 707 w 10000"/>
                  <a:gd name="connsiteY28" fmla="*/ 4663 h 10000"/>
                  <a:gd name="connsiteX29" fmla="*/ 558 w 10000"/>
                  <a:gd name="connsiteY29" fmla="*/ 4633 h 10000"/>
                  <a:gd name="connsiteX30" fmla="*/ 743 w 10000"/>
                  <a:gd name="connsiteY30" fmla="*/ 5224 h 10000"/>
                  <a:gd name="connsiteX31" fmla="*/ 280 w 10000"/>
                  <a:gd name="connsiteY31" fmla="*/ 5709 h 10000"/>
                  <a:gd name="connsiteX32" fmla="*/ 58 w 10000"/>
                  <a:gd name="connsiteY32" fmla="*/ 5770 h 10000"/>
                  <a:gd name="connsiteX33" fmla="*/ 40 w 10000"/>
                  <a:gd name="connsiteY33" fmla="*/ 6301 h 10000"/>
                  <a:gd name="connsiteX34" fmla="*/ 1354 w 10000"/>
                  <a:gd name="connsiteY34" fmla="*/ 6361 h 10000"/>
                  <a:gd name="connsiteX35" fmla="*/ 2261 w 10000"/>
                  <a:gd name="connsiteY35" fmla="*/ 6391 h 10000"/>
                  <a:gd name="connsiteX36" fmla="*/ 3242 w 10000"/>
                  <a:gd name="connsiteY36" fmla="*/ 6286 h 10000"/>
                  <a:gd name="connsiteX37" fmla="*/ 3482 w 10000"/>
                  <a:gd name="connsiteY37" fmla="*/ 6513 h 10000"/>
                  <a:gd name="connsiteX38" fmla="*/ 3408 w 10000"/>
                  <a:gd name="connsiteY38" fmla="*/ 7635 h 10000"/>
                  <a:gd name="connsiteX39" fmla="*/ 3372 w 10000"/>
                  <a:gd name="connsiteY39" fmla="*/ 8696 h 10000"/>
                  <a:gd name="connsiteX40" fmla="*/ 3445 w 10000"/>
                  <a:gd name="connsiteY40" fmla="*/ 8833 h 10000"/>
                  <a:gd name="connsiteX41" fmla="*/ 3445 w 10000"/>
                  <a:gd name="connsiteY41" fmla="*/ 8817 h 10000"/>
                  <a:gd name="connsiteX42" fmla="*/ 4186 w 10000"/>
                  <a:gd name="connsiteY42" fmla="*/ 8908 h 10000"/>
                  <a:gd name="connsiteX43" fmla="*/ 4648 w 10000"/>
                  <a:gd name="connsiteY43" fmla="*/ 8787 h 10000"/>
                  <a:gd name="connsiteX44" fmla="*/ 5167 w 10000"/>
                  <a:gd name="connsiteY44" fmla="*/ 8893 h 10000"/>
                  <a:gd name="connsiteX45" fmla="*/ 6999 w 10000"/>
                  <a:gd name="connsiteY45" fmla="*/ 8817 h 10000"/>
                  <a:gd name="connsiteX46" fmla="*/ 7925 w 10000"/>
                  <a:gd name="connsiteY46" fmla="*/ 8741 h 10000"/>
                  <a:gd name="connsiteX47" fmla="*/ 7907 w 10000"/>
                  <a:gd name="connsiteY47" fmla="*/ 9666 h 10000"/>
                  <a:gd name="connsiteX48" fmla="*/ 8369 w 10000"/>
                  <a:gd name="connsiteY48" fmla="*/ 9803 h 10000"/>
                  <a:gd name="connsiteX49" fmla="*/ 8369 w 10000"/>
                  <a:gd name="connsiteY49" fmla="*/ 9893 h 10000"/>
                  <a:gd name="connsiteX50" fmla="*/ 8443 w 10000"/>
                  <a:gd name="connsiteY50" fmla="*/ 9878 h 10000"/>
                  <a:gd name="connsiteX51" fmla="*/ 8524 w 10000"/>
                  <a:gd name="connsiteY51" fmla="*/ 9836 h 10000"/>
                  <a:gd name="connsiteX52" fmla="*/ 9683 w 10000"/>
                  <a:gd name="connsiteY52" fmla="*/ 9985 h 10000"/>
                  <a:gd name="connsiteX53" fmla="*/ 9849 w 10000"/>
                  <a:gd name="connsiteY53" fmla="*/ 9970 h 10000"/>
                  <a:gd name="connsiteX54" fmla="*/ 9886 w 10000"/>
                  <a:gd name="connsiteY54" fmla="*/ 8999 h 10000"/>
                  <a:gd name="connsiteX55" fmla="*/ 9906 w 10000"/>
                  <a:gd name="connsiteY55" fmla="*/ 7589 h 10000"/>
                  <a:gd name="connsiteX56" fmla="*/ 9998 w 10000"/>
                  <a:gd name="connsiteY56" fmla="*/ 7059 h 10000"/>
                  <a:gd name="connsiteX57" fmla="*/ 9924 w 10000"/>
                  <a:gd name="connsiteY57" fmla="*/ 5876 h 10000"/>
                  <a:gd name="connsiteX0" fmla="*/ 9924 w 10000"/>
                  <a:gd name="connsiteY0" fmla="*/ 5876 h 10010"/>
                  <a:gd name="connsiteX1" fmla="*/ 9998 w 10000"/>
                  <a:gd name="connsiteY1" fmla="*/ 5194 h 10010"/>
                  <a:gd name="connsiteX2" fmla="*/ 9886 w 10000"/>
                  <a:gd name="connsiteY2" fmla="*/ 4542 h 10010"/>
                  <a:gd name="connsiteX3" fmla="*/ 9906 w 10000"/>
                  <a:gd name="connsiteY3" fmla="*/ 3707 h 10010"/>
                  <a:gd name="connsiteX4" fmla="*/ 9868 w 10000"/>
                  <a:gd name="connsiteY4" fmla="*/ 2964 h 10010"/>
                  <a:gd name="connsiteX5" fmla="*/ 9720 w 10000"/>
                  <a:gd name="connsiteY5" fmla="*/ 1570 h 10010"/>
                  <a:gd name="connsiteX6" fmla="*/ 9110 w 10000"/>
                  <a:gd name="connsiteY6" fmla="*/ 812 h 10010"/>
                  <a:gd name="connsiteX7" fmla="*/ 8147 w 10000"/>
                  <a:gd name="connsiteY7" fmla="*/ 660 h 10010"/>
                  <a:gd name="connsiteX8" fmla="*/ 7591 w 10000"/>
                  <a:gd name="connsiteY8" fmla="*/ 509 h 10010"/>
                  <a:gd name="connsiteX9" fmla="*/ 7240 w 10000"/>
                  <a:gd name="connsiteY9" fmla="*/ 115 h 10010"/>
                  <a:gd name="connsiteX10" fmla="*/ 6944 w 10000"/>
                  <a:gd name="connsiteY10" fmla="*/ 53 h 10010"/>
                  <a:gd name="connsiteX11" fmla="*/ 6907 w 10000"/>
                  <a:gd name="connsiteY11" fmla="*/ 160 h 10010"/>
                  <a:gd name="connsiteX12" fmla="*/ 6888 w 10000"/>
                  <a:gd name="connsiteY12" fmla="*/ 342 h 10010"/>
                  <a:gd name="connsiteX13" fmla="*/ 4815 w 10000"/>
                  <a:gd name="connsiteY13" fmla="*/ 2373 h 10010"/>
                  <a:gd name="connsiteX14" fmla="*/ 4426 w 10000"/>
                  <a:gd name="connsiteY14" fmla="*/ 2767 h 10010"/>
                  <a:gd name="connsiteX15" fmla="*/ 4445 w 10000"/>
                  <a:gd name="connsiteY15" fmla="*/ 2555 h 10010"/>
                  <a:gd name="connsiteX16" fmla="*/ 4833 w 10000"/>
                  <a:gd name="connsiteY16" fmla="*/ 1630 h 10010"/>
                  <a:gd name="connsiteX17" fmla="*/ 5055 w 10000"/>
                  <a:gd name="connsiteY17" fmla="*/ 1161 h 10010"/>
                  <a:gd name="connsiteX18" fmla="*/ 5037 w 10000"/>
                  <a:gd name="connsiteY18" fmla="*/ 797 h 10010"/>
                  <a:gd name="connsiteX19" fmla="*/ 5019 w 10000"/>
                  <a:gd name="connsiteY19" fmla="*/ 797 h 10010"/>
                  <a:gd name="connsiteX20" fmla="*/ 4648 w 10000"/>
                  <a:gd name="connsiteY20" fmla="*/ 1145 h 10010"/>
                  <a:gd name="connsiteX21" fmla="*/ 3889 w 10000"/>
                  <a:gd name="connsiteY21" fmla="*/ 1479 h 10010"/>
                  <a:gd name="connsiteX22" fmla="*/ 3113 w 10000"/>
                  <a:gd name="connsiteY22" fmla="*/ 1919 h 10010"/>
                  <a:gd name="connsiteX23" fmla="*/ 2890 w 10000"/>
                  <a:gd name="connsiteY23" fmla="*/ 2844 h 10010"/>
                  <a:gd name="connsiteX24" fmla="*/ 2724 w 10000"/>
                  <a:gd name="connsiteY24" fmla="*/ 4041 h 10010"/>
                  <a:gd name="connsiteX25" fmla="*/ 2613 w 10000"/>
                  <a:gd name="connsiteY25" fmla="*/ 4390 h 10010"/>
                  <a:gd name="connsiteX26" fmla="*/ 2261 w 10000"/>
                  <a:gd name="connsiteY26" fmla="*/ 4769 h 10010"/>
                  <a:gd name="connsiteX27" fmla="*/ 1595 w 10000"/>
                  <a:gd name="connsiteY27" fmla="*/ 4860 h 10010"/>
                  <a:gd name="connsiteX28" fmla="*/ 707 w 10000"/>
                  <a:gd name="connsiteY28" fmla="*/ 4663 h 10010"/>
                  <a:gd name="connsiteX29" fmla="*/ 558 w 10000"/>
                  <a:gd name="connsiteY29" fmla="*/ 4633 h 10010"/>
                  <a:gd name="connsiteX30" fmla="*/ 743 w 10000"/>
                  <a:gd name="connsiteY30" fmla="*/ 5224 h 10010"/>
                  <a:gd name="connsiteX31" fmla="*/ 280 w 10000"/>
                  <a:gd name="connsiteY31" fmla="*/ 5709 h 10010"/>
                  <a:gd name="connsiteX32" fmla="*/ 58 w 10000"/>
                  <a:gd name="connsiteY32" fmla="*/ 5770 h 10010"/>
                  <a:gd name="connsiteX33" fmla="*/ 40 w 10000"/>
                  <a:gd name="connsiteY33" fmla="*/ 6301 h 10010"/>
                  <a:gd name="connsiteX34" fmla="*/ 1354 w 10000"/>
                  <a:gd name="connsiteY34" fmla="*/ 6361 h 10010"/>
                  <a:gd name="connsiteX35" fmla="*/ 2261 w 10000"/>
                  <a:gd name="connsiteY35" fmla="*/ 6391 h 10010"/>
                  <a:gd name="connsiteX36" fmla="*/ 3242 w 10000"/>
                  <a:gd name="connsiteY36" fmla="*/ 6286 h 10010"/>
                  <a:gd name="connsiteX37" fmla="*/ 3482 w 10000"/>
                  <a:gd name="connsiteY37" fmla="*/ 6513 h 10010"/>
                  <a:gd name="connsiteX38" fmla="*/ 3408 w 10000"/>
                  <a:gd name="connsiteY38" fmla="*/ 7635 h 10010"/>
                  <a:gd name="connsiteX39" fmla="*/ 3372 w 10000"/>
                  <a:gd name="connsiteY39" fmla="*/ 8696 h 10010"/>
                  <a:gd name="connsiteX40" fmla="*/ 3445 w 10000"/>
                  <a:gd name="connsiteY40" fmla="*/ 8833 h 10010"/>
                  <a:gd name="connsiteX41" fmla="*/ 3445 w 10000"/>
                  <a:gd name="connsiteY41" fmla="*/ 8817 h 10010"/>
                  <a:gd name="connsiteX42" fmla="*/ 4186 w 10000"/>
                  <a:gd name="connsiteY42" fmla="*/ 8908 h 10010"/>
                  <a:gd name="connsiteX43" fmla="*/ 4648 w 10000"/>
                  <a:gd name="connsiteY43" fmla="*/ 8787 h 10010"/>
                  <a:gd name="connsiteX44" fmla="*/ 5167 w 10000"/>
                  <a:gd name="connsiteY44" fmla="*/ 8893 h 10010"/>
                  <a:gd name="connsiteX45" fmla="*/ 6999 w 10000"/>
                  <a:gd name="connsiteY45" fmla="*/ 8817 h 10010"/>
                  <a:gd name="connsiteX46" fmla="*/ 7925 w 10000"/>
                  <a:gd name="connsiteY46" fmla="*/ 8741 h 10010"/>
                  <a:gd name="connsiteX47" fmla="*/ 7907 w 10000"/>
                  <a:gd name="connsiteY47" fmla="*/ 9666 h 10010"/>
                  <a:gd name="connsiteX48" fmla="*/ 8369 w 10000"/>
                  <a:gd name="connsiteY48" fmla="*/ 9803 h 10010"/>
                  <a:gd name="connsiteX49" fmla="*/ 8369 w 10000"/>
                  <a:gd name="connsiteY49" fmla="*/ 9893 h 10010"/>
                  <a:gd name="connsiteX50" fmla="*/ 8443 w 10000"/>
                  <a:gd name="connsiteY50" fmla="*/ 9878 h 10010"/>
                  <a:gd name="connsiteX51" fmla="*/ 8524 w 10000"/>
                  <a:gd name="connsiteY51" fmla="*/ 9836 h 10010"/>
                  <a:gd name="connsiteX52" fmla="*/ 9849 w 10000"/>
                  <a:gd name="connsiteY52" fmla="*/ 9970 h 10010"/>
                  <a:gd name="connsiteX53" fmla="*/ 9886 w 10000"/>
                  <a:gd name="connsiteY53" fmla="*/ 8999 h 10010"/>
                  <a:gd name="connsiteX54" fmla="*/ 9906 w 10000"/>
                  <a:gd name="connsiteY54" fmla="*/ 7589 h 10010"/>
                  <a:gd name="connsiteX55" fmla="*/ 9998 w 10000"/>
                  <a:gd name="connsiteY55" fmla="*/ 7059 h 10010"/>
                  <a:gd name="connsiteX56" fmla="*/ 9924 w 10000"/>
                  <a:gd name="connsiteY56" fmla="*/ 5876 h 10010"/>
                  <a:gd name="connsiteX0" fmla="*/ 9924 w 10000"/>
                  <a:gd name="connsiteY0" fmla="*/ 5876 h 10019"/>
                  <a:gd name="connsiteX1" fmla="*/ 9998 w 10000"/>
                  <a:gd name="connsiteY1" fmla="*/ 5194 h 10019"/>
                  <a:gd name="connsiteX2" fmla="*/ 9886 w 10000"/>
                  <a:gd name="connsiteY2" fmla="*/ 4542 h 10019"/>
                  <a:gd name="connsiteX3" fmla="*/ 9906 w 10000"/>
                  <a:gd name="connsiteY3" fmla="*/ 3707 h 10019"/>
                  <a:gd name="connsiteX4" fmla="*/ 9868 w 10000"/>
                  <a:gd name="connsiteY4" fmla="*/ 2964 h 10019"/>
                  <a:gd name="connsiteX5" fmla="*/ 9720 w 10000"/>
                  <a:gd name="connsiteY5" fmla="*/ 1570 h 10019"/>
                  <a:gd name="connsiteX6" fmla="*/ 9110 w 10000"/>
                  <a:gd name="connsiteY6" fmla="*/ 812 h 10019"/>
                  <a:gd name="connsiteX7" fmla="*/ 8147 w 10000"/>
                  <a:gd name="connsiteY7" fmla="*/ 660 h 10019"/>
                  <a:gd name="connsiteX8" fmla="*/ 7591 w 10000"/>
                  <a:gd name="connsiteY8" fmla="*/ 509 h 10019"/>
                  <a:gd name="connsiteX9" fmla="*/ 7240 w 10000"/>
                  <a:gd name="connsiteY9" fmla="*/ 115 h 10019"/>
                  <a:gd name="connsiteX10" fmla="*/ 6944 w 10000"/>
                  <a:gd name="connsiteY10" fmla="*/ 53 h 10019"/>
                  <a:gd name="connsiteX11" fmla="*/ 6907 w 10000"/>
                  <a:gd name="connsiteY11" fmla="*/ 160 h 10019"/>
                  <a:gd name="connsiteX12" fmla="*/ 6888 w 10000"/>
                  <a:gd name="connsiteY12" fmla="*/ 342 h 10019"/>
                  <a:gd name="connsiteX13" fmla="*/ 4815 w 10000"/>
                  <a:gd name="connsiteY13" fmla="*/ 2373 h 10019"/>
                  <a:gd name="connsiteX14" fmla="*/ 4426 w 10000"/>
                  <a:gd name="connsiteY14" fmla="*/ 2767 h 10019"/>
                  <a:gd name="connsiteX15" fmla="*/ 4445 w 10000"/>
                  <a:gd name="connsiteY15" fmla="*/ 2555 h 10019"/>
                  <a:gd name="connsiteX16" fmla="*/ 4833 w 10000"/>
                  <a:gd name="connsiteY16" fmla="*/ 1630 h 10019"/>
                  <a:gd name="connsiteX17" fmla="*/ 5055 w 10000"/>
                  <a:gd name="connsiteY17" fmla="*/ 1161 h 10019"/>
                  <a:gd name="connsiteX18" fmla="*/ 5037 w 10000"/>
                  <a:gd name="connsiteY18" fmla="*/ 797 h 10019"/>
                  <a:gd name="connsiteX19" fmla="*/ 5019 w 10000"/>
                  <a:gd name="connsiteY19" fmla="*/ 797 h 10019"/>
                  <a:gd name="connsiteX20" fmla="*/ 4648 w 10000"/>
                  <a:gd name="connsiteY20" fmla="*/ 1145 h 10019"/>
                  <a:gd name="connsiteX21" fmla="*/ 3889 w 10000"/>
                  <a:gd name="connsiteY21" fmla="*/ 1479 h 10019"/>
                  <a:gd name="connsiteX22" fmla="*/ 3113 w 10000"/>
                  <a:gd name="connsiteY22" fmla="*/ 1919 h 10019"/>
                  <a:gd name="connsiteX23" fmla="*/ 2890 w 10000"/>
                  <a:gd name="connsiteY23" fmla="*/ 2844 h 10019"/>
                  <a:gd name="connsiteX24" fmla="*/ 2724 w 10000"/>
                  <a:gd name="connsiteY24" fmla="*/ 4041 h 10019"/>
                  <a:gd name="connsiteX25" fmla="*/ 2613 w 10000"/>
                  <a:gd name="connsiteY25" fmla="*/ 4390 h 10019"/>
                  <a:gd name="connsiteX26" fmla="*/ 2261 w 10000"/>
                  <a:gd name="connsiteY26" fmla="*/ 4769 h 10019"/>
                  <a:gd name="connsiteX27" fmla="*/ 1595 w 10000"/>
                  <a:gd name="connsiteY27" fmla="*/ 4860 h 10019"/>
                  <a:gd name="connsiteX28" fmla="*/ 707 w 10000"/>
                  <a:gd name="connsiteY28" fmla="*/ 4663 h 10019"/>
                  <a:gd name="connsiteX29" fmla="*/ 558 w 10000"/>
                  <a:gd name="connsiteY29" fmla="*/ 4633 h 10019"/>
                  <a:gd name="connsiteX30" fmla="*/ 743 w 10000"/>
                  <a:gd name="connsiteY30" fmla="*/ 5224 h 10019"/>
                  <a:gd name="connsiteX31" fmla="*/ 280 w 10000"/>
                  <a:gd name="connsiteY31" fmla="*/ 5709 h 10019"/>
                  <a:gd name="connsiteX32" fmla="*/ 58 w 10000"/>
                  <a:gd name="connsiteY32" fmla="*/ 5770 h 10019"/>
                  <a:gd name="connsiteX33" fmla="*/ 40 w 10000"/>
                  <a:gd name="connsiteY33" fmla="*/ 6301 h 10019"/>
                  <a:gd name="connsiteX34" fmla="*/ 1354 w 10000"/>
                  <a:gd name="connsiteY34" fmla="*/ 6361 h 10019"/>
                  <a:gd name="connsiteX35" fmla="*/ 2261 w 10000"/>
                  <a:gd name="connsiteY35" fmla="*/ 6391 h 10019"/>
                  <a:gd name="connsiteX36" fmla="*/ 3242 w 10000"/>
                  <a:gd name="connsiteY36" fmla="*/ 6286 h 10019"/>
                  <a:gd name="connsiteX37" fmla="*/ 3482 w 10000"/>
                  <a:gd name="connsiteY37" fmla="*/ 6513 h 10019"/>
                  <a:gd name="connsiteX38" fmla="*/ 3408 w 10000"/>
                  <a:gd name="connsiteY38" fmla="*/ 7635 h 10019"/>
                  <a:gd name="connsiteX39" fmla="*/ 3372 w 10000"/>
                  <a:gd name="connsiteY39" fmla="*/ 8696 h 10019"/>
                  <a:gd name="connsiteX40" fmla="*/ 3445 w 10000"/>
                  <a:gd name="connsiteY40" fmla="*/ 8833 h 10019"/>
                  <a:gd name="connsiteX41" fmla="*/ 3445 w 10000"/>
                  <a:gd name="connsiteY41" fmla="*/ 8817 h 10019"/>
                  <a:gd name="connsiteX42" fmla="*/ 4186 w 10000"/>
                  <a:gd name="connsiteY42" fmla="*/ 8908 h 10019"/>
                  <a:gd name="connsiteX43" fmla="*/ 4648 w 10000"/>
                  <a:gd name="connsiteY43" fmla="*/ 8787 h 10019"/>
                  <a:gd name="connsiteX44" fmla="*/ 5167 w 10000"/>
                  <a:gd name="connsiteY44" fmla="*/ 8893 h 10019"/>
                  <a:gd name="connsiteX45" fmla="*/ 6999 w 10000"/>
                  <a:gd name="connsiteY45" fmla="*/ 8817 h 10019"/>
                  <a:gd name="connsiteX46" fmla="*/ 7925 w 10000"/>
                  <a:gd name="connsiteY46" fmla="*/ 8741 h 10019"/>
                  <a:gd name="connsiteX47" fmla="*/ 7907 w 10000"/>
                  <a:gd name="connsiteY47" fmla="*/ 9666 h 10019"/>
                  <a:gd name="connsiteX48" fmla="*/ 8369 w 10000"/>
                  <a:gd name="connsiteY48" fmla="*/ 9803 h 10019"/>
                  <a:gd name="connsiteX49" fmla="*/ 8369 w 10000"/>
                  <a:gd name="connsiteY49" fmla="*/ 9893 h 10019"/>
                  <a:gd name="connsiteX50" fmla="*/ 8443 w 10000"/>
                  <a:gd name="connsiteY50" fmla="*/ 9878 h 10019"/>
                  <a:gd name="connsiteX51" fmla="*/ 9849 w 10000"/>
                  <a:gd name="connsiteY51" fmla="*/ 9970 h 10019"/>
                  <a:gd name="connsiteX52" fmla="*/ 9886 w 10000"/>
                  <a:gd name="connsiteY52" fmla="*/ 8999 h 10019"/>
                  <a:gd name="connsiteX53" fmla="*/ 9906 w 10000"/>
                  <a:gd name="connsiteY53" fmla="*/ 7589 h 10019"/>
                  <a:gd name="connsiteX54" fmla="*/ 9998 w 10000"/>
                  <a:gd name="connsiteY54" fmla="*/ 7059 h 10019"/>
                  <a:gd name="connsiteX55" fmla="*/ 9924 w 10000"/>
                  <a:gd name="connsiteY55" fmla="*/ 5876 h 10019"/>
                  <a:gd name="connsiteX0" fmla="*/ 9924 w 10000"/>
                  <a:gd name="connsiteY0" fmla="*/ 5876 h 10024"/>
                  <a:gd name="connsiteX1" fmla="*/ 9998 w 10000"/>
                  <a:gd name="connsiteY1" fmla="*/ 5194 h 10024"/>
                  <a:gd name="connsiteX2" fmla="*/ 9886 w 10000"/>
                  <a:gd name="connsiteY2" fmla="*/ 4542 h 10024"/>
                  <a:gd name="connsiteX3" fmla="*/ 9906 w 10000"/>
                  <a:gd name="connsiteY3" fmla="*/ 3707 h 10024"/>
                  <a:gd name="connsiteX4" fmla="*/ 9868 w 10000"/>
                  <a:gd name="connsiteY4" fmla="*/ 2964 h 10024"/>
                  <a:gd name="connsiteX5" fmla="*/ 9720 w 10000"/>
                  <a:gd name="connsiteY5" fmla="*/ 1570 h 10024"/>
                  <a:gd name="connsiteX6" fmla="*/ 9110 w 10000"/>
                  <a:gd name="connsiteY6" fmla="*/ 812 h 10024"/>
                  <a:gd name="connsiteX7" fmla="*/ 8147 w 10000"/>
                  <a:gd name="connsiteY7" fmla="*/ 660 h 10024"/>
                  <a:gd name="connsiteX8" fmla="*/ 7591 w 10000"/>
                  <a:gd name="connsiteY8" fmla="*/ 509 h 10024"/>
                  <a:gd name="connsiteX9" fmla="*/ 7240 w 10000"/>
                  <a:gd name="connsiteY9" fmla="*/ 115 h 10024"/>
                  <a:gd name="connsiteX10" fmla="*/ 6944 w 10000"/>
                  <a:gd name="connsiteY10" fmla="*/ 53 h 10024"/>
                  <a:gd name="connsiteX11" fmla="*/ 6907 w 10000"/>
                  <a:gd name="connsiteY11" fmla="*/ 160 h 10024"/>
                  <a:gd name="connsiteX12" fmla="*/ 6888 w 10000"/>
                  <a:gd name="connsiteY12" fmla="*/ 342 h 10024"/>
                  <a:gd name="connsiteX13" fmla="*/ 4815 w 10000"/>
                  <a:gd name="connsiteY13" fmla="*/ 2373 h 10024"/>
                  <a:gd name="connsiteX14" fmla="*/ 4426 w 10000"/>
                  <a:gd name="connsiteY14" fmla="*/ 2767 h 10024"/>
                  <a:gd name="connsiteX15" fmla="*/ 4445 w 10000"/>
                  <a:gd name="connsiteY15" fmla="*/ 2555 h 10024"/>
                  <a:gd name="connsiteX16" fmla="*/ 4833 w 10000"/>
                  <a:gd name="connsiteY16" fmla="*/ 1630 h 10024"/>
                  <a:gd name="connsiteX17" fmla="*/ 5055 w 10000"/>
                  <a:gd name="connsiteY17" fmla="*/ 1161 h 10024"/>
                  <a:gd name="connsiteX18" fmla="*/ 5037 w 10000"/>
                  <a:gd name="connsiteY18" fmla="*/ 797 h 10024"/>
                  <a:gd name="connsiteX19" fmla="*/ 5019 w 10000"/>
                  <a:gd name="connsiteY19" fmla="*/ 797 h 10024"/>
                  <a:gd name="connsiteX20" fmla="*/ 4648 w 10000"/>
                  <a:gd name="connsiteY20" fmla="*/ 1145 h 10024"/>
                  <a:gd name="connsiteX21" fmla="*/ 3889 w 10000"/>
                  <a:gd name="connsiteY21" fmla="*/ 1479 h 10024"/>
                  <a:gd name="connsiteX22" fmla="*/ 3113 w 10000"/>
                  <a:gd name="connsiteY22" fmla="*/ 1919 h 10024"/>
                  <a:gd name="connsiteX23" fmla="*/ 2890 w 10000"/>
                  <a:gd name="connsiteY23" fmla="*/ 2844 h 10024"/>
                  <a:gd name="connsiteX24" fmla="*/ 2724 w 10000"/>
                  <a:gd name="connsiteY24" fmla="*/ 4041 h 10024"/>
                  <a:gd name="connsiteX25" fmla="*/ 2613 w 10000"/>
                  <a:gd name="connsiteY25" fmla="*/ 4390 h 10024"/>
                  <a:gd name="connsiteX26" fmla="*/ 2261 w 10000"/>
                  <a:gd name="connsiteY26" fmla="*/ 4769 h 10024"/>
                  <a:gd name="connsiteX27" fmla="*/ 1595 w 10000"/>
                  <a:gd name="connsiteY27" fmla="*/ 4860 h 10024"/>
                  <a:gd name="connsiteX28" fmla="*/ 707 w 10000"/>
                  <a:gd name="connsiteY28" fmla="*/ 4663 h 10024"/>
                  <a:gd name="connsiteX29" fmla="*/ 558 w 10000"/>
                  <a:gd name="connsiteY29" fmla="*/ 4633 h 10024"/>
                  <a:gd name="connsiteX30" fmla="*/ 743 w 10000"/>
                  <a:gd name="connsiteY30" fmla="*/ 5224 h 10024"/>
                  <a:gd name="connsiteX31" fmla="*/ 280 w 10000"/>
                  <a:gd name="connsiteY31" fmla="*/ 5709 h 10024"/>
                  <a:gd name="connsiteX32" fmla="*/ 58 w 10000"/>
                  <a:gd name="connsiteY32" fmla="*/ 5770 h 10024"/>
                  <a:gd name="connsiteX33" fmla="*/ 40 w 10000"/>
                  <a:gd name="connsiteY33" fmla="*/ 6301 h 10024"/>
                  <a:gd name="connsiteX34" fmla="*/ 1354 w 10000"/>
                  <a:gd name="connsiteY34" fmla="*/ 6361 h 10024"/>
                  <a:gd name="connsiteX35" fmla="*/ 2261 w 10000"/>
                  <a:gd name="connsiteY35" fmla="*/ 6391 h 10024"/>
                  <a:gd name="connsiteX36" fmla="*/ 3242 w 10000"/>
                  <a:gd name="connsiteY36" fmla="*/ 6286 h 10024"/>
                  <a:gd name="connsiteX37" fmla="*/ 3482 w 10000"/>
                  <a:gd name="connsiteY37" fmla="*/ 6513 h 10024"/>
                  <a:gd name="connsiteX38" fmla="*/ 3408 w 10000"/>
                  <a:gd name="connsiteY38" fmla="*/ 7635 h 10024"/>
                  <a:gd name="connsiteX39" fmla="*/ 3372 w 10000"/>
                  <a:gd name="connsiteY39" fmla="*/ 8696 h 10024"/>
                  <a:gd name="connsiteX40" fmla="*/ 3445 w 10000"/>
                  <a:gd name="connsiteY40" fmla="*/ 8833 h 10024"/>
                  <a:gd name="connsiteX41" fmla="*/ 3445 w 10000"/>
                  <a:gd name="connsiteY41" fmla="*/ 8817 h 10024"/>
                  <a:gd name="connsiteX42" fmla="*/ 4186 w 10000"/>
                  <a:gd name="connsiteY42" fmla="*/ 8908 h 10024"/>
                  <a:gd name="connsiteX43" fmla="*/ 4648 w 10000"/>
                  <a:gd name="connsiteY43" fmla="*/ 8787 h 10024"/>
                  <a:gd name="connsiteX44" fmla="*/ 5167 w 10000"/>
                  <a:gd name="connsiteY44" fmla="*/ 8893 h 10024"/>
                  <a:gd name="connsiteX45" fmla="*/ 6999 w 10000"/>
                  <a:gd name="connsiteY45" fmla="*/ 8817 h 10024"/>
                  <a:gd name="connsiteX46" fmla="*/ 7925 w 10000"/>
                  <a:gd name="connsiteY46" fmla="*/ 8741 h 10024"/>
                  <a:gd name="connsiteX47" fmla="*/ 7907 w 10000"/>
                  <a:gd name="connsiteY47" fmla="*/ 9666 h 10024"/>
                  <a:gd name="connsiteX48" fmla="*/ 8369 w 10000"/>
                  <a:gd name="connsiteY48" fmla="*/ 9803 h 10024"/>
                  <a:gd name="connsiteX49" fmla="*/ 8369 w 10000"/>
                  <a:gd name="connsiteY49" fmla="*/ 9893 h 10024"/>
                  <a:gd name="connsiteX50" fmla="*/ 9849 w 10000"/>
                  <a:gd name="connsiteY50" fmla="*/ 9970 h 10024"/>
                  <a:gd name="connsiteX51" fmla="*/ 9886 w 10000"/>
                  <a:gd name="connsiteY51" fmla="*/ 8999 h 10024"/>
                  <a:gd name="connsiteX52" fmla="*/ 9906 w 10000"/>
                  <a:gd name="connsiteY52" fmla="*/ 7589 h 10024"/>
                  <a:gd name="connsiteX53" fmla="*/ 9998 w 10000"/>
                  <a:gd name="connsiteY53" fmla="*/ 7059 h 10024"/>
                  <a:gd name="connsiteX54" fmla="*/ 9924 w 10000"/>
                  <a:gd name="connsiteY54" fmla="*/ 5876 h 10024"/>
                  <a:gd name="connsiteX0" fmla="*/ 9924 w 10000"/>
                  <a:gd name="connsiteY0" fmla="*/ 5876 h 9970"/>
                  <a:gd name="connsiteX1" fmla="*/ 9998 w 10000"/>
                  <a:gd name="connsiteY1" fmla="*/ 5194 h 9970"/>
                  <a:gd name="connsiteX2" fmla="*/ 9886 w 10000"/>
                  <a:gd name="connsiteY2" fmla="*/ 4542 h 9970"/>
                  <a:gd name="connsiteX3" fmla="*/ 9906 w 10000"/>
                  <a:gd name="connsiteY3" fmla="*/ 3707 h 9970"/>
                  <a:gd name="connsiteX4" fmla="*/ 9868 w 10000"/>
                  <a:gd name="connsiteY4" fmla="*/ 2964 h 9970"/>
                  <a:gd name="connsiteX5" fmla="*/ 9720 w 10000"/>
                  <a:gd name="connsiteY5" fmla="*/ 1570 h 9970"/>
                  <a:gd name="connsiteX6" fmla="*/ 9110 w 10000"/>
                  <a:gd name="connsiteY6" fmla="*/ 812 h 9970"/>
                  <a:gd name="connsiteX7" fmla="*/ 8147 w 10000"/>
                  <a:gd name="connsiteY7" fmla="*/ 660 h 9970"/>
                  <a:gd name="connsiteX8" fmla="*/ 7591 w 10000"/>
                  <a:gd name="connsiteY8" fmla="*/ 509 h 9970"/>
                  <a:gd name="connsiteX9" fmla="*/ 7240 w 10000"/>
                  <a:gd name="connsiteY9" fmla="*/ 115 h 9970"/>
                  <a:gd name="connsiteX10" fmla="*/ 6944 w 10000"/>
                  <a:gd name="connsiteY10" fmla="*/ 53 h 9970"/>
                  <a:gd name="connsiteX11" fmla="*/ 6907 w 10000"/>
                  <a:gd name="connsiteY11" fmla="*/ 160 h 9970"/>
                  <a:gd name="connsiteX12" fmla="*/ 6888 w 10000"/>
                  <a:gd name="connsiteY12" fmla="*/ 342 h 9970"/>
                  <a:gd name="connsiteX13" fmla="*/ 4815 w 10000"/>
                  <a:gd name="connsiteY13" fmla="*/ 2373 h 9970"/>
                  <a:gd name="connsiteX14" fmla="*/ 4426 w 10000"/>
                  <a:gd name="connsiteY14" fmla="*/ 2767 h 9970"/>
                  <a:gd name="connsiteX15" fmla="*/ 4445 w 10000"/>
                  <a:gd name="connsiteY15" fmla="*/ 2555 h 9970"/>
                  <a:gd name="connsiteX16" fmla="*/ 4833 w 10000"/>
                  <a:gd name="connsiteY16" fmla="*/ 1630 h 9970"/>
                  <a:gd name="connsiteX17" fmla="*/ 5055 w 10000"/>
                  <a:gd name="connsiteY17" fmla="*/ 1161 h 9970"/>
                  <a:gd name="connsiteX18" fmla="*/ 5037 w 10000"/>
                  <a:gd name="connsiteY18" fmla="*/ 797 h 9970"/>
                  <a:gd name="connsiteX19" fmla="*/ 5019 w 10000"/>
                  <a:gd name="connsiteY19" fmla="*/ 797 h 9970"/>
                  <a:gd name="connsiteX20" fmla="*/ 4648 w 10000"/>
                  <a:gd name="connsiteY20" fmla="*/ 1145 h 9970"/>
                  <a:gd name="connsiteX21" fmla="*/ 3889 w 10000"/>
                  <a:gd name="connsiteY21" fmla="*/ 1479 h 9970"/>
                  <a:gd name="connsiteX22" fmla="*/ 3113 w 10000"/>
                  <a:gd name="connsiteY22" fmla="*/ 1919 h 9970"/>
                  <a:gd name="connsiteX23" fmla="*/ 2890 w 10000"/>
                  <a:gd name="connsiteY23" fmla="*/ 2844 h 9970"/>
                  <a:gd name="connsiteX24" fmla="*/ 2724 w 10000"/>
                  <a:gd name="connsiteY24" fmla="*/ 4041 h 9970"/>
                  <a:gd name="connsiteX25" fmla="*/ 2613 w 10000"/>
                  <a:gd name="connsiteY25" fmla="*/ 4390 h 9970"/>
                  <a:gd name="connsiteX26" fmla="*/ 2261 w 10000"/>
                  <a:gd name="connsiteY26" fmla="*/ 4769 h 9970"/>
                  <a:gd name="connsiteX27" fmla="*/ 1595 w 10000"/>
                  <a:gd name="connsiteY27" fmla="*/ 4860 h 9970"/>
                  <a:gd name="connsiteX28" fmla="*/ 707 w 10000"/>
                  <a:gd name="connsiteY28" fmla="*/ 4663 h 9970"/>
                  <a:gd name="connsiteX29" fmla="*/ 558 w 10000"/>
                  <a:gd name="connsiteY29" fmla="*/ 4633 h 9970"/>
                  <a:gd name="connsiteX30" fmla="*/ 743 w 10000"/>
                  <a:gd name="connsiteY30" fmla="*/ 5224 h 9970"/>
                  <a:gd name="connsiteX31" fmla="*/ 280 w 10000"/>
                  <a:gd name="connsiteY31" fmla="*/ 5709 h 9970"/>
                  <a:gd name="connsiteX32" fmla="*/ 58 w 10000"/>
                  <a:gd name="connsiteY32" fmla="*/ 5770 h 9970"/>
                  <a:gd name="connsiteX33" fmla="*/ 40 w 10000"/>
                  <a:gd name="connsiteY33" fmla="*/ 6301 h 9970"/>
                  <a:gd name="connsiteX34" fmla="*/ 1354 w 10000"/>
                  <a:gd name="connsiteY34" fmla="*/ 6361 h 9970"/>
                  <a:gd name="connsiteX35" fmla="*/ 2261 w 10000"/>
                  <a:gd name="connsiteY35" fmla="*/ 6391 h 9970"/>
                  <a:gd name="connsiteX36" fmla="*/ 3242 w 10000"/>
                  <a:gd name="connsiteY36" fmla="*/ 6286 h 9970"/>
                  <a:gd name="connsiteX37" fmla="*/ 3482 w 10000"/>
                  <a:gd name="connsiteY37" fmla="*/ 6513 h 9970"/>
                  <a:gd name="connsiteX38" fmla="*/ 3408 w 10000"/>
                  <a:gd name="connsiteY38" fmla="*/ 7635 h 9970"/>
                  <a:gd name="connsiteX39" fmla="*/ 3372 w 10000"/>
                  <a:gd name="connsiteY39" fmla="*/ 8696 h 9970"/>
                  <a:gd name="connsiteX40" fmla="*/ 3445 w 10000"/>
                  <a:gd name="connsiteY40" fmla="*/ 8833 h 9970"/>
                  <a:gd name="connsiteX41" fmla="*/ 3445 w 10000"/>
                  <a:gd name="connsiteY41" fmla="*/ 8817 h 9970"/>
                  <a:gd name="connsiteX42" fmla="*/ 4186 w 10000"/>
                  <a:gd name="connsiteY42" fmla="*/ 8908 h 9970"/>
                  <a:gd name="connsiteX43" fmla="*/ 4648 w 10000"/>
                  <a:gd name="connsiteY43" fmla="*/ 8787 h 9970"/>
                  <a:gd name="connsiteX44" fmla="*/ 5167 w 10000"/>
                  <a:gd name="connsiteY44" fmla="*/ 8893 h 9970"/>
                  <a:gd name="connsiteX45" fmla="*/ 6999 w 10000"/>
                  <a:gd name="connsiteY45" fmla="*/ 8817 h 9970"/>
                  <a:gd name="connsiteX46" fmla="*/ 7925 w 10000"/>
                  <a:gd name="connsiteY46" fmla="*/ 8741 h 9970"/>
                  <a:gd name="connsiteX47" fmla="*/ 7907 w 10000"/>
                  <a:gd name="connsiteY47" fmla="*/ 9666 h 9970"/>
                  <a:gd name="connsiteX48" fmla="*/ 8369 w 10000"/>
                  <a:gd name="connsiteY48" fmla="*/ 9803 h 9970"/>
                  <a:gd name="connsiteX49" fmla="*/ 9849 w 10000"/>
                  <a:gd name="connsiteY49" fmla="*/ 9970 h 9970"/>
                  <a:gd name="connsiteX50" fmla="*/ 9886 w 10000"/>
                  <a:gd name="connsiteY50" fmla="*/ 8999 h 9970"/>
                  <a:gd name="connsiteX51" fmla="*/ 9906 w 10000"/>
                  <a:gd name="connsiteY51" fmla="*/ 7589 h 9970"/>
                  <a:gd name="connsiteX52" fmla="*/ 9998 w 10000"/>
                  <a:gd name="connsiteY52" fmla="*/ 7059 h 9970"/>
                  <a:gd name="connsiteX53" fmla="*/ 9924 w 10000"/>
                  <a:gd name="connsiteY53" fmla="*/ 5876 h 9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0000" h="9970">
                    <a:moveTo>
                      <a:pt x="9924" y="5876"/>
                    </a:moveTo>
                    <a:cubicBezTo>
                      <a:pt x="9906" y="5633"/>
                      <a:pt x="9998" y="5269"/>
                      <a:pt x="9998" y="5194"/>
                    </a:cubicBezTo>
                    <a:cubicBezTo>
                      <a:pt x="9979" y="5118"/>
                      <a:pt x="9868" y="4739"/>
                      <a:pt x="9886" y="4542"/>
                    </a:cubicBezTo>
                    <a:cubicBezTo>
                      <a:pt x="9924" y="4330"/>
                      <a:pt x="9942" y="3814"/>
                      <a:pt x="9906" y="3707"/>
                    </a:cubicBezTo>
                    <a:cubicBezTo>
                      <a:pt x="9868" y="3602"/>
                      <a:pt x="9849" y="3420"/>
                      <a:pt x="9868" y="2964"/>
                    </a:cubicBezTo>
                    <a:cubicBezTo>
                      <a:pt x="9886" y="2510"/>
                      <a:pt x="9868" y="2025"/>
                      <a:pt x="9720" y="1570"/>
                    </a:cubicBezTo>
                    <a:cubicBezTo>
                      <a:pt x="9572" y="1100"/>
                      <a:pt x="9183" y="873"/>
                      <a:pt x="9110" y="812"/>
                    </a:cubicBezTo>
                    <a:cubicBezTo>
                      <a:pt x="9017" y="751"/>
                      <a:pt x="8147" y="660"/>
                      <a:pt x="8147" y="660"/>
                    </a:cubicBezTo>
                    <a:cubicBezTo>
                      <a:pt x="7740" y="630"/>
                      <a:pt x="7721" y="569"/>
                      <a:pt x="7591" y="509"/>
                    </a:cubicBezTo>
                    <a:cubicBezTo>
                      <a:pt x="7480" y="448"/>
                      <a:pt x="7276" y="235"/>
                      <a:pt x="7240" y="115"/>
                    </a:cubicBezTo>
                    <a:cubicBezTo>
                      <a:pt x="7203" y="-7"/>
                      <a:pt x="6999" y="-37"/>
                      <a:pt x="6944" y="53"/>
                    </a:cubicBezTo>
                    <a:cubicBezTo>
                      <a:pt x="6925" y="84"/>
                      <a:pt x="6925" y="115"/>
                      <a:pt x="6907" y="160"/>
                    </a:cubicBezTo>
                    <a:cubicBezTo>
                      <a:pt x="6888" y="251"/>
                      <a:pt x="6888" y="342"/>
                      <a:pt x="6888" y="342"/>
                    </a:cubicBezTo>
                    <a:cubicBezTo>
                      <a:pt x="6333" y="630"/>
                      <a:pt x="5000" y="2131"/>
                      <a:pt x="4815" y="2373"/>
                    </a:cubicBezTo>
                    <a:cubicBezTo>
                      <a:pt x="4611" y="2617"/>
                      <a:pt x="4426" y="2767"/>
                      <a:pt x="4426" y="2767"/>
                    </a:cubicBezTo>
                    <a:cubicBezTo>
                      <a:pt x="4426" y="2767"/>
                      <a:pt x="4426" y="2662"/>
                      <a:pt x="4445" y="2555"/>
                    </a:cubicBezTo>
                    <a:cubicBezTo>
                      <a:pt x="4445" y="2450"/>
                      <a:pt x="4705" y="1858"/>
                      <a:pt x="4833" y="1630"/>
                    </a:cubicBezTo>
                    <a:cubicBezTo>
                      <a:pt x="4963" y="1418"/>
                      <a:pt x="5055" y="1161"/>
                      <a:pt x="5055" y="1161"/>
                    </a:cubicBezTo>
                    <a:cubicBezTo>
                      <a:pt x="5000" y="979"/>
                      <a:pt x="5074" y="827"/>
                      <a:pt x="5037" y="797"/>
                    </a:cubicBezTo>
                    <a:lnTo>
                      <a:pt x="5019" y="797"/>
                    </a:lnTo>
                    <a:cubicBezTo>
                      <a:pt x="4963" y="797"/>
                      <a:pt x="4741" y="1054"/>
                      <a:pt x="4648" y="1145"/>
                    </a:cubicBezTo>
                    <a:cubicBezTo>
                      <a:pt x="4556" y="1252"/>
                      <a:pt x="3889" y="1479"/>
                      <a:pt x="3889" y="1479"/>
                    </a:cubicBezTo>
                    <a:cubicBezTo>
                      <a:pt x="3131" y="1630"/>
                      <a:pt x="3205" y="1812"/>
                      <a:pt x="3113" y="1919"/>
                    </a:cubicBezTo>
                    <a:cubicBezTo>
                      <a:pt x="3001" y="2025"/>
                      <a:pt x="2928" y="2662"/>
                      <a:pt x="2890" y="2844"/>
                    </a:cubicBezTo>
                    <a:cubicBezTo>
                      <a:pt x="2835" y="3026"/>
                      <a:pt x="2779" y="3889"/>
                      <a:pt x="2724" y="4041"/>
                    </a:cubicBezTo>
                    <a:cubicBezTo>
                      <a:pt x="2668" y="4193"/>
                      <a:pt x="2779" y="4314"/>
                      <a:pt x="2613" y="4390"/>
                    </a:cubicBezTo>
                    <a:cubicBezTo>
                      <a:pt x="2446" y="4451"/>
                      <a:pt x="2372" y="4633"/>
                      <a:pt x="2261" y="4769"/>
                    </a:cubicBezTo>
                    <a:cubicBezTo>
                      <a:pt x="2150" y="4906"/>
                      <a:pt x="1928" y="4860"/>
                      <a:pt x="1595" y="4860"/>
                    </a:cubicBezTo>
                    <a:cubicBezTo>
                      <a:pt x="1261" y="4860"/>
                      <a:pt x="872" y="4739"/>
                      <a:pt x="707" y="4663"/>
                    </a:cubicBezTo>
                    <a:cubicBezTo>
                      <a:pt x="650" y="4617"/>
                      <a:pt x="595" y="4617"/>
                      <a:pt x="558" y="4633"/>
                    </a:cubicBezTo>
                    <a:cubicBezTo>
                      <a:pt x="669" y="4799"/>
                      <a:pt x="743" y="4981"/>
                      <a:pt x="743" y="5224"/>
                    </a:cubicBezTo>
                    <a:cubicBezTo>
                      <a:pt x="743" y="5224"/>
                      <a:pt x="558" y="5633"/>
                      <a:pt x="280" y="5709"/>
                    </a:cubicBezTo>
                    <a:cubicBezTo>
                      <a:pt x="280" y="5709"/>
                      <a:pt x="133" y="5785"/>
                      <a:pt x="58" y="5770"/>
                    </a:cubicBezTo>
                    <a:cubicBezTo>
                      <a:pt x="-34" y="5967"/>
                      <a:pt x="3" y="6255"/>
                      <a:pt x="40" y="6301"/>
                    </a:cubicBezTo>
                    <a:cubicBezTo>
                      <a:pt x="76" y="6376"/>
                      <a:pt x="1002" y="6421"/>
                      <a:pt x="1354" y="6361"/>
                    </a:cubicBezTo>
                    <a:cubicBezTo>
                      <a:pt x="1706" y="6316"/>
                      <a:pt x="2020" y="6406"/>
                      <a:pt x="2261" y="6391"/>
                    </a:cubicBezTo>
                    <a:cubicBezTo>
                      <a:pt x="2520" y="6391"/>
                      <a:pt x="3242" y="6286"/>
                      <a:pt x="3242" y="6286"/>
                    </a:cubicBezTo>
                    <a:cubicBezTo>
                      <a:pt x="3594" y="6134"/>
                      <a:pt x="3482" y="6513"/>
                      <a:pt x="3482" y="6513"/>
                    </a:cubicBezTo>
                    <a:cubicBezTo>
                      <a:pt x="3427" y="6785"/>
                      <a:pt x="3408" y="7392"/>
                      <a:pt x="3408" y="7635"/>
                    </a:cubicBezTo>
                    <a:cubicBezTo>
                      <a:pt x="3427" y="7862"/>
                      <a:pt x="3335" y="8453"/>
                      <a:pt x="3372" y="8696"/>
                    </a:cubicBezTo>
                    <a:cubicBezTo>
                      <a:pt x="3372" y="8741"/>
                      <a:pt x="3408" y="8802"/>
                      <a:pt x="3445" y="8833"/>
                    </a:cubicBezTo>
                    <a:lnTo>
                      <a:pt x="3445" y="8817"/>
                    </a:lnTo>
                    <a:cubicBezTo>
                      <a:pt x="3445" y="8817"/>
                      <a:pt x="3852" y="8908"/>
                      <a:pt x="4186" y="8908"/>
                    </a:cubicBezTo>
                    <a:cubicBezTo>
                      <a:pt x="4538" y="8893"/>
                      <a:pt x="4648" y="8787"/>
                      <a:pt x="4648" y="8787"/>
                    </a:cubicBezTo>
                    <a:cubicBezTo>
                      <a:pt x="4648" y="8787"/>
                      <a:pt x="4927" y="8908"/>
                      <a:pt x="5167" y="8893"/>
                    </a:cubicBezTo>
                    <a:cubicBezTo>
                      <a:pt x="5407" y="8878"/>
                      <a:pt x="6851" y="8817"/>
                      <a:pt x="6999" y="8817"/>
                    </a:cubicBezTo>
                    <a:cubicBezTo>
                      <a:pt x="7166" y="8817"/>
                      <a:pt x="7850" y="8757"/>
                      <a:pt x="7925" y="8741"/>
                    </a:cubicBezTo>
                    <a:cubicBezTo>
                      <a:pt x="7925" y="8741"/>
                      <a:pt x="7832" y="9545"/>
                      <a:pt x="7907" y="9666"/>
                    </a:cubicBezTo>
                    <a:cubicBezTo>
                      <a:pt x="7907" y="9666"/>
                      <a:pt x="8054" y="9818"/>
                      <a:pt x="8369" y="9803"/>
                    </a:cubicBezTo>
                    <a:lnTo>
                      <a:pt x="9849" y="9970"/>
                    </a:lnTo>
                    <a:cubicBezTo>
                      <a:pt x="9812" y="9909"/>
                      <a:pt x="9886" y="8999"/>
                      <a:pt x="9886" y="8999"/>
                    </a:cubicBezTo>
                    <a:cubicBezTo>
                      <a:pt x="9998" y="8211"/>
                      <a:pt x="9961" y="7756"/>
                      <a:pt x="9906" y="7589"/>
                    </a:cubicBezTo>
                    <a:cubicBezTo>
                      <a:pt x="9849" y="7423"/>
                      <a:pt x="9961" y="7149"/>
                      <a:pt x="9998" y="7059"/>
                    </a:cubicBezTo>
                    <a:cubicBezTo>
                      <a:pt x="10016" y="6967"/>
                      <a:pt x="9924" y="6104"/>
                      <a:pt x="9924" y="5876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33">
                <a:extLst>
                  <a:ext uri="{FF2B5EF4-FFF2-40B4-BE49-F238E27FC236}">
                    <a16:creationId xmlns:a16="http://schemas.microsoft.com/office/drawing/2014/main" id="{63CFCAB5-35A1-4BD1-84FF-77B7F2DFE7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3802" y="1223672"/>
                <a:ext cx="712788" cy="555625"/>
              </a:xfrm>
              <a:custGeom>
                <a:avLst/>
                <a:gdLst>
                  <a:gd name="T0" fmla="*/ 250 w 268"/>
                  <a:gd name="T1" fmla="*/ 59 h 209"/>
                  <a:gd name="T2" fmla="*/ 235 w 268"/>
                  <a:gd name="T3" fmla="*/ 28 h 209"/>
                  <a:gd name="T4" fmla="*/ 193 w 268"/>
                  <a:gd name="T5" fmla="*/ 14 h 209"/>
                  <a:gd name="T6" fmla="*/ 176 w 268"/>
                  <a:gd name="T7" fmla="*/ 23 h 209"/>
                  <a:gd name="T8" fmla="*/ 151 w 268"/>
                  <a:gd name="T9" fmla="*/ 2 h 209"/>
                  <a:gd name="T10" fmla="*/ 109 w 268"/>
                  <a:gd name="T11" fmla="*/ 4 h 209"/>
                  <a:gd name="T12" fmla="*/ 89 w 268"/>
                  <a:gd name="T13" fmla="*/ 19 h 209"/>
                  <a:gd name="T14" fmla="*/ 64 w 268"/>
                  <a:gd name="T15" fmla="*/ 22 h 209"/>
                  <a:gd name="T16" fmla="*/ 49 w 268"/>
                  <a:gd name="T17" fmla="*/ 28 h 209"/>
                  <a:gd name="T18" fmla="*/ 63 w 268"/>
                  <a:gd name="T19" fmla="*/ 27 h 209"/>
                  <a:gd name="T20" fmla="*/ 25 w 268"/>
                  <a:gd name="T21" fmla="*/ 44 h 209"/>
                  <a:gd name="T22" fmla="*/ 16 w 268"/>
                  <a:gd name="T23" fmla="*/ 116 h 209"/>
                  <a:gd name="T24" fmla="*/ 21 w 268"/>
                  <a:gd name="T25" fmla="*/ 106 h 209"/>
                  <a:gd name="T26" fmla="*/ 30 w 268"/>
                  <a:gd name="T27" fmla="*/ 86 h 209"/>
                  <a:gd name="T28" fmla="*/ 57 w 268"/>
                  <a:gd name="T29" fmla="*/ 100 h 209"/>
                  <a:gd name="T30" fmla="*/ 57 w 268"/>
                  <a:gd name="T31" fmla="*/ 90 h 209"/>
                  <a:gd name="T32" fmla="*/ 72 w 268"/>
                  <a:gd name="T33" fmla="*/ 100 h 209"/>
                  <a:gd name="T34" fmla="*/ 74 w 268"/>
                  <a:gd name="T35" fmla="*/ 90 h 209"/>
                  <a:gd name="T36" fmla="*/ 85 w 268"/>
                  <a:gd name="T37" fmla="*/ 101 h 209"/>
                  <a:gd name="T38" fmla="*/ 107 w 268"/>
                  <a:gd name="T39" fmla="*/ 122 h 209"/>
                  <a:gd name="T40" fmla="*/ 103 w 268"/>
                  <a:gd name="T41" fmla="*/ 116 h 209"/>
                  <a:gd name="T42" fmla="*/ 101 w 268"/>
                  <a:gd name="T43" fmla="*/ 95 h 209"/>
                  <a:gd name="T44" fmla="*/ 113 w 268"/>
                  <a:gd name="T45" fmla="*/ 111 h 209"/>
                  <a:gd name="T46" fmla="*/ 125 w 268"/>
                  <a:gd name="T47" fmla="*/ 131 h 209"/>
                  <a:gd name="T48" fmla="*/ 131 w 268"/>
                  <a:gd name="T49" fmla="*/ 152 h 209"/>
                  <a:gd name="T50" fmla="*/ 144 w 268"/>
                  <a:gd name="T51" fmla="*/ 140 h 209"/>
                  <a:gd name="T52" fmla="*/ 160 w 268"/>
                  <a:gd name="T53" fmla="*/ 129 h 209"/>
                  <a:gd name="T54" fmla="*/ 183 w 268"/>
                  <a:gd name="T55" fmla="*/ 147 h 209"/>
                  <a:gd name="T56" fmla="*/ 179 w 268"/>
                  <a:gd name="T57" fmla="*/ 205 h 209"/>
                  <a:gd name="T58" fmla="*/ 179 w 268"/>
                  <a:gd name="T59" fmla="*/ 209 h 209"/>
                  <a:gd name="T60" fmla="*/ 187 w 268"/>
                  <a:gd name="T61" fmla="*/ 204 h 209"/>
                  <a:gd name="T62" fmla="*/ 210 w 268"/>
                  <a:gd name="T63" fmla="*/ 176 h 209"/>
                  <a:gd name="T64" fmla="*/ 214 w 268"/>
                  <a:gd name="T65" fmla="*/ 146 h 209"/>
                  <a:gd name="T66" fmla="*/ 221 w 268"/>
                  <a:gd name="T67" fmla="*/ 146 h 209"/>
                  <a:gd name="T68" fmla="*/ 219 w 268"/>
                  <a:gd name="T69" fmla="*/ 154 h 209"/>
                  <a:gd name="T70" fmla="*/ 256 w 268"/>
                  <a:gd name="T71" fmla="*/ 118 h 209"/>
                  <a:gd name="T72" fmla="*/ 250 w 268"/>
                  <a:gd name="T73" fmla="*/ 5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8" h="209">
                    <a:moveTo>
                      <a:pt x="250" y="59"/>
                    </a:moveTo>
                    <a:cubicBezTo>
                      <a:pt x="245" y="53"/>
                      <a:pt x="244" y="36"/>
                      <a:pt x="235" y="28"/>
                    </a:cubicBezTo>
                    <a:cubicBezTo>
                      <a:pt x="227" y="20"/>
                      <a:pt x="212" y="13"/>
                      <a:pt x="193" y="14"/>
                    </a:cubicBezTo>
                    <a:cubicBezTo>
                      <a:pt x="193" y="14"/>
                      <a:pt x="175" y="16"/>
                      <a:pt x="176" y="23"/>
                    </a:cubicBezTo>
                    <a:cubicBezTo>
                      <a:pt x="176" y="23"/>
                      <a:pt x="158" y="3"/>
                      <a:pt x="151" y="2"/>
                    </a:cubicBezTo>
                    <a:cubicBezTo>
                      <a:pt x="143" y="0"/>
                      <a:pt x="111" y="0"/>
                      <a:pt x="109" y="4"/>
                    </a:cubicBezTo>
                    <a:cubicBezTo>
                      <a:pt x="106" y="7"/>
                      <a:pt x="89" y="15"/>
                      <a:pt x="89" y="19"/>
                    </a:cubicBezTo>
                    <a:cubicBezTo>
                      <a:pt x="88" y="23"/>
                      <a:pt x="79" y="18"/>
                      <a:pt x="64" y="22"/>
                    </a:cubicBezTo>
                    <a:cubicBezTo>
                      <a:pt x="64" y="22"/>
                      <a:pt x="50" y="25"/>
                      <a:pt x="49" y="28"/>
                    </a:cubicBezTo>
                    <a:cubicBezTo>
                      <a:pt x="49" y="30"/>
                      <a:pt x="53" y="26"/>
                      <a:pt x="63" y="27"/>
                    </a:cubicBezTo>
                    <a:cubicBezTo>
                      <a:pt x="73" y="28"/>
                      <a:pt x="37" y="30"/>
                      <a:pt x="25" y="44"/>
                    </a:cubicBezTo>
                    <a:cubicBezTo>
                      <a:pt x="13" y="58"/>
                      <a:pt x="0" y="91"/>
                      <a:pt x="16" y="116"/>
                    </a:cubicBezTo>
                    <a:cubicBezTo>
                      <a:pt x="20" y="114"/>
                      <a:pt x="21" y="106"/>
                      <a:pt x="21" y="106"/>
                    </a:cubicBezTo>
                    <a:cubicBezTo>
                      <a:pt x="24" y="98"/>
                      <a:pt x="23" y="71"/>
                      <a:pt x="30" y="86"/>
                    </a:cubicBezTo>
                    <a:cubicBezTo>
                      <a:pt x="37" y="100"/>
                      <a:pt x="57" y="100"/>
                      <a:pt x="57" y="100"/>
                    </a:cubicBezTo>
                    <a:cubicBezTo>
                      <a:pt x="52" y="93"/>
                      <a:pt x="57" y="90"/>
                      <a:pt x="57" y="90"/>
                    </a:cubicBezTo>
                    <a:cubicBezTo>
                      <a:pt x="65" y="103"/>
                      <a:pt x="76" y="103"/>
                      <a:pt x="72" y="100"/>
                    </a:cubicBezTo>
                    <a:cubicBezTo>
                      <a:pt x="68" y="96"/>
                      <a:pt x="69" y="91"/>
                      <a:pt x="74" y="90"/>
                    </a:cubicBezTo>
                    <a:cubicBezTo>
                      <a:pt x="79" y="88"/>
                      <a:pt x="85" y="101"/>
                      <a:pt x="85" y="101"/>
                    </a:cubicBezTo>
                    <a:cubicBezTo>
                      <a:pt x="90" y="124"/>
                      <a:pt x="107" y="122"/>
                      <a:pt x="107" y="122"/>
                    </a:cubicBezTo>
                    <a:cubicBezTo>
                      <a:pt x="103" y="116"/>
                      <a:pt x="103" y="116"/>
                      <a:pt x="103" y="116"/>
                    </a:cubicBezTo>
                    <a:cubicBezTo>
                      <a:pt x="95" y="104"/>
                      <a:pt x="101" y="92"/>
                      <a:pt x="101" y="95"/>
                    </a:cubicBezTo>
                    <a:cubicBezTo>
                      <a:pt x="101" y="98"/>
                      <a:pt x="105" y="101"/>
                      <a:pt x="113" y="111"/>
                    </a:cubicBezTo>
                    <a:cubicBezTo>
                      <a:pt x="122" y="121"/>
                      <a:pt x="119" y="118"/>
                      <a:pt x="125" y="131"/>
                    </a:cubicBezTo>
                    <a:cubicBezTo>
                      <a:pt x="130" y="144"/>
                      <a:pt x="131" y="154"/>
                      <a:pt x="131" y="152"/>
                    </a:cubicBezTo>
                    <a:cubicBezTo>
                      <a:pt x="132" y="151"/>
                      <a:pt x="144" y="140"/>
                      <a:pt x="144" y="140"/>
                    </a:cubicBezTo>
                    <a:cubicBezTo>
                      <a:pt x="151" y="133"/>
                      <a:pt x="160" y="129"/>
                      <a:pt x="160" y="129"/>
                    </a:cubicBezTo>
                    <a:cubicBezTo>
                      <a:pt x="180" y="120"/>
                      <a:pt x="182" y="138"/>
                      <a:pt x="183" y="147"/>
                    </a:cubicBezTo>
                    <a:cubicBezTo>
                      <a:pt x="183" y="156"/>
                      <a:pt x="179" y="184"/>
                      <a:pt x="179" y="205"/>
                    </a:cubicBezTo>
                    <a:cubicBezTo>
                      <a:pt x="179" y="206"/>
                      <a:pt x="179" y="207"/>
                      <a:pt x="179" y="209"/>
                    </a:cubicBezTo>
                    <a:cubicBezTo>
                      <a:pt x="182" y="207"/>
                      <a:pt x="185" y="205"/>
                      <a:pt x="187" y="204"/>
                    </a:cubicBezTo>
                    <a:cubicBezTo>
                      <a:pt x="196" y="202"/>
                      <a:pt x="210" y="188"/>
                      <a:pt x="210" y="176"/>
                    </a:cubicBezTo>
                    <a:cubicBezTo>
                      <a:pt x="210" y="163"/>
                      <a:pt x="211" y="149"/>
                      <a:pt x="214" y="146"/>
                    </a:cubicBezTo>
                    <a:cubicBezTo>
                      <a:pt x="217" y="143"/>
                      <a:pt x="219" y="142"/>
                      <a:pt x="221" y="146"/>
                    </a:cubicBezTo>
                    <a:cubicBezTo>
                      <a:pt x="223" y="150"/>
                      <a:pt x="221" y="153"/>
                      <a:pt x="219" y="154"/>
                    </a:cubicBezTo>
                    <a:cubicBezTo>
                      <a:pt x="217" y="156"/>
                      <a:pt x="244" y="151"/>
                      <a:pt x="256" y="118"/>
                    </a:cubicBezTo>
                    <a:cubicBezTo>
                      <a:pt x="268" y="86"/>
                      <a:pt x="255" y="65"/>
                      <a:pt x="250" y="59"/>
                    </a:cubicBezTo>
                    <a:close/>
                  </a:path>
                </a:pathLst>
              </a:custGeom>
              <a:solidFill>
                <a:srgbClr val="42210B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34">
                <a:extLst>
                  <a:ext uri="{FF2B5EF4-FFF2-40B4-BE49-F238E27FC236}">
                    <a16:creationId xmlns:a16="http://schemas.microsoft.com/office/drawing/2014/main" id="{2357D64F-4A05-417F-BBA5-F1BD080786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3490" y="1412585"/>
                <a:ext cx="449263" cy="887413"/>
              </a:xfrm>
              <a:custGeom>
                <a:avLst/>
                <a:gdLst>
                  <a:gd name="T0" fmla="*/ 164 w 169"/>
                  <a:gd name="T1" fmla="*/ 138 h 334"/>
                  <a:gd name="T2" fmla="*/ 164 w 169"/>
                  <a:gd name="T3" fmla="*/ 134 h 334"/>
                  <a:gd name="T4" fmla="*/ 168 w 169"/>
                  <a:gd name="T5" fmla="*/ 76 h 334"/>
                  <a:gd name="T6" fmla="*/ 145 w 169"/>
                  <a:gd name="T7" fmla="*/ 58 h 334"/>
                  <a:gd name="T8" fmla="*/ 129 w 169"/>
                  <a:gd name="T9" fmla="*/ 69 h 334"/>
                  <a:gd name="T10" fmla="*/ 116 w 169"/>
                  <a:gd name="T11" fmla="*/ 81 h 334"/>
                  <a:gd name="T12" fmla="*/ 110 w 169"/>
                  <a:gd name="T13" fmla="*/ 60 h 334"/>
                  <a:gd name="T14" fmla="*/ 98 w 169"/>
                  <a:gd name="T15" fmla="*/ 40 h 334"/>
                  <a:gd name="T16" fmla="*/ 86 w 169"/>
                  <a:gd name="T17" fmla="*/ 24 h 334"/>
                  <a:gd name="T18" fmla="*/ 88 w 169"/>
                  <a:gd name="T19" fmla="*/ 45 h 334"/>
                  <a:gd name="T20" fmla="*/ 92 w 169"/>
                  <a:gd name="T21" fmla="*/ 51 h 334"/>
                  <a:gd name="T22" fmla="*/ 70 w 169"/>
                  <a:gd name="T23" fmla="*/ 30 h 334"/>
                  <a:gd name="T24" fmla="*/ 59 w 169"/>
                  <a:gd name="T25" fmla="*/ 19 h 334"/>
                  <a:gd name="T26" fmla="*/ 57 w 169"/>
                  <a:gd name="T27" fmla="*/ 29 h 334"/>
                  <a:gd name="T28" fmla="*/ 42 w 169"/>
                  <a:gd name="T29" fmla="*/ 19 h 334"/>
                  <a:gd name="T30" fmla="*/ 42 w 169"/>
                  <a:gd name="T31" fmla="*/ 29 h 334"/>
                  <a:gd name="T32" fmla="*/ 15 w 169"/>
                  <a:gd name="T33" fmla="*/ 15 h 334"/>
                  <a:gd name="T34" fmla="*/ 6 w 169"/>
                  <a:gd name="T35" fmla="*/ 35 h 334"/>
                  <a:gd name="T36" fmla="*/ 1 w 169"/>
                  <a:gd name="T37" fmla="*/ 45 h 334"/>
                  <a:gd name="T38" fmla="*/ 0 w 169"/>
                  <a:gd name="T39" fmla="*/ 45 h 334"/>
                  <a:gd name="T40" fmla="*/ 4 w 169"/>
                  <a:gd name="T41" fmla="*/ 71 h 334"/>
                  <a:gd name="T42" fmla="*/ 3 w 169"/>
                  <a:gd name="T43" fmla="*/ 101 h 334"/>
                  <a:gd name="T44" fmla="*/ 3 w 169"/>
                  <a:gd name="T45" fmla="*/ 118 h 334"/>
                  <a:gd name="T46" fmla="*/ 14 w 169"/>
                  <a:gd name="T47" fmla="*/ 127 h 334"/>
                  <a:gd name="T48" fmla="*/ 18 w 169"/>
                  <a:gd name="T49" fmla="*/ 135 h 334"/>
                  <a:gd name="T50" fmla="*/ 18 w 169"/>
                  <a:gd name="T51" fmla="*/ 146 h 334"/>
                  <a:gd name="T52" fmla="*/ 22 w 169"/>
                  <a:gd name="T53" fmla="*/ 172 h 334"/>
                  <a:gd name="T54" fmla="*/ 62 w 169"/>
                  <a:gd name="T55" fmla="*/ 184 h 334"/>
                  <a:gd name="T56" fmla="*/ 68 w 169"/>
                  <a:gd name="T57" fmla="*/ 204 h 334"/>
                  <a:gd name="T58" fmla="*/ 69 w 169"/>
                  <a:gd name="T59" fmla="*/ 228 h 334"/>
                  <a:gd name="T60" fmla="*/ 57 w 169"/>
                  <a:gd name="T61" fmla="*/ 259 h 334"/>
                  <a:gd name="T62" fmla="*/ 36 w 169"/>
                  <a:gd name="T63" fmla="*/ 320 h 334"/>
                  <a:gd name="T64" fmla="*/ 35 w 169"/>
                  <a:gd name="T65" fmla="*/ 334 h 334"/>
                  <a:gd name="T66" fmla="*/ 56 w 169"/>
                  <a:gd name="T67" fmla="*/ 308 h 334"/>
                  <a:gd name="T68" fmla="*/ 168 w 169"/>
                  <a:gd name="T69" fmla="*/ 174 h 334"/>
                  <a:gd name="T70" fmla="*/ 169 w 169"/>
                  <a:gd name="T71" fmla="*/ 162 h 334"/>
                  <a:gd name="T72" fmla="*/ 164 w 169"/>
                  <a:gd name="T73" fmla="*/ 13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9" h="334">
                    <a:moveTo>
                      <a:pt x="164" y="138"/>
                    </a:moveTo>
                    <a:cubicBezTo>
                      <a:pt x="164" y="136"/>
                      <a:pt x="164" y="135"/>
                      <a:pt x="164" y="134"/>
                    </a:cubicBezTo>
                    <a:cubicBezTo>
                      <a:pt x="164" y="113"/>
                      <a:pt x="168" y="85"/>
                      <a:pt x="168" y="76"/>
                    </a:cubicBezTo>
                    <a:cubicBezTo>
                      <a:pt x="167" y="67"/>
                      <a:pt x="165" y="49"/>
                      <a:pt x="145" y="58"/>
                    </a:cubicBezTo>
                    <a:cubicBezTo>
                      <a:pt x="145" y="58"/>
                      <a:pt x="136" y="62"/>
                      <a:pt x="129" y="69"/>
                    </a:cubicBezTo>
                    <a:cubicBezTo>
                      <a:pt x="129" y="69"/>
                      <a:pt x="117" y="80"/>
                      <a:pt x="116" y="81"/>
                    </a:cubicBezTo>
                    <a:cubicBezTo>
                      <a:pt x="116" y="83"/>
                      <a:pt x="115" y="73"/>
                      <a:pt x="110" y="60"/>
                    </a:cubicBezTo>
                    <a:cubicBezTo>
                      <a:pt x="104" y="47"/>
                      <a:pt x="107" y="50"/>
                      <a:pt x="98" y="40"/>
                    </a:cubicBezTo>
                    <a:cubicBezTo>
                      <a:pt x="90" y="30"/>
                      <a:pt x="86" y="27"/>
                      <a:pt x="86" y="24"/>
                    </a:cubicBezTo>
                    <a:cubicBezTo>
                      <a:pt x="86" y="21"/>
                      <a:pt x="80" y="33"/>
                      <a:pt x="88" y="45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2" y="51"/>
                      <a:pt x="75" y="53"/>
                      <a:pt x="70" y="30"/>
                    </a:cubicBezTo>
                    <a:cubicBezTo>
                      <a:pt x="70" y="30"/>
                      <a:pt x="64" y="17"/>
                      <a:pt x="59" y="19"/>
                    </a:cubicBezTo>
                    <a:cubicBezTo>
                      <a:pt x="54" y="20"/>
                      <a:pt x="53" y="25"/>
                      <a:pt x="57" y="29"/>
                    </a:cubicBezTo>
                    <a:cubicBezTo>
                      <a:pt x="61" y="32"/>
                      <a:pt x="50" y="32"/>
                      <a:pt x="42" y="19"/>
                    </a:cubicBezTo>
                    <a:cubicBezTo>
                      <a:pt x="42" y="19"/>
                      <a:pt x="37" y="22"/>
                      <a:pt x="42" y="29"/>
                    </a:cubicBezTo>
                    <a:cubicBezTo>
                      <a:pt x="42" y="29"/>
                      <a:pt x="22" y="29"/>
                      <a:pt x="15" y="15"/>
                    </a:cubicBezTo>
                    <a:cubicBezTo>
                      <a:pt x="8" y="0"/>
                      <a:pt x="9" y="27"/>
                      <a:pt x="6" y="35"/>
                    </a:cubicBezTo>
                    <a:cubicBezTo>
                      <a:pt x="6" y="35"/>
                      <a:pt x="5" y="43"/>
                      <a:pt x="1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1" y="62"/>
                      <a:pt x="4" y="71"/>
                    </a:cubicBezTo>
                    <a:cubicBezTo>
                      <a:pt x="4" y="71"/>
                      <a:pt x="7" y="81"/>
                      <a:pt x="3" y="101"/>
                    </a:cubicBezTo>
                    <a:cubicBezTo>
                      <a:pt x="3" y="101"/>
                      <a:pt x="0" y="113"/>
                      <a:pt x="3" y="118"/>
                    </a:cubicBezTo>
                    <a:cubicBezTo>
                      <a:pt x="3" y="118"/>
                      <a:pt x="13" y="124"/>
                      <a:pt x="14" y="127"/>
                    </a:cubicBezTo>
                    <a:cubicBezTo>
                      <a:pt x="14" y="131"/>
                      <a:pt x="15" y="136"/>
                      <a:pt x="18" y="135"/>
                    </a:cubicBezTo>
                    <a:cubicBezTo>
                      <a:pt x="22" y="133"/>
                      <a:pt x="19" y="139"/>
                      <a:pt x="18" y="146"/>
                    </a:cubicBezTo>
                    <a:cubicBezTo>
                      <a:pt x="16" y="153"/>
                      <a:pt x="15" y="168"/>
                      <a:pt x="22" y="172"/>
                    </a:cubicBezTo>
                    <a:cubicBezTo>
                      <a:pt x="30" y="176"/>
                      <a:pt x="54" y="179"/>
                      <a:pt x="62" y="184"/>
                    </a:cubicBezTo>
                    <a:cubicBezTo>
                      <a:pt x="67" y="187"/>
                      <a:pt x="69" y="194"/>
                      <a:pt x="68" y="204"/>
                    </a:cubicBezTo>
                    <a:cubicBezTo>
                      <a:pt x="70" y="206"/>
                      <a:pt x="66" y="216"/>
                      <a:pt x="69" y="228"/>
                    </a:cubicBezTo>
                    <a:cubicBezTo>
                      <a:pt x="69" y="228"/>
                      <a:pt x="64" y="245"/>
                      <a:pt x="57" y="259"/>
                    </a:cubicBezTo>
                    <a:cubicBezTo>
                      <a:pt x="50" y="274"/>
                      <a:pt x="36" y="313"/>
                      <a:pt x="36" y="320"/>
                    </a:cubicBezTo>
                    <a:cubicBezTo>
                      <a:pt x="35" y="327"/>
                      <a:pt x="35" y="334"/>
                      <a:pt x="35" y="334"/>
                    </a:cubicBezTo>
                    <a:cubicBezTo>
                      <a:pt x="35" y="334"/>
                      <a:pt x="45" y="324"/>
                      <a:pt x="56" y="308"/>
                    </a:cubicBezTo>
                    <a:cubicBezTo>
                      <a:pt x="66" y="292"/>
                      <a:pt x="138" y="193"/>
                      <a:pt x="168" y="174"/>
                    </a:cubicBezTo>
                    <a:cubicBezTo>
                      <a:pt x="168" y="174"/>
                      <a:pt x="168" y="168"/>
                      <a:pt x="169" y="162"/>
                    </a:cubicBezTo>
                    <a:cubicBezTo>
                      <a:pt x="167" y="156"/>
                      <a:pt x="164" y="147"/>
                      <a:pt x="164" y="138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35">
                <a:extLst>
                  <a:ext uri="{FF2B5EF4-FFF2-40B4-BE49-F238E27FC236}">
                    <a16:creationId xmlns:a16="http://schemas.microsoft.com/office/drawing/2014/main" id="{307584A7-D0CE-47D2-B3DD-11933852EC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7327" y="5481347"/>
                <a:ext cx="257175" cy="111125"/>
              </a:xfrm>
              <a:custGeom>
                <a:avLst/>
                <a:gdLst>
                  <a:gd name="T0" fmla="*/ 97 w 97"/>
                  <a:gd name="T1" fmla="*/ 32 h 42"/>
                  <a:gd name="T2" fmla="*/ 83 w 97"/>
                  <a:gd name="T3" fmla="*/ 39 h 42"/>
                  <a:gd name="T4" fmla="*/ 58 w 97"/>
                  <a:gd name="T5" fmla="*/ 41 h 42"/>
                  <a:gd name="T6" fmla="*/ 50 w 97"/>
                  <a:gd name="T7" fmla="*/ 33 h 42"/>
                  <a:gd name="T8" fmla="*/ 24 w 97"/>
                  <a:gd name="T9" fmla="*/ 24 h 42"/>
                  <a:gd name="T10" fmla="*/ 2 w 97"/>
                  <a:gd name="T11" fmla="*/ 15 h 42"/>
                  <a:gd name="T12" fmla="*/ 25 w 97"/>
                  <a:gd name="T13" fmla="*/ 9 h 42"/>
                  <a:gd name="T14" fmla="*/ 39 w 97"/>
                  <a:gd name="T15" fmla="*/ 19 h 42"/>
                  <a:gd name="T16" fmla="*/ 57 w 97"/>
                  <a:gd name="T17" fmla="*/ 23 h 42"/>
                  <a:gd name="T18" fmla="*/ 97 w 97"/>
                  <a:gd name="T19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" h="42">
                    <a:moveTo>
                      <a:pt x="97" y="32"/>
                    </a:moveTo>
                    <a:cubicBezTo>
                      <a:pt x="97" y="32"/>
                      <a:pt x="95" y="39"/>
                      <a:pt x="83" y="39"/>
                    </a:cubicBezTo>
                    <a:cubicBezTo>
                      <a:pt x="71" y="39"/>
                      <a:pt x="64" y="42"/>
                      <a:pt x="58" y="41"/>
                    </a:cubicBezTo>
                    <a:cubicBezTo>
                      <a:pt x="53" y="39"/>
                      <a:pt x="56" y="36"/>
                      <a:pt x="50" y="33"/>
                    </a:cubicBezTo>
                    <a:cubicBezTo>
                      <a:pt x="44" y="29"/>
                      <a:pt x="38" y="27"/>
                      <a:pt x="24" y="24"/>
                    </a:cubicBezTo>
                    <a:cubicBezTo>
                      <a:pt x="9" y="21"/>
                      <a:pt x="0" y="22"/>
                      <a:pt x="2" y="15"/>
                    </a:cubicBezTo>
                    <a:cubicBezTo>
                      <a:pt x="4" y="9"/>
                      <a:pt x="8" y="0"/>
                      <a:pt x="25" y="9"/>
                    </a:cubicBezTo>
                    <a:cubicBezTo>
                      <a:pt x="25" y="9"/>
                      <a:pt x="34" y="16"/>
                      <a:pt x="39" y="19"/>
                    </a:cubicBezTo>
                    <a:cubicBezTo>
                      <a:pt x="44" y="21"/>
                      <a:pt x="52" y="23"/>
                      <a:pt x="57" y="23"/>
                    </a:cubicBezTo>
                    <a:cubicBezTo>
                      <a:pt x="62" y="23"/>
                      <a:pt x="93" y="26"/>
                      <a:pt x="97" y="3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36">
                <a:extLst>
                  <a:ext uri="{FF2B5EF4-FFF2-40B4-BE49-F238E27FC236}">
                    <a16:creationId xmlns:a16="http://schemas.microsoft.com/office/drawing/2014/main" id="{5F24CCE3-0EF8-4550-AA6D-DED279AD17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13765" y="5611522"/>
                <a:ext cx="206375" cy="68263"/>
              </a:xfrm>
              <a:custGeom>
                <a:avLst/>
                <a:gdLst>
                  <a:gd name="T0" fmla="*/ 71 w 78"/>
                  <a:gd name="T1" fmla="*/ 12 h 26"/>
                  <a:gd name="T2" fmla="*/ 57 w 78"/>
                  <a:gd name="T3" fmla="*/ 11 h 26"/>
                  <a:gd name="T4" fmla="*/ 48 w 78"/>
                  <a:gd name="T5" fmla="*/ 21 h 26"/>
                  <a:gd name="T6" fmla="*/ 15 w 78"/>
                  <a:gd name="T7" fmla="*/ 26 h 26"/>
                  <a:gd name="T8" fmla="*/ 0 w 78"/>
                  <a:gd name="T9" fmla="*/ 24 h 26"/>
                  <a:gd name="T10" fmla="*/ 47 w 78"/>
                  <a:gd name="T11" fmla="*/ 3 h 26"/>
                  <a:gd name="T12" fmla="*/ 71 w 78"/>
                  <a:gd name="T1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6">
                    <a:moveTo>
                      <a:pt x="71" y="12"/>
                    </a:moveTo>
                    <a:cubicBezTo>
                      <a:pt x="71" y="12"/>
                      <a:pt x="60" y="13"/>
                      <a:pt x="57" y="11"/>
                    </a:cubicBezTo>
                    <a:cubicBezTo>
                      <a:pt x="54" y="9"/>
                      <a:pt x="53" y="18"/>
                      <a:pt x="48" y="21"/>
                    </a:cubicBezTo>
                    <a:cubicBezTo>
                      <a:pt x="44" y="24"/>
                      <a:pt x="23" y="26"/>
                      <a:pt x="15" y="26"/>
                    </a:cubicBezTo>
                    <a:cubicBezTo>
                      <a:pt x="7" y="26"/>
                      <a:pt x="0" y="24"/>
                      <a:pt x="0" y="24"/>
                    </a:cubicBezTo>
                    <a:cubicBezTo>
                      <a:pt x="0" y="24"/>
                      <a:pt x="31" y="6"/>
                      <a:pt x="47" y="3"/>
                    </a:cubicBezTo>
                    <a:cubicBezTo>
                      <a:pt x="63" y="0"/>
                      <a:pt x="78" y="7"/>
                      <a:pt x="71" y="1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37">
                <a:extLst>
                  <a:ext uri="{FF2B5EF4-FFF2-40B4-BE49-F238E27FC236}">
                    <a16:creationId xmlns:a16="http://schemas.microsoft.com/office/drawing/2014/main" id="{B44F45D0-60B9-431B-A9E5-0351F2C94C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1252" y="5767097"/>
                <a:ext cx="50800" cy="50800"/>
              </a:xfrm>
              <a:custGeom>
                <a:avLst/>
                <a:gdLst>
                  <a:gd name="T0" fmla="*/ 0 w 19"/>
                  <a:gd name="T1" fmla="*/ 7 h 19"/>
                  <a:gd name="T2" fmla="*/ 12 w 19"/>
                  <a:gd name="T3" fmla="*/ 17 h 19"/>
                  <a:gd name="T4" fmla="*/ 16 w 19"/>
                  <a:gd name="T5" fmla="*/ 7 h 19"/>
                  <a:gd name="T6" fmla="*/ 0 w 19"/>
                  <a:gd name="T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9">
                    <a:moveTo>
                      <a:pt x="0" y="7"/>
                    </a:moveTo>
                    <a:cubicBezTo>
                      <a:pt x="0" y="7"/>
                      <a:pt x="4" y="19"/>
                      <a:pt x="12" y="17"/>
                    </a:cubicBezTo>
                    <a:cubicBezTo>
                      <a:pt x="19" y="15"/>
                      <a:pt x="17" y="10"/>
                      <a:pt x="16" y="7"/>
                    </a:cubicBezTo>
                    <a:cubicBezTo>
                      <a:pt x="16" y="5"/>
                      <a:pt x="2" y="0"/>
                      <a:pt x="0" y="7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38">
                <a:extLst>
                  <a:ext uri="{FF2B5EF4-FFF2-40B4-BE49-F238E27FC236}">
                    <a16:creationId xmlns:a16="http://schemas.microsoft.com/office/drawing/2014/main" id="{97E405F6-59D2-451F-8405-49D4B48E13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9615" y="5698835"/>
                <a:ext cx="168275" cy="125413"/>
              </a:xfrm>
              <a:custGeom>
                <a:avLst/>
                <a:gdLst>
                  <a:gd name="T0" fmla="*/ 35 w 63"/>
                  <a:gd name="T1" fmla="*/ 0 h 47"/>
                  <a:gd name="T2" fmla="*/ 54 w 63"/>
                  <a:gd name="T3" fmla="*/ 12 h 47"/>
                  <a:gd name="T4" fmla="*/ 61 w 63"/>
                  <a:gd name="T5" fmla="*/ 43 h 47"/>
                  <a:gd name="T6" fmla="*/ 38 w 63"/>
                  <a:gd name="T7" fmla="*/ 23 h 47"/>
                  <a:gd name="T8" fmla="*/ 26 w 63"/>
                  <a:gd name="T9" fmla="*/ 12 h 47"/>
                  <a:gd name="T10" fmla="*/ 22 w 63"/>
                  <a:gd name="T11" fmla="*/ 19 h 47"/>
                  <a:gd name="T12" fmla="*/ 7 w 63"/>
                  <a:gd name="T13" fmla="*/ 1 h 47"/>
                  <a:gd name="T14" fmla="*/ 35 w 63"/>
                  <a:gd name="T1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35" y="0"/>
                    </a:moveTo>
                    <a:cubicBezTo>
                      <a:pt x="35" y="0"/>
                      <a:pt x="48" y="7"/>
                      <a:pt x="54" y="12"/>
                    </a:cubicBezTo>
                    <a:cubicBezTo>
                      <a:pt x="60" y="17"/>
                      <a:pt x="63" y="39"/>
                      <a:pt x="61" y="43"/>
                    </a:cubicBezTo>
                    <a:cubicBezTo>
                      <a:pt x="60" y="47"/>
                      <a:pt x="39" y="31"/>
                      <a:pt x="38" y="23"/>
                    </a:cubicBezTo>
                    <a:cubicBezTo>
                      <a:pt x="37" y="15"/>
                      <a:pt x="31" y="13"/>
                      <a:pt x="26" y="12"/>
                    </a:cubicBezTo>
                    <a:cubicBezTo>
                      <a:pt x="21" y="11"/>
                      <a:pt x="19" y="17"/>
                      <a:pt x="22" y="19"/>
                    </a:cubicBezTo>
                    <a:cubicBezTo>
                      <a:pt x="25" y="21"/>
                      <a:pt x="0" y="23"/>
                      <a:pt x="7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39">
                <a:extLst>
                  <a:ext uri="{FF2B5EF4-FFF2-40B4-BE49-F238E27FC236}">
                    <a16:creationId xmlns:a16="http://schemas.microsoft.com/office/drawing/2014/main" id="{F8D24786-3033-4939-8B94-BB335F7E08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85240" y="4744747"/>
                <a:ext cx="184150" cy="528638"/>
              </a:xfrm>
              <a:custGeom>
                <a:avLst/>
                <a:gdLst>
                  <a:gd name="T0" fmla="*/ 69 w 69"/>
                  <a:gd name="T1" fmla="*/ 0 h 199"/>
                  <a:gd name="T2" fmla="*/ 37 w 69"/>
                  <a:gd name="T3" fmla="*/ 74 h 199"/>
                  <a:gd name="T4" fmla="*/ 6 w 69"/>
                  <a:gd name="T5" fmla="*/ 172 h 199"/>
                  <a:gd name="T6" fmla="*/ 16 w 69"/>
                  <a:gd name="T7" fmla="*/ 193 h 199"/>
                  <a:gd name="T8" fmla="*/ 28 w 69"/>
                  <a:gd name="T9" fmla="*/ 193 h 199"/>
                  <a:gd name="T10" fmla="*/ 26 w 69"/>
                  <a:gd name="T11" fmla="*/ 180 h 199"/>
                  <a:gd name="T12" fmla="*/ 17 w 69"/>
                  <a:gd name="T13" fmla="*/ 167 h 199"/>
                  <a:gd name="T14" fmla="*/ 38 w 69"/>
                  <a:gd name="T15" fmla="*/ 109 h 199"/>
                  <a:gd name="T16" fmla="*/ 69 w 69"/>
                  <a:gd name="T17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199">
                    <a:moveTo>
                      <a:pt x="69" y="0"/>
                    </a:moveTo>
                    <a:cubicBezTo>
                      <a:pt x="69" y="0"/>
                      <a:pt x="47" y="56"/>
                      <a:pt x="37" y="74"/>
                    </a:cubicBezTo>
                    <a:cubicBezTo>
                      <a:pt x="27" y="93"/>
                      <a:pt x="8" y="162"/>
                      <a:pt x="6" y="172"/>
                    </a:cubicBezTo>
                    <a:cubicBezTo>
                      <a:pt x="3" y="181"/>
                      <a:pt x="0" y="187"/>
                      <a:pt x="16" y="193"/>
                    </a:cubicBezTo>
                    <a:cubicBezTo>
                      <a:pt x="32" y="199"/>
                      <a:pt x="28" y="193"/>
                      <a:pt x="28" y="193"/>
                    </a:cubicBezTo>
                    <a:cubicBezTo>
                      <a:pt x="28" y="193"/>
                      <a:pt x="32" y="182"/>
                      <a:pt x="26" y="180"/>
                    </a:cubicBezTo>
                    <a:cubicBezTo>
                      <a:pt x="20" y="178"/>
                      <a:pt x="8" y="184"/>
                      <a:pt x="17" y="167"/>
                    </a:cubicBezTo>
                    <a:cubicBezTo>
                      <a:pt x="26" y="150"/>
                      <a:pt x="38" y="120"/>
                      <a:pt x="38" y="109"/>
                    </a:cubicBezTo>
                    <a:cubicBezTo>
                      <a:pt x="39" y="98"/>
                      <a:pt x="65" y="35"/>
                      <a:pt x="69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40">
                <a:extLst>
                  <a:ext uri="{FF2B5EF4-FFF2-40B4-BE49-F238E27FC236}">
                    <a16:creationId xmlns:a16="http://schemas.microsoft.com/office/drawing/2014/main" id="{C8E76618-1F3E-4844-927E-88B194B4CA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8877" y="5249572"/>
                <a:ext cx="212725" cy="188913"/>
              </a:xfrm>
              <a:custGeom>
                <a:avLst/>
                <a:gdLst>
                  <a:gd name="T0" fmla="*/ 80 w 80"/>
                  <a:gd name="T1" fmla="*/ 18 h 71"/>
                  <a:gd name="T2" fmla="*/ 35 w 80"/>
                  <a:gd name="T3" fmla="*/ 47 h 71"/>
                  <a:gd name="T4" fmla="*/ 28 w 80"/>
                  <a:gd name="T5" fmla="*/ 14 h 71"/>
                  <a:gd name="T6" fmla="*/ 38 w 80"/>
                  <a:gd name="T7" fmla="*/ 60 h 71"/>
                  <a:gd name="T8" fmla="*/ 80 w 80"/>
                  <a:gd name="T9" fmla="*/ 1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71">
                    <a:moveTo>
                      <a:pt x="80" y="18"/>
                    </a:moveTo>
                    <a:cubicBezTo>
                      <a:pt x="80" y="18"/>
                      <a:pt x="48" y="62"/>
                      <a:pt x="35" y="47"/>
                    </a:cubicBezTo>
                    <a:cubicBezTo>
                      <a:pt x="22" y="32"/>
                      <a:pt x="22" y="28"/>
                      <a:pt x="28" y="14"/>
                    </a:cubicBezTo>
                    <a:cubicBezTo>
                      <a:pt x="33" y="0"/>
                      <a:pt x="0" y="43"/>
                      <a:pt x="38" y="60"/>
                    </a:cubicBezTo>
                    <a:cubicBezTo>
                      <a:pt x="38" y="60"/>
                      <a:pt x="68" y="71"/>
                      <a:pt x="80" y="1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41">
                <a:extLst>
                  <a:ext uri="{FF2B5EF4-FFF2-40B4-BE49-F238E27FC236}">
                    <a16:creationId xmlns:a16="http://schemas.microsoft.com/office/drawing/2014/main" id="{5A871310-06E3-4C69-A3D1-F7A0B7D2B0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5382922"/>
                <a:ext cx="461963" cy="185738"/>
              </a:xfrm>
              <a:custGeom>
                <a:avLst/>
                <a:gdLst>
                  <a:gd name="T0" fmla="*/ 144 w 174"/>
                  <a:gd name="T1" fmla="*/ 68 h 70"/>
                  <a:gd name="T2" fmla="*/ 91 w 174"/>
                  <a:gd name="T3" fmla="*/ 38 h 70"/>
                  <a:gd name="T4" fmla="*/ 78 w 174"/>
                  <a:gd name="T5" fmla="*/ 44 h 70"/>
                  <a:gd name="T6" fmla="*/ 72 w 174"/>
                  <a:gd name="T7" fmla="*/ 55 h 70"/>
                  <a:gd name="T8" fmla="*/ 17 w 174"/>
                  <a:gd name="T9" fmla="*/ 62 h 70"/>
                  <a:gd name="T10" fmla="*/ 64 w 174"/>
                  <a:gd name="T11" fmla="*/ 18 h 70"/>
                  <a:gd name="T12" fmla="*/ 96 w 174"/>
                  <a:gd name="T13" fmla="*/ 0 h 70"/>
                  <a:gd name="T14" fmla="*/ 148 w 174"/>
                  <a:gd name="T15" fmla="*/ 28 h 70"/>
                  <a:gd name="T16" fmla="*/ 169 w 174"/>
                  <a:gd name="T17" fmla="*/ 60 h 70"/>
                  <a:gd name="T18" fmla="*/ 149 w 174"/>
                  <a:gd name="T19" fmla="*/ 60 h 70"/>
                  <a:gd name="T20" fmla="*/ 144 w 174"/>
                  <a:gd name="T21" fmla="*/ 6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70">
                    <a:moveTo>
                      <a:pt x="144" y="68"/>
                    </a:moveTo>
                    <a:cubicBezTo>
                      <a:pt x="144" y="68"/>
                      <a:pt x="104" y="46"/>
                      <a:pt x="91" y="38"/>
                    </a:cubicBezTo>
                    <a:cubicBezTo>
                      <a:pt x="78" y="30"/>
                      <a:pt x="73" y="38"/>
                      <a:pt x="78" y="44"/>
                    </a:cubicBezTo>
                    <a:cubicBezTo>
                      <a:pt x="84" y="50"/>
                      <a:pt x="90" y="61"/>
                      <a:pt x="72" y="55"/>
                    </a:cubicBezTo>
                    <a:cubicBezTo>
                      <a:pt x="55" y="49"/>
                      <a:pt x="34" y="54"/>
                      <a:pt x="17" y="62"/>
                    </a:cubicBezTo>
                    <a:cubicBezTo>
                      <a:pt x="0" y="70"/>
                      <a:pt x="51" y="31"/>
                      <a:pt x="64" y="18"/>
                    </a:cubicBezTo>
                    <a:cubicBezTo>
                      <a:pt x="76" y="6"/>
                      <a:pt x="85" y="0"/>
                      <a:pt x="96" y="0"/>
                    </a:cubicBezTo>
                    <a:cubicBezTo>
                      <a:pt x="108" y="1"/>
                      <a:pt x="136" y="18"/>
                      <a:pt x="148" y="28"/>
                    </a:cubicBezTo>
                    <a:cubicBezTo>
                      <a:pt x="160" y="37"/>
                      <a:pt x="174" y="57"/>
                      <a:pt x="169" y="60"/>
                    </a:cubicBezTo>
                    <a:cubicBezTo>
                      <a:pt x="164" y="64"/>
                      <a:pt x="152" y="58"/>
                      <a:pt x="149" y="60"/>
                    </a:cubicBezTo>
                    <a:cubicBezTo>
                      <a:pt x="146" y="62"/>
                      <a:pt x="142" y="61"/>
                      <a:pt x="144" y="6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42">
                <a:extLst>
                  <a:ext uri="{FF2B5EF4-FFF2-40B4-BE49-F238E27FC236}">
                    <a16:creationId xmlns:a16="http://schemas.microsoft.com/office/drawing/2014/main" id="{0425E52E-647F-4816-ACC5-8DDE1F4C1A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10615" y="3839872"/>
                <a:ext cx="228600" cy="1641475"/>
              </a:xfrm>
              <a:custGeom>
                <a:avLst/>
                <a:gdLst>
                  <a:gd name="T0" fmla="*/ 23 w 86"/>
                  <a:gd name="T1" fmla="*/ 617 h 617"/>
                  <a:gd name="T2" fmla="*/ 22 w 86"/>
                  <a:gd name="T3" fmla="*/ 554 h 617"/>
                  <a:gd name="T4" fmla="*/ 2 w 86"/>
                  <a:gd name="T5" fmla="*/ 439 h 617"/>
                  <a:gd name="T6" fmla="*/ 22 w 86"/>
                  <a:gd name="T7" fmla="*/ 258 h 617"/>
                  <a:gd name="T8" fmla="*/ 19 w 86"/>
                  <a:gd name="T9" fmla="*/ 220 h 617"/>
                  <a:gd name="T10" fmla="*/ 86 w 86"/>
                  <a:gd name="T11" fmla="*/ 0 h 617"/>
                  <a:gd name="T12" fmla="*/ 30 w 86"/>
                  <a:gd name="T13" fmla="*/ 211 h 617"/>
                  <a:gd name="T14" fmla="*/ 31 w 86"/>
                  <a:gd name="T15" fmla="*/ 272 h 617"/>
                  <a:gd name="T16" fmla="*/ 32 w 86"/>
                  <a:gd name="T17" fmla="*/ 427 h 617"/>
                  <a:gd name="T18" fmla="*/ 26 w 86"/>
                  <a:gd name="T19" fmla="*/ 492 h 617"/>
                  <a:gd name="T20" fmla="*/ 28 w 86"/>
                  <a:gd name="T21" fmla="*/ 496 h 617"/>
                  <a:gd name="T22" fmla="*/ 23 w 86"/>
                  <a:gd name="T23" fmla="*/ 617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17">
                    <a:moveTo>
                      <a:pt x="23" y="617"/>
                    </a:moveTo>
                    <a:cubicBezTo>
                      <a:pt x="23" y="617"/>
                      <a:pt x="30" y="565"/>
                      <a:pt x="22" y="554"/>
                    </a:cubicBezTo>
                    <a:cubicBezTo>
                      <a:pt x="15" y="542"/>
                      <a:pt x="0" y="482"/>
                      <a:pt x="2" y="439"/>
                    </a:cubicBezTo>
                    <a:cubicBezTo>
                      <a:pt x="4" y="396"/>
                      <a:pt x="17" y="271"/>
                      <a:pt x="22" y="258"/>
                    </a:cubicBezTo>
                    <a:cubicBezTo>
                      <a:pt x="28" y="244"/>
                      <a:pt x="19" y="225"/>
                      <a:pt x="19" y="220"/>
                    </a:cubicBezTo>
                    <a:cubicBezTo>
                      <a:pt x="19" y="214"/>
                      <a:pt x="50" y="86"/>
                      <a:pt x="86" y="0"/>
                    </a:cubicBezTo>
                    <a:cubicBezTo>
                      <a:pt x="86" y="0"/>
                      <a:pt x="31" y="188"/>
                      <a:pt x="30" y="211"/>
                    </a:cubicBezTo>
                    <a:cubicBezTo>
                      <a:pt x="30" y="234"/>
                      <a:pt x="38" y="225"/>
                      <a:pt x="31" y="272"/>
                    </a:cubicBezTo>
                    <a:cubicBezTo>
                      <a:pt x="24" y="318"/>
                      <a:pt x="36" y="408"/>
                      <a:pt x="32" y="427"/>
                    </a:cubicBezTo>
                    <a:cubicBezTo>
                      <a:pt x="28" y="446"/>
                      <a:pt x="22" y="471"/>
                      <a:pt x="26" y="492"/>
                    </a:cubicBezTo>
                    <a:cubicBezTo>
                      <a:pt x="31" y="514"/>
                      <a:pt x="28" y="496"/>
                      <a:pt x="28" y="496"/>
                    </a:cubicBezTo>
                    <a:cubicBezTo>
                      <a:pt x="28" y="496"/>
                      <a:pt x="42" y="579"/>
                      <a:pt x="23" y="61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43">
                <a:extLst>
                  <a:ext uri="{FF2B5EF4-FFF2-40B4-BE49-F238E27FC236}">
                    <a16:creationId xmlns:a16="http://schemas.microsoft.com/office/drawing/2014/main" id="{5824EAA8-E0BD-449C-8B47-935DC35C72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6915" y="4181185"/>
                <a:ext cx="147638" cy="600075"/>
              </a:xfrm>
              <a:custGeom>
                <a:avLst/>
                <a:gdLst>
                  <a:gd name="T0" fmla="*/ 5 w 56"/>
                  <a:gd name="T1" fmla="*/ 0 h 226"/>
                  <a:gd name="T2" fmla="*/ 11 w 56"/>
                  <a:gd name="T3" fmla="*/ 52 h 226"/>
                  <a:gd name="T4" fmla="*/ 30 w 56"/>
                  <a:gd name="T5" fmla="*/ 36 h 226"/>
                  <a:gd name="T6" fmla="*/ 21 w 56"/>
                  <a:gd name="T7" fmla="*/ 82 h 226"/>
                  <a:gd name="T8" fmla="*/ 34 w 56"/>
                  <a:gd name="T9" fmla="*/ 66 h 226"/>
                  <a:gd name="T10" fmla="*/ 28 w 56"/>
                  <a:gd name="T11" fmla="*/ 109 h 226"/>
                  <a:gd name="T12" fmla="*/ 30 w 56"/>
                  <a:gd name="T13" fmla="*/ 130 h 226"/>
                  <a:gd name="T14" fmla="*/ 0 w 56"/>
                  <a:gd name="T15" fmla="*/ 226 h 226"/>
                  <a:gd name="T16" fmla="*/ 5 w 56"/>
                  <a:gd name="T17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26">
                    <a:moveTo>
                      <a:pt x="5" y="0"/>
                    </a:moveTo>
                    <a:cubicBezTo>
                      <a:pt x="5" y="0"/>
                      <a:pt x="4" y="60"/>
                      <a:pt x="11" y="52"/>
                    </a:cubicBezTo>
                    <a:cubicBezTo>
                      <a:pt x="18" y="44"/>
                      <a:pt x="24" y="37"/>
                      <a:pt x="30" y="36"/>
                    </a:cubicBezTo>
                    <a:cubicBezTo>
                      <a:pt x="36" y="34"/>
                      <a:pt x="4" y="84"/>
                      <a:pt x="21" y="82"/>
                    </a:cubicBezTo>
                    <a:cubicBezTo>
                      <a:pt x="21" y="82"/>
                      <a:pt x="22" y="71"/>
                      <a:pt x="34" y="66"/>
                    </a:cubicBezTo>
                    <a:cubicBezTo>
                      <a:pt x="45" y="60"/>
                      <a:pt x="38" y="88"/>
                      <a:pt x="28" y="109"/>
                    </a:cubicBezTo>
                    <a:cubicBezTo>
                      <a:pt x="17" y="130"/>
                      <a:pt x="22" y="152"/>
                      <a:pt x="30" y="130"/>
                    </a:cubicBezTo>
                    <a:cubicBezTo>
                      <a:pt x="38" y="109"/>
                      <a:pt x="56" y="117"/>
                      <a:pt x="0" y="226"/>
                    </a:cubicBezTo>
                    <a:cubicBezTo>
                      <a:pt x="0" y="226"/>
                      <a:pt x="2" y="67"/>
                      <a:pt x="5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44">
                <a:extLst>
                  <a:ext uri="{FF2B5EF4-FFF2-40B4-BE49-F238E27FC236}">
                    <a16:creationId xmlns:a16="http://schemas.microsoft.com/office/drawing/2014/main" id="{4B5C6A94-9B6A-422C-911B-B2B059DCD4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3725572"/>
                <a:ext cx="531813" cy="128588"/>
              </a:xfrm>
              <a:custGeom>
                <a:avLst/>
                <a:gdLst>
                  <a:gd name="T0" fmla="*/ 8 w 200"/>
                  <a:gd name="T1" fmla="*/ 0 h 48"/>
                  <a:gd name="T2" fmla="*/ 10 w 200"/>
                  <a:gd name="T3" fmla="*/ 45 h 48"/>
                  <a:gd name="T4" fmla="*/ 112 w 200"/>
                  <a:gd name="T5" fmla="*/ 27 h 48"/>
                  <a:gd name="T6" fmla="*/ 199 w 200"/>
                  <a:gd name="T7" fmla="*/ 7 h 48"/>
                  <a:gd name="T8" fmla="*/ 8 w 200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0" h="48">
                    <a:moveTo>
                      <a:pt x="8" y="0"/>
                    </a:moveTo>
                    <a:cubicBezTo>
                      <a:pt x="8" y="0"/>
                      <a:pt x="0" y="41"/>
                      <a:pt x="10" y="45"/>
                    </a:cubicBezTo>
                    <a:cubicBezTo>
                      <a:pt x="19" y="48"/>
                      <a:pt x="65" y="31"/>
                      <a:pt x="112" y="27"/>
                    </a:cubicBezTo>
                    <a:cubicBezTo>
                      <a:pt x="160" y="23"/>
                      <a:pt x="198" y="10"/>
                      <a:pt x="199" y="7"/>
                    </a:cubicBezTo>
                    <a:cubicBezTo>
                      <a:pt x="200" y="3"/>
                      <a:pt x="33" y="1"/>
                      <a:pt x="8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46">
                <a:extLst>
                  <a:ext uri="{FF2B5EF4-FFF2-40B4-BE49-F238E27FC236}">
                    <a16:creationId xmlns:a16="http://schemas.microsoft.com/office/drawing/2014/main" id="{1D855826-4772-407B-9EF1-85919D8906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9365" y="3736685"/>
                <a:ext cx="217488" cy="382588"/>
              </a:xfrm>
              <a:custGeom>
                <a:avLst/>
                <a:gdLst>
                  <a:gd name="T0" fmla="*/ 75 w 82"/>
                  <a:gd name="T1" fmla="*/ 0 h 144"/>
                  <a:gd name="T2" fmla="*/ 74 w 82"/>
                  <a:gd name="T3" fmla="*/ 74 h 144"/>
                  <a:gd name="T4" fmla="*/ 38 w 82"/>
                  <a:gd name="T5" fmla="*/ 103 h 144"/>
                  <a:gd name="T6" fmla="*/ 15 w 82"/>
                  <a:gd name="T7" fmla="*/ 133 h 144"/>
                  <a:gd name="T8" fmla="*/ 6 w 82"/>
                  <a:gd name="T9" fmla="*/ 114 h 144"/>
                  <a:gd name="T10" fmla="*/ 26 w 82"/>
                  <a:gd name="T11" fmla="*/ 39 h 144"/>
                  <a:gd name="T12" fmla="*/ 75 w 8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144">
                    <a:moveTo>
                      <a:pt x="75" y="0"/>
                    </a:moveTo>
                    <a:cubicBezTo>
                      <a:pt x="75" y="0"/>
                      <a:pt x="82" y="59"/>
                      <a:pt x="74" y="74"/>
                    </a:cubicBezTo>
                    <a:cubicBezTo>
                      <a:pt x="65" y="89"/>
                      <a:pt x="48" y="98"/>
                      <a:pt x="38" y="103"/>
                    </a:cubicBezTo>
                    <a:cubicBezTo>
                      <a:pt x="29" y="107"/>
                      <a:pt x="22" y="128"/>
                      <a:pt x="15" y="133"/>
                    </a:cubicBezTo>
                    <a:cubicBezTo>
                      <a:pt x="8" y="137"/>
                      <a:pt x="0" y="144"/>
                      <a:pt x="6" y="114"/>
                    </a:cubicBezTo>
                    <a:cubicBezTo>
                      <a:pt x="12" y="84"/>
                      <a:pt x="24" y="41"/>
                      <a:pt x="26" y="39"/>
                    </a:cubicBezTo>
                    <a:cubicBezTo>
                      <a:pt x="29" y="37"/>
                      <a:pt x="32" y="2"/>
                      <a:pt x="75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47">
                <a:extLst>
                  <a:ext uri="{FF2B5EF4-FFF2-40B4-BE49-F238E27FC236}">
                    <a16:creationId xmlns:a16="http://schemas.microsoft.com/office/drawing/2014/main" id="{AF5E63B3-3CFA-463B-97BB-C79856F779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43890" y="3068347"/>
                <a:ext cx="85725" cy="679450"/>
              </a:xfrm>
              <a:custGeom>
                <a:avLst/>
                <a:gdLst>
                  <a:gd name="T0" fmla="*/ 3 w 32"/>
                  <a:gd name="T1" fmla="*/ 232 h 255"/>
                  <a:gd name="T2" fmla="*/ 15 w 32"/>
                  <a:gd name="T3" fmla="*/ 97 h 255"/>
                  <a:gd name="T4" fmla="*/ 27 w 32"/>
                  <a:gd name="T5" fmla="*/ 12 h 255"/>
                  <a:gd name="T6" fmla="*/ 26 w 32"/>
                  <a:gd name="T7" fmla="*/ 78 h 255"/>
                  <a:gd name="T8" fmla="*/ 22 w 32"/>
                  <a:gd name="T9" fmla="*/ 122 h 255"/>
                  <a:gd name="T10" fmla="*/ 20 w 32"/>
                  <a:gd name="T11" fmla="*/ 241 h 255"/>
                  <a:gd name="T12" fmla="*/ 3 w 32"/>
                  <a:gd name="T13" fmla="*/ 23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55">
                    <a:moveTo>
                      <a:pt x="3" y="232"/>
                    </a:moveTo>
                    <a:cubicBezTo>
                      <a:pt x="3" y="232"/>
                      <a:pt x="11" y="116"/>
                      <a:pt x="15" y="97"/>
                    </a:cubicBezTo>
                    <a:cubicBezTo>
                      <a:pt x="19" y="78"/>
                      <a:pt x="21" y="23"/>
                      <a:pt x="27" y="12"/>
                    </a:cubicBezTo>
                    <a:cubicBezTo>
                      <a:pt x="32" y="0"/>
                      <a:pt x="26" y="66"/>
                      <a:pt x="26" y="78"/>
                    </a:cubicBezTo>
                    <a:cubicBezTo>
                      <a:pt x="26" y="90"/>
                      <a:pt x="24" y="108"/>
                      <a:pt x="22" y="122"/>
                    </a:cubicBezTo>
                    <a:cubicBezTo>
                      <a:pt x="20" y="137"/>
                      <a:pt x="20" y="241"/>
                      <a:pt x="20" y="241"/>
                    </a:cubicBezTo>
                    <a:cubicBezTo>
                      <a:pt x="20" y="241"/>
                      <a:pt x="0" y="255"/>
                      <a:pt x="3" y="23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48">
                <a:extLst>
                  <a:ext uri="{FF2B5EF4-FFF2-40B4-BE49-F238E27FC236}">
                    <a16:creationId xmlns:a16="http://schemas.microsoft.com/office/drawing/2014/main" id="{789C5E5D-390D-4C76-8988-DFC54DD336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2015" y="2987385"/>
                <a:ext cx="536575" cy="195263"/>
              </a:xfrm>
              <a:custGeom>
                <a:avLst/>
                <a:gdLst>
                  <a:gd name="T0" fmla="*/ 19 w 202"/>
                  <a:gd name="T1" fmla="*/ 3 h 74"/>
                  <a:gd name="T2" fmla="*/ 28 w 202"/>
                  <a:gd name="T3" fmla="*/ 50 h 74"/>
                  <a:gd name="T4" fmla="*/ 90 w 202"/>
                  <a:gd name="T5" fmla="*/ 50 h 74"/>
                  <a:gd name="T6" fmla="*/ 194 w 202"/>
                  <a:gd name="T7" fmla="*/ 55 h 74"/>
                  <a:gd name="T8" fmla="*/ 159 w 202"/>
                  <a:gd name="T9" fmla="*/ 59 h 74"/>
                  <a:gd name="T10" fmla="*/ 66 w 202"/>
                  <a:gd name="T11" fmla="*/ 59 h 74"/>
                  <a:gd name="T12" fmla="*/ 19 w 202"/>
                  <a:gd name="T13" fmla="*/ 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74">
                    <a:moveTo>
                      <a:pt x="19" y="3"/>
                    </a:moveTo>
                    <a:cubicBezTo>
                      <a:pt x="20" y="0"/>
                      <a:pt x="12" y="49"/>
                      <a:pt x="28" y="50"/>
                    </a:cubicBezTo>
                    <a:cubicBezTo>
                      <a:pt x="43" y="51"/>
                      <a:pt x="70" y="49"/>
                      <a:pt x="90" y="50"/>
                    </a:cubicBezTo>
                    <a:cubicBezTo>
                      <a:pt x="111" y="51"/>
                      <a:pt x="189" y="55"/>
                      <a:pt x="194" y="55"/>
                    </a:cubicBezTo>
                    <a:cubicBezTo>
                      <a:pt x="194" y="55"/>
                      <a:pt x="202" y="61"/>
                      <a:pt x="159" y="59"/>
                    </a:cubicBezTo>
                    <a:cubicBezTo>
                      <a:pt x="116" y="56"/>
                      <a:pt x="91" y="58"/>
                      <a:pt x="66" y="59"/>
                    </a:cubicBezTo>
                    <a:cubicBezTo>
                      <a:pt x="42" y="59"/>
                      <a:pt x="0" y="74"/>
                      <a:pt x="19" y="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49">
                <a:extLst>
                  <a:ext uri="{FF2B5EF4-FFF2-40B4-BE49-F238E27FC236}">
                    <a16:creationId xmlns:a16="http://schemas.microsoft.com/office/drawing/2014/main" id="{0C43AC6E-6896-40C7-9705-B7F9367E88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34465" y="2807997"/>
                <a:ext cx="133350" cy="396875"/>
              </a:xfrm>
              <a:custGeom>
                <a:avLst/>
                <a:gdLst>
                  <a:gd name="T0" fmla="*/ 48 w 50"/>
                  <a:gd name="T1" fmla="*/ 4 h 149"/>
                  <a:gd name="T2" fmla="*/ 47 w 50"/>
                  <a:gd name="T3" fmla="*/ 61 h 149"/>
                  <a:gd name="T4" fmla="*/ 46 w 50"/>
                  <a:gd name="T5" fmla="*/ 90 h 149"/>
                  <a:gd name="T6" fmla="*/ 47 w 50"/>
                  <a:gd name="T7" fmla="*/ 110 h 149"/>
                  <a:gd name="T8" fmla="*/ 48 w 50"/>
                  <a:gd name="T9" fmla="*/ 149 h 149"/>
                  <a:gd name="T10" fmla="*/ 35 w 50"/>
                  <a:gd name="T11" fmla="*/ 114 h 149"/>
                  <a:gd name="T12" fmla="*/ 18 w 50"/>
                  <a:gd name="T13" fmla="*/ 44 h 149"/>
                  <a:gd name="T14" fmla="*/ 3 w 50"/>
                  <a:gd name="T15" fmla="*/ 16 h 149"/>
                  <a:gd name="T16" fmla="*/ 6 w 50"/>
                  <a:gd name="T17" fmla="*/ 4 h 149"/>
                  <a:gd name="T18" fmla="*/ 48 w 50"/>
                  <a:gd name="T19" fmla="*/ 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49">
                    <a:moveTo>
                      <a:pt x="48" y="4"/>
                    </a:moveTo>
                    <a:cubicBezTo>
                      <a:pt x="48" y="4"/>
                      <a:pt x="50" y="48"/>
                      <a:pt x="47" y="61"/>
                    </a:cubicBezTo>
                    <a:cubicBezTo>
                      <a:pt x="44" y="74"/>
                      <a:pt x="46" y="88"/>
                      <a:pt x="46" y="90"/>
                    </a:cubicBezTo>
                    <a:cubicBezTo>
                      <a:pt x="46" y="93"/>
                      <a:pt x="49" y="97"/>
                      <a:pt x="47" y="110"/>
                    </a:cubicBezTo>
                    <a:cubicBezTo>
                      <a:pt x="45" y="122"/>
                      <a:pt x="48" y="149"/>
                      <a:pt x="48" y="149"/>
                    </a:cubicBezTo>
                    <a:cubicBezTo>
                      <a:pt x="48" y="149"/>
                      <a:pt x="44" y="139"/>
                      <a:pt x="35" y="114"/>
                    </a:cubicBezTo>
                    <a:cubicBezTo>
                      <a:pt x="26" y="90"/>
                      <a:pt x="21" y="51"/>
                      <a:pt x="18" y="44"/>
                    </a:cubicBezTo>
                    <a:cubicBezTo>
                      <a:pt x="14" y="36"/>
                      <a:pt x="6" y="33"/>
                      <a:pt x="3" y="16"/>
                    </a:cubicBezTo>
                    <a:cubicBezTo>
                      <a:pt x="0" y="0"/>
                      <a:pt x="6" y="4"/>
                      <a:pt x="6" y="4"/>
                    </a:cubicBezTo>
                    <a:cubicBezTo>
                      <a:pt x="6" y="4"/>
                      <a:pt x="46" y="5"/>
                      <a:pt x="48" y="4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50">
                <a:extLst>
                  <a:ext uri="{FF2B5EF4-FFF2-40B4-BE49-F238E27FC236}">
                    <a16:creationId xmlns:a16="http://schemas.microsoft.com/office/drawing/2014/main" id="{BE1C34E7-ED84-4AF0-A8AC-EED79AD761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6440" y="2396834"/>
                <a:ext cx="700391" cy="481159"/>
              </a:xfrm>
              <a:custGeom>
                <a:avLst/>
                <a:gdLst>
                  <a:gd name="T0" fmla="*/ 254 w 260"/>
                  <a:gd name="T1" fmla="*/ 159 h 225"/>
                  <a:gd name="T2" fmla="*/ 256 w 260"/>
                  <a:gd name="T3" fmla="*/ 218 h 225"/>
                  <a:gd name="T4" fmla="*/ 154 w 260"/>
                  <a:gd name="T5" fmla="*/ 210 h 225"/>
                  <a:gd name="T6" fmla="*/ 94 w 260"/>
                  <a:gd name="T7" fmla="*/ 183 h 225"/>
                  <a:gd name="T8" fmla="*/ 82 w 260"/>
                  <a:gd name="T9" fmla="*/ 153 h 225"/>
                  <a:gd name="T10" fmla="*/ 88 w 260"/>
                  <a:gd name="T11" fmla="*/ 124 h 225"/>
                  <a:gd name="T12" fmla="*/ 51 w 260"/>
                  <a:gd name="T13" fmla="*/ 95 h 225"/>
                  <a:gd name="T14" fmla="*/ 28 w 260"/>
                  <a:gd name="T15" fmla="*/ 67 h 225"/>
                  <a:gd name="T16" fmla="*/ 6 w 260"/>
                  <a:gd name="T17" fmla="*/ 49 h 225"/>
                  <a:gd name="T18" fmla="*/ 0 w 260"/>
                  <a:gd name="T19" fmla="*/ 0 h 225"/>
                  <a:gd name="T20" fmla="*/ 36 w 260"/>
                  <a:gd name="T21" fmla="*/ 51 h 225"/>
                  <a:gd name="T22" fmla="*/ 110 w 260"/>
                  <a:gd name="T23" fmla="*/ 131 h 225"/>
                  <a:gd name="T24" fmla="*/ 149 w 260"/>
                  <a:gd name="T25" fmla="*/ 143 h 225"/>
                  <a:gd name="T26" fmla="*/ 213 w 260"/>
                  <a:gd name="T27" fmla="*/ 153 h 225"/>
                  <a:gd name="T28" fmla="*/ 254 w 260"/>
                  <a:gd name="T29" fmla="*/ 159 h 225"/>
                  <a:gd name="connsiteX0" fmla="*/ 9769 w 10015"/>
                  <a:gd name="connsiteY0" fmla="*/ 7067 h 9696"/>
                  <a:gd name="connsiteX1" fmla="*/ 9846 w 10015"/>
                  <a:gd name="connsiteY1" fmla="*/ 9689 h 9696"/>
                  <a:gd name="connsiteX2" fmla="*/ 7246 w 10015"/>
                  <a:gd name="connsiteY2" fmla="*/ 7925 h 9696"/>
                  <a:gd name="connsiteX3" fmla="*/ 5923 w 10015"/>
                  <a:gd name="connsiteY3" fmla="*/ 9333 h 9696"/>
                  <a:gd name="connsiteX4" fmla="*/ 3615 w 10015"/>
                  <a:gd name="connsiteY4" fmla="*/ 8133 h 9696"/>
                  <a:gd name="connsiteX5" fmla="*/ 3154 w 10015"/>
                  <a:gd name="connsiteY5" fmla="*/ 6800 h 9696"/>
                  <a:gd name="connsiteX6" fmla="*/ 3385 w 10015"/>
                  <a:gd name="connsiteY6" fmla="*/ 5511 h 9696"/>
                  <a:gd name="connsiteX7" fmla="*/ 1962 w 10015"/>
                  <a:gd name="connsiteY7" fmla="*/ 4222 h 9696"/>
                  <a:gd name="connsiteX8" fmla="*/ 1077 w 10015"/>
                  <a:gd name="connsiteY8" fmla="*/ 2978 h 9696"/>
                  <a:gd name="connsiteX9" fmla="*/ 231 w 10015"/>
                  <a:gd name="connsiteY9" fmla="*/ 2178 h 9696"/>
                  <a:gd name="connsiteX10" fmla="*/ 0 w 10015"/>
                  <a:gd name="connsiteY10" fmla="*/ 0 h 9696"/>
                  <a:gd name="connsiteX11" fmla="*/ 1385 w 10015"/>
                  <a:gd name="connsiteY11" fmla="*/ 2267 h 9696"/>
                  <a:gd name="connsiteX12" fmla="*/ 4231 w 10015"/>
                  <a:gd name="connsiteY12" fmla="*/ 5822 h 9696"/>
                  <a:gd name="connsiteX13" fmla="*/ 5731 w 10015"/>
                  <a:gd name="connsiteY13" fmla="*/ 6356 h 9696"/>
                  <a:gd name="connsiteX14" fmla="*/ 8192 w 10015"/>
                  <a:gd name="connsiteY14" fmla="*/ 6800 h 9696"/>
                  <a:gd name="connsiteX15" fmla="*/ 9769 w 10015"/>
                  <a:gd name="connsiteY15" fmla="*/ 7067 h 9696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10 w 10000"/>
                  <a:gd name="connsiteY4" fmla="*/ 8388 h 10001"/>
                  <a:gd name="connsiteX5" fmla="*/ 3149 w 10000"/>
                  <a:gd name="connsiteY5" fmla="*/ 7013 h 10001"/>
                  <a:gd name="connsiteX6" fmla="*/ 3380 w 10000"/>
                  <a:gd name="connsiteY6" fmla="*/ 5684 h 10001"/>
                  <a:gd name="connsiteX7" fmla="*/ 1959 w 10000"/>
                  <a:gd name="connsiteY7" fmla="*/ 4354 h 10001"/>
                  <a:gd name="connsiteX8" fmla="*/ 1075 w 10000"/>
                  <a:gd name="connsiteY8" fmla="*/ 3071 h 10001"/>
                  <a:gd name="connsiteX9" fmla="*/ 231 w 10000"/>
                  <a:gd name="connsiteY9" fmla="*/ 2246 h 10001"/>
                  <a:gd name="connsiteX10" fmla="*/ 0 w 10000"/>
                  <a:gd name="connsiteY10" fmla="*/ 0 h 10001"/>
                  <a:gd name="connsiteX11" fmla="*/ 1383 w 10000"/>
                  <a:gd name="connsiteY11" fmla="*/ 2338 h 10001"/>
                  <a:gd name="connsiteX12" fmla="*/ 4225 w 10000"/>
                  <a:gd name="connsiteY12" fmla="*/ 6005 h 10001"/>
                  <a:gd name="connsiteX13" fmla="*/ 5722 w 10000"/>
                  <a:gd name="connsiteY13" fmla="*/ 6555 h 10001"/>
                  <a:gd name="connsiteX14" fmla="*/ 8180 w 10000"/>
                  <a:gd name="connsiteY14" fmla="*/ 7013 h 10001"/>
                  <a:gd name="connsiteX15" fmla="*/ 9754 w 10000"/>
                  <a:gd name="connsiteY15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10 w 10000"/>
                  <a:gd name="connsiteY4" fmla="*/ 8388 h 10001"/>
                  <a:gd name="connsiteX5" fmla="*/ 3149 w 10000"/>
                  <a:gd name="connsiteY5" fmla="*/ 7013 h 10001"/>
                  <a:gd name="connsiteX6" fmla="*/ 3380 w 10000"/>
                  <a:gd name="connsiteY6" fmla="*/ 5684 h 10001"/>
                  <a:gd name="connsiteX7" fmla="*/ 1959 w 10000"/>
                  <a:gd name="connsiteY7" fmla="*/ 4354 h 10001"/>
                  <a:gd name="connsiteX8" fmla="*/ 1075 w 10000"/>
                  <a:gd name="connsiteY8" fmla="*/ 3071 h 10001"/>
                  <a:gd name="connsiteX9" fmla="*/ 231 w 10000"/>
                  <a:gd name="connsiteY9" fmla="*/ 2246 h 10001"/>
                  <a:gd name="connsiteX10" fmla="*/ 0 w 10000"/>
                  <a:gd name="connsiteY10" fmla="*/ 0 h 10001"/>
                  <a:gd name="connsiteX11" fmla="*/ 1383 w 10000"/>
                  <a:gd name="connsiteY11" fmla="*/ 2338 h 10001"/>
                  <a:gd name="connsiteX12" fmla="*/ 4225 w 10000"/>
                  <a:gd name="connsiteY12" fmla="*/ 6005 h 10001"/>
                  <a:gd name="connsiteX13" fmla="*/ 5722 w 10000"/>
                  <a:gd name="connsiteY13" fmla="*/ 6555 h 10001"/>
                  <a:gd name="connsiteX14" fmla="*/ 8180 w 10000"/>
                  <a:gd name="connsiteY14" fmla="*/ 7013 h 10001"/>
                  <a:gd name="connsiteX15" fmla="*/ 9754 w 10000"/>
                  <a:gd name="connsiteY15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149 w 10000"/>
                  <a:gd name="connsiteY4" fmla="*/ 7013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99 w 10000"/>
                  <a:gd name="connsiteY4" fmla="*/ 6438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309 w 10000"/>
                  <a:gd name="connsiteY3" fmla="*/ 7374 h 10001"/>
                  <a:gd name="connsiteX4" fmla="*/ 3699 w 10000"/>
                  <a:gd name="connsiteY4" fmla="*/ 6438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9923"/>
                  <a:gd name="connsiteY0" fmla="*/ 7289 h 9996"/>
                  <a:gd name="connsiteX1" fmla="*/ 9831 w 9923"/>
                  <a:gd name="connsiteY1" fmla="*/ 9993 h 9996"/>
                  <a:gd name="connsiteX2" fmla="*/ 8279 w 9923"/>
                  <a:gd name="connsiteY2" fmla="*/ 7851 h 9996"/>
                  <a:gd name="connsiteX3" fmla="*/ 7235 w 9923"/>
                  <a:gd name="connsiteY3" fmla="*/ 8173 h 9996"/>
                  <a:gd name="connsiteX4" fmla="*/ 6309 w 9923"/>
                  <a:gd name="connsiteY4" fmla="*/ 7374 h 9996"/>
                  <a:gd name="connsiteX5" fmla="*/ 3699 w 9923"/>
                  <a:gd name="connsiteY5" fmla="*/ 6438 h 9996"/>
                  <a:gd name="connsiteX6" fmla="*/ 3380 w 9923"/>
                  <a:gd name="connsiteY6" fmla="*/ 5684 h 9996"/>
                  <a:gd name="connsiteX7" fmla="*/ 1959 w 9923"/>
                  <a:gd name="connsiteY7" fmla="*/ 4354 h 9996"/>
                  <a:gd name="connsiteX8" fmla="*/ 1075 w 9923"/>
                  <a:gd name="connsiteY8" fmla="*/ 3071 h 9996"/>
                  <a:gd name="connsiteX9" fmla="*/ 231 w 9923"/>
                  <a:gd name="connsiteY9" fmla="*/ 2246 h 9996"/>
                  <a:gd name="connsiteX10" fmla="*/ 0 w 9923"/>
                  <a:gd name="connsiteY10" fmla="*/ 0 h 9996"/>
                  <a:gd name="connsiteX11" fmla="*/ 1383 w 9923"/>
                  <a:gd name="connsiteY11" fmla="*/ 2338 h 9996"/>
                  <a:gd name="connsiteX12" fmla="*/ 4225 w 9923"/>
                  <a:gd name="connsiteY12" fmla="*/ 6005 h 9996"/>
                  <a:gd name="connsiteX13" fmla="*/ 5722 w 9923"/>
                  <a:gd name="connsiteY13" fmla="*/ 6555 h 9996"/>
                  <a:gd name="connsiteX14" fmla="*/ 8180 w 9923"/>
                  <a:gd name="connsiteY14" fmla="*/ 7013 h 9996"/>
                  <a:gd name="connsiteX15" fmla="*/ 9754 w 9923"/>
                  <a:gd name="connsiteY15" fmla="*/ 7289 h 9996"/>
                  <a:gd name="connsiteX0" fmla="*/ 9830 w 10000"/>
                  <a:gd name="connsiteY0" fmla="*/ 7292 h 10000"/>
                  <a:gd name="connsiteX1" fmla="*/ 9907 w 10000"/>
                  <a:gd name="connsiteY1" fmla="*/ 9997 h 10000"/>
                  <a:gd name="connsiteX2" fmla="*/ 8343 w 10000"/>
                  <a:gd name="connsiteY2" fmla="*/ 7854 h 10000"/>
                  <a:gd name="connsiteX3" fmla="*/ 7395 w 10000"/>
                  <a:gd name="connsiteY3" fmla="*/ 7560 h 10000"/>
                  <a:gd name="connsiteX4" fmla="*/ 6358 w 10000"/>
                  <a:gd name="connsiteY4" fmla="*/ 7377 h 10000"/>
                  <a:gd name="connsiteX5" fmla="*/ 3728 w 10000"/>
                  <a:gd name="connsiteY5" fmla="*/ 6441 h 10000"/>
                  <a:gd name="connsiteX6" fmla="*/ 3406 w 10000"/>
                  <a:gd name="connsiteY6" fmla="*/ 5686 h 10000"/>
                  <a:gd name="connsiteX7" fmla="*/ 1974 w 10000"/>
                  <a:gd name="connsiteY7" fmla="*/ 4356 h 10000"/>
                  <a:gd name="connsiteX8" fmla="*/ 1083 w 10000"/>
                  <a:gd name="connsiteY8" fmla="*/ 3072 h 10000"/>
                  <a:gd name="connsiteX9" fmla="*/ 233 w 10000"/>
                  <a:gd name="connsiteY9" fmla="*/ 2247 h 10000"/>
                  <a:gd name="connsiteX10" fmla="*/ 0 w 10000"/>
                  <a:gd name="connsiteY10" fmla="*/ 0 h 10000"/>
                  <a:gd name="connsiteX11" fmla="*/ 1394 w 10000"/>
                  <a:gd name="connsiteY11" fmla="*/ 2339 h 10000"/>
                  <a:gd name="connsiteX12" fmla="*/ 4258 w 10000"/>
                  <a:gd name="connsiteY12" fmla="*/ 6007 h 10000"/>
                  <a:gd name="connsiteX13" fmla="*/ 5766 w 10000"/>
                  <a:gd name="connsiteY13" fmla="*/ 6558 h 10000"/>
                  <a:gd name="connsiteX14" fmla="*/ 8243 w 10000"/>
                  <a:gd name="connsiteY14" fmla="*/ 7016 h 10000"/>
                  <a:gd name="connsiteX15" fmla="*/ 9830 w 10000"/>
                  <a:gd name="connsiteY15" fmla="*/ 7292 h 10000"/>
                  <a:gd name="connsiteX0" fmla="*/ 9830 w 10091"/>
                  <a:gd name="connsiteY0" fmla="*/ 7292 h 8531"/>
                  <a:gd name="connsiteX1" fmla="*/ 9942 w 10091"/>
                  <a:gd name="connsiteY1" fmla="*/ 8519 h 8531"/>
                  <a:gd name="connsiteX2" fmla="*/ 8343 w 10091"/>
                  <a:gd name="connsiteY2" fmla="*/ 7854 h 8531"/>
                  <a:gd name="connsiteX3" fmla="*/ 7395 w 10091"/>
                  <a:gd name="connsiteY3" fmla="*/ 7560 h 8531"/>
                  <a:gd name="connsiteX4" fmla="*/ 6358 w 10091"/>
                  <a:gd name="connsiteY4" fmla="*/ 7377 h 8531"/>
                  <a:gd name="connsiteX5" fmla="*/ 3728 w 10091"/>
                  <a:gd name="connsiteY5" fmla="*/ 6441 h 8531"/>
                  <a:gd name="connsiteX6" fmla="*/ 3406 w 10091"/>
                  <a:gd name="connsiteY6" fmla="*/ 5686 h 8531"/>
                  <a:gd name="connsiteX7" fmla="*/ 1974 w 10091"/>
                  <a:gd name="connsiteY7" fmla="*/ 4356 h 8531"/>
                  <a:gd name="connsiteX8" fmla="*/ 1083 w 10091"/>
                  <a:gd name="connsiteY8" fmla="*/ 3072 h 8531"/>
                  <a:gd name="connsiteX9" fmla="*/ 233 w 10091"/>
                  <a:gd name="connsiteY9" fmla="*/ 2247 h 8531"/>
                  <a:gd name="connsiteX10" fmla="*/ 0 w 10091"/>
                  <a:gd name="connsiteY10" fmla="*/ 0 h 8531"/>
                  <a:gd name="connsiteX11" fmla="*/ 1394 w 10091"/>
                  <a:gd name="connsiteY11" fmla="*/ 2339 h 8531"/>
                  <a:gd name="connsiteX12" fmla="*/ 4258 w 10091"/>
                  <a:gd name="connsiteY12" fmla="*/ 6007 h 8531"/>
                  <a:gd name="connsiteX13" fmla="*/ 5766 w 10091"/>
                  <a:gd name="connsiteY13" fmla="*/ 6558 h 8531"/>
                  <a:gd name="connsiteX14" fmla="*/ 8243 w 10091"/>
                  <a:gd name="connsiteY14" fmla="*/ 7016 h 8531"/>
                  <a:gd name="connsiteX15" fmla="*/ 9830 w 10091"/>
                  <a:gd name="connsiteY15" fmla="*/ 7292 h 8531"/>
                  <a:gd name="connsiteX0" fmla="*/ 9741 w 9956"/>
                  <a:gd name="connsiteY0" fmla="*/ 8548 h 10070"/>
                  <a:gd name="connsiteX1" fmla="*/ 9852 w 9956"/>
                  <a:gd name="connsiteY1" fmla="*/ 9986 h 10070"/>
                  <a:gd name="connsiteX2" fmla="*/ 8268 w 9956"/>
                  <a:gd name="connsiteY2" fmla="*/ 9206 h 10070"/>
                  <a:gd name="connsiteX3" fmla="*/ 7328 w 9956"/>
                  <a:gd name="connsiteY3" fmla="*/ 8862 h 10070"/>
                  <a:gd name="connsiteX4" fmla="*/ 6301 w 9956"/>
                  <a:gd name="connsiteY4" fmla="*/ 8647 h 10070"/>
                  <a:gd name="connsiteX5" fmla="*/ 3694 w 9956"/>
                  <a:gd name="connsiteY5" fmla="*/ 7550 h 10070"/>
                  <a:gd name="connsiteX6" fmla="*/ 3375 w 9956"/>
                  <a:gd name="connsiteY6" fmla="*/ 6665 h 10070"/>
                  <a:gd name="connsiteX7" fmla="*/ 1956 w 9956"/>
                  <a:gd name="connsiteY7" fmla="*/ 5106 h 10070"/>
                  <a:gd name="connsiteX8" fmla="*/ 1073 w 9956"/>
                  <a:gd name="connsiteY8" fmla="*/ 3601 h 10070"/>
                  <a:gd name="connsiteX9" fmla="*/ 231 w 9956"/>
                  <a:gd name="connsiteY9" fmla="*/ 2634 h 10070"/>
                  <a:gd name="connsiteX10" fmla="*/ 0 w 9956"/>
                  <a:gd name="connsiteY10" fmla="*/ 0 h 10070"/>
                  <a:gd name="connsiteX11" fmla="*/ 1381 w 9956"/>
                  <a:gd name="connsiteY11" fmla="*/ 2742 h 10070"/>
                  <a:gd name="connsiteX12" fmla="*/ 4220 w 9956"/>
                  <a:gd name="connsiteY12" fmla="*/ 7041 h 10070"/>
                  <a:gd name="connsiteX13" fmla="*/ 5714 w 9956"/>
                  <a:gd name="connsiteY13" fmla="*/ 7687 h 10070"/>
                  <a:gd name="connsiteX14" fmla="*/ 8169 w 9956"/>
                  <a:gd name="connsiteY14" fmla="*/ 8224 h 10070"/>
                  <a:gd name="connsiteX15" fmla="*/ 9741 w 9956"/>
                  <a:gd name="connsiteY15" fmla="*/ 8548 h 10070"/>
                  <a:gd name="connsiteX0" fmla="*/ 9784 w 10128"/>
                  <a:gd name="connsiteY0" fmla="*/ 8489 h 9725"/>
                  <a:gd name="connsiteX1" fmla="*/ 10068 w 10128"/>
                  <a:gd name="connsiteY1" fmla="*/ 9630 h 9725"/>
                  <a:gd name="connsiteX2" fmla="*/ 8305 w 10128"/>
                  <a:gd name="connsiteY2" fmla="*/ 9142 h 9725"/>
                  <a:gd name="connsiteX3" fmla="*/ 7360 w 10128"/>
                  <a:gd name="connsiteY3" fmla="*/ 8800 h 9725"/>
                  <a:gd name="connsiteX4" fmla="*/ 6329 w 10128"/>
                  <a:gd name="connsiteY4" fmla="*/ 8587 h 9725"/>
                  <a:gd name="connsiteX5" fmla="*/ 3710 w 10128"/>
                  <a:gd name="connsiteY5" fmla="*/ 7498 h 9725"/>
                  <a:gd name="connsiteX6" fmla="*/ 3390 w 10128"/>
                  <a:gd name="connsiteY6" fmla="*/ 6619 h 9725"/>
                  <a:gd name="connsiteX7" fmla="*/ 1965 w 10128"/>
                  <a:gd name="connsiteY7" fmla="*/ 5071 h 9725"/>
                  <a:gd name="connsiteX8" fmla="*/ 1078 w 10128"/>
                  <a:gd name="connsiteY8" fmla="*/ 3576 h 9725"/>
                  <a:gd name="connsiteX9" fmla="*/ 232 w 10128"/>
                  <a:gd name="connsiteY9" fmla="*/ 2616 h 9725"/>
                  <a:gd name="connsiteX10" fmla="*/ 0 w 10128"/>
                  <a:gd name="connsiteY10" fmla="*/ 0 h 9725"/>
                  <a:gd name="connsiteX11" fmla="*/ 1387 w 10128"/>
                  <a:gd name="connsiteY11" fmla="*/ 2723 h 9725"/>
                  <a:gd name="connsiteX12" fmla="*/ 4239 w 10128"/>
                  <a:gd name="connsiteY12" fmla="*/ 6992 h 9725"/>
                  <a:gd name="connsiteX13" fmla="*/ 5739 w 10128"/>
                  <a:gd name="connsiteY13" fmla="*/ 7634 h 9725"/>
                  <a:gd name="connsiteX14" fmla="*/ 8205 w 10128"/>
                  <a:gd name="connsiteY14" fmla="*/ 8167 h 9725"/>
                  <a:gd name="connsiteX15" fmla="*/ 9784 w 10128"/>
                  <a:gd name="connsiteY15" fmla="*/ 8489 h 9725"/>
                  <a:gd name="connsiteX0" fmla="*/ 9660 w 10013"/>
                  <a:gd name="connsiteY0" fmla="*/ 8729 h 9905"/>
                  <a:gd name="connsiteX1" fmla="*/ 9941 w 10013"/>
                  <a:gd name="connsiteY1" fmla="*/ 9902 h 9905"/>
                  <a:gd name="connsiteX2" fmla="*/ 8642 w 10013"/>
                  <a:gd name="connsiteY2" fmla="*/ 9057 h 9905"/>
                  <a:gd name="connsiteX3" fmla="*/ 7267 w 10013"/>
                  <a:gd name="connsiteY3" fmla="*/ 9049 h 9905"/>
                  <a:gd name="connsiteX4" fmla="*/ 6249 w 10013"/>
                  <a:gd name="connsiteY4" fmla="*/ 8830 h 9905"/>
                  <a:gd name="connsiteX5" fmla="*/ 3663 w 10013"/>
                  <a:gd name="connsiteY5" fmla="*/ 7710 h 9905"/>
                  <a:gd name="connsiteX6" fmla="*/ 3347 w 10013"/>
                  <a:gd name="connsiteY6" fmla="*/ 6806 h 9905"/>
                  <a:gd name="connsiteX7" fmla="*/ 1940 w 10013"/>
                  <a:gd name="connsiteY7" fmla="*/ 5214 h 9905"/>
                  <a:gd name="connsiteX8" fmla="*/ 1064 w 10013"/>
                  <a:gd name="connsiteY8" fmla="*/ 3677 h 9905"/>
                  <a:gd name="connsiteX9" fmla="*/ 229 w 10013"/>
                  <a:gd name="connsiteY9" fmla="*/ 2690 h 9905"/>
                  <a:gd name="connsiteX10" fmla="*/ 0 w 10013"/>
                  <a:gd name="connsiteY10" fmla="*/ 0 h 9905"/>
                  <a:gd name="connsiteX11" fmla="*/ 1369 w 10013"/>
                  <a:gd name="connsiteY11" fmla="*/ 2800 h 9905"/>
                  <a:gd name="connsiteX12" fmla="*/ 4185 w 10013"/>
                  <a:gd name="connsiteY12" fmla="*/ 7190 h 9905"/>
                  <a:gd name="connsiteX13" fmla="*/ 5666 w 10013"/>
                  <a:gd name="connsiteY13" fmla="*/ 7850 h 9905"/>
                  <a:gd name="connsiteX14" fmla="*/ 8101 w 10013"/>
                  <a:gd name="connsiteY14" fmla="*/ 8398 h 9905"/>
                  <a:gd name="connsiteX15" fmla="*/ 9660 w 10013"/>
                  <a:gd name="connsiteY15" fmla="*/ 8729 h 9905"/>
                  <a:gd name="connsiteX0" fmla="*/ 9647 w 9994"/>
                  <a:gd name="connsiteY0" fmla="*/ 8813 h 10024"/>
                  <a:gd name="connsiteX1" fmla="*/ 9928 w 9994"/>
                  <a:gd name="connsiteY1" fmla="*/ 9997 h 10024"/>
                  <a:gd name="connsiteX2" fmla="*/ 8699 w 9994"/>
                  <a:gd name="connsiteY2" fmla="*/ 9491 h 10024"/>
                  <a:gd name="connsiteX3" fmla="*/ 7258 w 9994"/>
                  <a:gd name="connsiteY3" fmla="*/ 9136 h 10024"/>
                  <a:gd name="connsiteX4" fmla="*/ 6241 w 9994"/>
                  <a:gd name="connsiteY4" fmla="*/ 8915 h 10024"/>
                  <a:gd name="connsiteX5" fmla="*/ 3658 w 9994"/>
                  <a:gd name="connsiteY5" fmla="*/ 7784 h 10024"/>
                  <a:gd name="connsiteX6" fmla="*/ 3343 w 9994"/>
                  <a:gd name="connsiteY6" fmla="*/ 6871 h 10024"/>
                  <a:gd name="connsiteX7" fmla="*/ 1937 w 9994"/>
                  <a:gd name="connsiteY7" fmla="*/ 5264 h 10024"/>
                  <a:gd name="connsiteX8" fmla="*/ 1063 w 9994"/>
                  <a:gd name="connsiteY8" fmla="*/ 3712 h 10024"/>
                  <a:gd name="connsiteX9" fmla="*/ 229 w 9994"/>
                  <a:gd name="connsiteY9" fmla="*/ 2716 h 10024"/>
                  <a:gd name="connsiteX10" fmla="*/ 0 w 9994"/>
                  <a:gd name="connsiteY10" fmla="*/ 0 h 10024"/>
                  <a:gd name="connsiteX11" fmla="*/ 1367 w 9994"/>
                  <a:gd name="connsiteY11" fmla="*/ 2827 h 10024"/>
                  <a:gd name="connsiteX12" fmla="*/ 4180 w 9994"/>
                  <a:gd name="connsiteY12" fmla="*/ 7259 h 10024"/>
                  <a:gd name="connsiteX13" fmla="*/ 5659 w 9994"/>
                  <a:gd name="connsiteY13" fmla="*/ 7925 h 10024"/>
                  <a:gd name="connsiteX14" fmla="*/ 8090 w 9994"/>
                  <a:gd name="connsiteY14" fmla="*/ 8479 h 10024"/>
                  <a:gd name="connsiteX15" fmla="*/ 9647 w 9994"/>
                  <a:gd name="connsiteY15" fmla="*/ 8813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94" h="10024">
                    <a:moveTo>
                      <a:pt x="9647" y="8813"/>
                    </a:moveTo>
                    <a:cubicBezTo>
                      <a:pt x="9953" y="9066"/>
                      <a:pt x="10086" y="9884"/>
                      <a:pt x="9928" y="9997"/>
                    </a:cubicBezTo>
                    <a:cubicBezTo>
                      <a:pt x="9770" y="10110"/>
                      <a:pt x="9127" y="9858"/>
                      <a:pt x="8699" y="9491"/>
                    </a:cubicBezTo>
                    <a:cubicBezTo>
                      <a:pt x="8271" y="9124"/>
                      <a:pt x="7430" y="9297"/>
                      <a:pt x="7258" y="9136"/>
                    </a:cubicBezTo>
                    <a:cubicBezTo>
                      <a:pt x="7087" y="8973"/>
                      <a:pt x="6840" y="9139"/>
                      <a:pt x="6241" y="8915"/>
                    </a:cubicBezTo>
                    <a:cubicBezTo>
                      <a:pt x="5641" y="8690"/>
                      <a:pt x="4096" y="8175"/>
                      <a:pt x="3658" y="7784"/>
                    </a:cubicBezTo>
                    <a:cubicBezTo>
                      <a:pt x="3696" y="7340"/>
                      <a:pt x="3457" y="7202"/>
                      <a:pt x="3343" y="6871"/>
                    </a:cubicBezTo>
                    <a:cubicBezTo>
                      <a:pt x="3268" y="6538"/>
                      <a:pt x="2660" y="6040"/>
                      <a:pt x="1937" y="5264"/>
                    </a:cubicBezTo>
                    <a:cubicBezTo>
                      <a:pt x="1215" y="4543"/>
                      <a:pt x="1215" y="4044"/>
                      <a:pt x="1063" y="3712"/>
                    </a:cubicBezTo>
                    <a:cubicBezTo>
                      <a:pt x="875" y="3327"/>
                      <a:pt x="304" y="3657"/>
                      <a:pt x="229" y="2716"/>
                    </a:cubicBezTo>
                    <a:cubicBezTo>
                      <a:pt x="115" y="1718"/>
                      <a:pt x="0" y="0"/>
                      <a:pt x="0" y="0"/>
                    </a:cubicBezTo>
                    <a:cubicBezTo>
                      <a:pt x="0" y="0"/>
                      <a:pt x="304" y="885"/>
                      <a:pt x="1367" y="2827"/>
                    </a:cubicBezTo>
                    <a:cubicBezTo>
                      <a:pt x="2468" y="4710"/>
                      <a:pt x="3873" y="7092"/>
                      <a:pt x="4180" y="7259"/>
                    </a:cubicBezTo>
                    <a:cubicBezTo>
                      <a:pt x="4444" y="7481"/>
                      <a:pt x="4711" y="7813"/>
                      <a:pt x="5659" y="7925"/>
                    </a:cubicBezTo>
                    <a:cubicBezTo>
                      <a:pt x="6608" y="8090"/>
                      <a:pt x="7065" y="8146"/>
                      <a:pt x="8090" y="8479"/>
                    </a:cubicBezTo>
                    <a:cubicBezTo>
                      <a:pt x="9117" y="8755"/>
                      <a:pt x="9342" y="8559"/>
                      <a:pt x="9647" y="881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51">
                <a:extLst>
                  <a:ext uri="{FF2B5EF4-FFF2-40B4-BE49-F238E27FC236}">
                    <a16:creationId xmlns:a16="http://schemas.microsoft.com/office/drawing/2014/main" id="{B6B2218B-6913-47E8-8E7D-B6C38712CC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8327" y="2172997"/>
                <a:ext cx="122238" cy="200025"/>
              </a:xfrm>
              <a:custGeom>
                <a:avLst/>
                <a:gdLst>
                  <a:gd name="T0" fmla="*/ 0 w 46"/>
                  <a:gd name="T1" fmla="*/ 0 h 75"/>
                  <a:gd name="T2" fmla="*/ 34 w 46"/>
                  <a:gd name="T3" fmla="*/ 52 h 75"/>
                  <a:gd name="T4" fmla="*/ 46 w 46"/>
                  <a:gd name="T5" fmla="*/ 75 h 75"/>
                  <a:gd name="T6" fmla="*/ 28 w 46"/>
                  <a:gd name="T7" fmla="*/ 61 h 75"/>
                  <a:gd name="T8" fmla="*/ 12 w 46"/>
                  <a:gd name="T9" fmla="*/ 44 h 75"/>
                  <a:gd name="T10" fmla="*/ 0 w 4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75">
                    <a:moveTo>
                      <a:pt x="0" y="0"/>
                    </a:moveTo>
                    <a:cubicBezTo>
                      <a:pt x="0" y="0"/>
                      <a:pt x="27" y="42"/>
                      <a:pt x="34" y="52"/>
                    </a:cubicBezTo>
                    <a:cubicBezTo>
                      <a:pt x="40" y="62"/>
                      <a:pt x="46" y="75"/>
                      <a:pt x="46" y="75"/>
                    </a:cubicBezTo>
                    <a:cubicBezTo>
                      <a:pt x="46" y="75"/>
                      <a:pt x="36" y="69"/>
                      <a:pt x="28" y="61"/>
                    </a:cubicBezTo>
                    <a:cubicBezTo>
                      <a:pt x="21" y="53"/>
                      <a:pt x="12" y="44"/>
                      <a:pt x="12" y="44"/>
                    </a:cubicBezTo>
                    <a:cubicBezTo>
                      <a:pt x="12" y="44"/>
                      <a:pt x="11" y="24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52">
                <a:extLst>
                  <a:ext uri="{FF2B5EF4-FFF2-40B4-BE49-F238E27FC236}">
                    <a16:creationId xmlns:a16="http://schemas.microsoft.com/office/drawing/2014/main" id="{F8A50E36-5410-48D3-B9FA-7D39034AE1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55002" y="2763547"/>
                <a:ext cx="103188" cy="398463"/>
              </a:xfrm>
              <a:custGeom>
                <a:avLst/>
                <a:gdLst>
                  <a:gd name="T0" fmla="*/ 39 w 39"/>
                  <a:gd name="T1" fmla="*/ 0 h 150"/>
                  <a:gd name="T2" fmla="*/ 11 w 39"/>
                  <a:gd name="T3" fmla="*/ 79 h 150"/>
                  <a:gd name="T4" fmla="*/ 1 w 39"/>
                  <a:gd name="T5" fmla="*/ 143 h 150"/>
                  <a:gd name="T6" fmla="*/ 30 w 39"/>
                  <a:gd name="T7" fmla="*/ 64 h 150"/>
                  <a:gd name="T8" fmla="*/ 39 w 39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150">
                    <a:moveTo>
                      <a:pt x="39" y="0"/>
                    </a:moveTo>
                    <a:cubicBezTo>
                      <a:pt x="39" y="0"/>
                      <a:pt x="15" y="72"/>
                      <a:pt x="11" y="79"/>
                    </a:cubicBezTo>
                    <a:cubicBezTo>
                      <a:pt x="8" y="87"/>
                      <a:pt x="1" y="137"/>
                      <a:pt x="1" y="143"/>
                    </a:cubicBezTo>
                    <a:cubicBezTo>
                      <a:pt x="0" y="150"/>
                      <a:pt x="25" y="89"/>
                      <a:pt x="30" y="64"/>
                    </a:cubicBezTo>
                    <a:cubicBezTo>
                      <a:pt x="35" y="39"/>
                      <a:pt x="39" y="3"/>
                      <a:pt x="39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53">
                <a:extLst>
                  <a:ext uri="{FF2B5EF4-FFF2-40B4-BE49-F238E27FC236}">
                    <a16:creationId xmlns:a16="http://schemas.microsoft.com/office/drawing/2014/main" id="{7BD70725-70AC-48D9-AA9B-106832D4DC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28015" y="1768185"/>
                <a:ext cx="396875" cy="514350"/>
              </a:xfrm>
              <a:custGeom>
                <a:avLst/>
                <a:gdLst>
                  <a:gd name="T0" fmla="*/ 43 w 149"/>
                  <a:gd name="T1" fmla="*/ 0 h 193"/>
                  <a:gd name="T2" fmla="*/ 3 w 149"/>
                  <a:gd name="T3" fmla="*/ 85 h 193"/>
                  <a:gd name="T4" fmla="*/ 25 w 149"/>
                  <a:gd name="T5" fmla="*/ 193 h 193"/>
                  <a:gd name="T6" fmla="*/ 18 w 149"/>
                  <a:gd name="T7" fmla="*/ 112 h 193"/>
                  <a:gd name="T8" fmla="*/ 97 w 149"/>
                  <a:gd name="T9" fmla="*/ 131 h 193"/>
                  <a:gd name="T10" fmla="*/ 145 w 149"/>
                  <a:gd name="T11" fmla="*/ 141 h 193"/>
                  <a:gd name="T12" fmla="*/ 97 w 149"/>
                  <a:gd name="T13" fmla="*/ 123 h 193"/>
                  <a:gd name="T14" fmla="*/ 23 w 149"/>
                  <a:gd name="T15" fmla="*/ 102 h 193"/>
                  <a:gd name="T16" fmla="*/ 27 w 149"/>
                  <a:gd name="T17" fmla="*/ 86 h 193"/>
                  <a:gd name="T18" fmla="*/ 72 w 149"/>
                  <a:gd name="T19" fmla="*/ 97 h 193"/>
                  <a:gd name="T20" fmla="*/ 102 w 149"/>
                  <a:gd name="T21" fmla="*/ 109 h 193"/>
                  <a:gd name="T22" fmla="*/ 64 w 149"/>
                  <a:gd name="T23" fmla="*/ 82 h 193"/>
                  <a:gd name="T24" fmla="*/ 17 w 149"/>
                  <a:gd name="T25" fmla="*/ 77 h 193"/>
                  <a:gd name="T26" fmla="*/ 32 w 149"/>
                  <a:gd name="T27" fmla="*/ 47 h 193"/>
                  <a:gd name="T28" fmla="*/ 71 w 149"/>
                  <a:gd name="T29" fmla="*/ 43 h 193"/>
                  <a:gd name="T30" fmla="*/ 102 w 149"/>
                  <a:gd name="T31" fmla="*/ 59 h 193"/>
                  <a:gd name="T32" fmla="*/ 127 w 149"/>
                  <a:gd name="T33" fmla="*/ 57 h 193"/>
                  <a:gd name="T34" fmla="*/ 92 w 149"/>
                  <a:gd name="T35" fmla="*/ 41 h 193"/>
                  <a:gd name="T36" fmla="*/ 41 w 149"/>
                  <a:gd name="T37" fmla="*/ 34 h 193"/>
                  <a:gd name="T38" fmla="*/ 36 w 149"/>
                  <a:gd name="T39" fmla="*/ 20 h 193"/>
                  <a:gd name="T40" fmla="*/ 43 w 149"/>
                  <a:gd name="T41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9" h="193">
                    <a:moveTo>
                      <a:pt x="43" y="0"/>
                    </a:moveTo>
                    <a:cubicBezTo>
                      <a:pt x="43" y="0"/>
                      <a:pt x="1" y="3"/>
                      <a:pt x="3" y="85"/>
                    </a:cubicBezTo>
                    <a:cubicBezTo>
                      <a:pt x="3" y="85"/>
                      <a:pt x="0" y="133"/>
                      <a:pt x="25" y="193"/>
                    </a:cubicBezTo>
                    <a:cubicBezTo>
                      <a:pt x="25" y="193"/>
                      <a:pt x="11" y="116"/>
                      <a:pt x="18" y="112"/>
                    </a:cubicBezTo>
                    <a:cubicBezTo>
                      <a:pt x="25" y="108"/>
                      <a:pt x="73" y="125"/>
                      <a:pt x="97" y="131"/>
                    </a:cubicBezTo>
                    <a:cubicBezTo>
                      <a:pt x="121" y="137"/>
                      <a:pt x="140" y="143"/>
                      <a:pt x="145" y="141"/>
                    </a:cubicBezTo>
                    <a:cubicBezTo>
                      <a:pt x="149" y="138"/>
                      <a:pt x="119" y="131"/>
                      <a:pt x="97" y="123"/>
                    </a:cubicBezTo>
                    <a:cubicBezTo>
                      <a:pt x="75" y="114"/>
                      <a:pt x="31" y="100"/>
                      <a:pt x="23" y="102"/>
                    </a:cubicBezTo>
                    <a:cubicBezTo>
                      <a:pt x="15" y="104"/>
                      <a:pt x="11" y="88"/>
                      <a:pt x="27" y="86"/>
                    </a:cubicBezTo>
                    <a:cubicBezTo>
                      <a:pt x="44" y="84"/>
                      <a:pt x="52" y="85"/>
                      <a:pt x="72" y="97"/>
                    </a:cubicBezTo>
                    <a:cubicBezTo>
                      <a:pt x="92" y="109"/>
                      <a:pt x="99" y="111"/>
                      <a:pt x="102" y="109"/>
                    </a:cubicBezTo>
                    <a:cubicBezTo>
                      <a:pt x="105" y="108"/>
                      <a:pt x="82" y="92"/>
                      <a:pt x="64" y="82"/>
                    </a:cubicBezTo>
                    <a:cubicBezTo>
                      <a:pt x="46" y="72"/>
                      <a:pt x="23" y="69"/>
                      <a:pt x="17" y="77"/>
                    </a:cubicBezTo>
                    <a:cubicBezTo>
                      <a:pt x="11" y="84"/>
                      <a:pt x="7" y="54"/>
                      <a:pt x="32" y="47"/>
                    </a:cubicBezTo>
                    <a:cubicBezTo>
                      <a:pt x="57" y="41"/>
                      <a:pt x="59" y="37"/>
                      <a:pt x="71" y="43"/>
                    </a:cubicBezTo>
                    <a:cubicBezTo>
                      <a:pt x="84" y="49"/>
                      <a:pt x="89" y="57"/>
                      <a:pt x="102" y="59"/>
                    </a:cubicBezTo>
                    <a:cubicBezTo>
                      <a:pt x="115" y="61"/>
                      <a:pt x="131" y="63"/>
                      <a:pt x="127" y="57"/>
                    </a:cubicBezTo>
                    <a:cubicBezTo>
                      <a:pt x="123" y="51"/>
                      <a:pt x="102" y="52"/>
                      <a:pt x="92" y="41"/>
                    </a:cubicBezTo>
                    <a:cubicBezTo>
                      <a:pt x="82" y="31"/>
                      <a:pt x="51" y="31"/>
                      <a:pt x="41" y="34"/>
                    </a:cubicBezTo>
                    <a:cubicBezTo>
                      <a:pt x="30" y="37"/>
                      <a:pt x="24" y="33"/>
                      <a:pt x="36" y="20"/>
                    </a:cubicBezTo>
                    <a:cubicBezTo>
                      <a:pt x="48" y="7"/>
                      <a:pt x="43" y="0"/>
                      <a:pt x="43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54">
                <a:extLst>
                  <a:ext uri="{FF2B5EF4-FFF2-40B4-BE49-F238E27FC236}">
                    <a16:creationId xmlns:a16="http://schemas.microsoft.com/office/drawing/2014/main" id="{AD56A8D0-4E5F-4022-B365-1CBBC3B602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07415" y="1830097"/>
                <a:ext cx="311150" cy="500063"/>
              </a:xfrm>
              <a:custGeom>
                <a:avLst/>
                <a:gdLst>
                  <a:gd name="T0" fmla="*/ 14 w 117"/>
                  <a:gd name="T1" fmla="*/ 0 h 188"/>
                  <a:gd name="T2" fmla="*/ 68 w 117"/>
                  <a:gd name="T3" fmla="*/ 68 h 188"/>
                  <a:gd name="T4" fmla="*/ 60 w 117"/>
                  <a:gd name="T5" fmla="*/ 78 h 188"/>
                  <a:gd name="T6" fmla="*/ 9 w 117"/>
                  <a:gd name="T7" fmla="*/ 58 h 188"/>
                  <a:gd name="T8" fmla="*/ 50 w 117"/>
                  <a:gd name="T9" fmla="*/ 82 h 188"/>
                  <a:gd name="T10" fmla="*/ 79 w 117"/>
                  <a:gd name="T11" fmla="*/ 104 h 188"/>
                  <a:gd name="T12" fmla="*/ 91 w 117"/>
                  <a:gd name="T13" fmla="*/ 142 h 188"/>
                  <a:gd name="T14" fmla="*/ 99 w 117"/>
                  <a:gd name="T15" fmla="*/ 162 h 188"/>
                  <a:gd name="T16" fmla="*/ 108 w 117"/>
                  <a:gd name="T17" fmla="*/ 183 h 188"/>
                  <a:gd name="T18" fmla="*/ 94 w 117"/>
                  <a:gd name="T19" fmla="*/ 134 h 188"/>
                  <a:gd name="T20" fmla="*/ 103 w 117"/>
                  <a:gd name="T21" fmla="*/ 112 h 188"/>
                  <a:gd name="T22" fmla="*/ 91 w 117"/>
                  <a:gd name="T23" fmla="*/ 98 h 188"/>
                  <a:gd name="T24" fmla="*/ 74 w 117"/>
                  <a:gd name="T25" fmla="*/ 59 h 188"/>
                  <a:gd name="T26" fmla="*/ 14 w 117"/>
                  <a:gd name="T27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188">
                    <a:moveTo>
                      <a:pt x="14" y="0"/>
                    </a:moveTo>
                    <a:cubicBezTo>
                      <a:pt x="14" y="0"/>
                      <a:pt x="58" y="42"/>
                      <a:pt x="68" y="68"/>
                    </a:cubicBezTo>
                    <a:cubicBezTo>
                      <a:pt x="77" y="95"/>
                      <a:pt x="65" y="86"/>
                      <a:pt x="60" y="78"/>
                    </a:cubicBezTo>
                    <a:cubicBezTo>
                      <a:pt x="56" y="70"/>
                      <a:pt x="18" y="59"/>
                      <a:pt x="9" y="58"/>
                    </a:cubicBezTo>
                    <a:cubicBezTo>
                      <a:pt x="0" y="58"/>
                      <a:pt x="44" y="75"/>
                      <a:pt x="50" y="82"/>
                    </a:cubicBezTo>
                    <a:cubicBezTo>
                      <a:pt x="56" y="88"/>
                      <a:pt x="79" y="100"/>
                      <a:pt x="79" y="104"/>
                    </a:cubicBezTo>
                    <a:cubicBezTo>
                      <a:pt x="79" y="109"/>
                      <a:pt x="82" y="142"/>
                      <a:pt x="91" y="142"/>
                    </a:cubicBezTo>
                    <a:cubicBezTo>
                      <a:pt x="91" y="142"/>
                      <a:pt x="94" y="141"/>
                      <a:pt x="99" y="162"/>
                    </a:cubicBezTo>
                    <a:cubicBezTo>
                      <a:pt x="99" y="162"/>
                      <a:pt x="104" y="178"/>
                      <a:pt x="108" y="183"/>
                    </a:cubicBezTo>
                    <a:cubicBezTo>
                      <a:pt x="112" y="188"/>
                      <a:pt x="100" y="143"/>
                      <a:pt x="94" y="134"/>
                    </a:cubicBezTo>
                    <a:cubicBezTo>
                      <a:pt x="94" y="134"/>
                      <a:pt x="89" y="128"/>
                      <a:pt x="103" y="112"/>
                    </a:cubicBezTo>
                    <a:cubicBezTo>
                      <a:pt x="117" y="97"/>
                      <a:pt x="93" y="100"/>
                      <a:pt x="91" y="98"/>
                    </a:cubicBezTo>
                    <a:cubicBezTo>
                      <a:pt x="89" y="96"/>
                      <a:pt x="86" y="76"/>
                      <a:pt x="74" y="59"/>
                    </a:cubicBezTo>
                    <a:cubicBezTo>
                      <a:pt x="62" y="42"/>
                      <a:pt x="33" y="8"/>
                      <a:pt x="14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55">
                <a:extLst>
                  <a:ext uri="{FF2B5EF4-FFF2-40B4-BE49-F238E27FC236}">
                    <a16:creationId xmlns:a16="http://schemas.microsoft.com/office/drawing/2014/main" id="{9C2099AF-FD07-4938-AFFF-08043BCC2A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55065" y="2342860"/>
                <a:ext cx="355600" cy="146050"/>
              </a:xfrm>
              <a:custGeom>
                <a:avLst/>
                <a:gdLst>
                  <a:gd name="T0" fmla="*/ 134 w 134"/>
                  <a:gd name="T1" fmla="*/ 42 h 55"/>
                  <a:gd name="T2" fmla="*/ 125 w 134"/>
                  <a:gd name="T3" fmla="*/ 52 h 55"/>
                  <a:gd name="T4" fmla="*/ 94 w 134"/>
                  <a:gd name="T5" fmla="*/ 41 h 55"/>
                  <a:gd name="T6" fmla="*/ 61 w 134"/>
                  <a:gd name="T7" fmla="*/ 28 h 55"/>
                  <a:gd name="T8" fmla="*/ 32 w 134"/>
                  <a:gd name="T9" fmla="*/ 23 h 55"/>
                  <a:gd name="T10" fmla="*/ 11 w 134"/>
                  <a:gd name="T11" fmla="*/ 45 h 55"/>
                  <a:gd name="T12" fmla="*/ 19 w 134"/>
                  <a:gd name="T13" fmla="*/ 21 h 55"/>
                  <a:gd name="T14" fmla="*/ 17 w 134"/>
                  <a:gd name="T15" fmla="*/ 15 h 55"/>
                  <a:gd name="T16" fmla="*/ 11 w 134"/>
                  <a:gd name="T17" fmla="*/ 5 h 55"/>
                  <a:gd name="T18" fmla="*/ 40 w 134"/>
                  <a:gd name="T19" fmla="*/ 8 h 55"/>
                  <a:gd name="T20" fmla="*/ 106 w 134"/>
                  <a:gd name="T21" fmla="*/ 38 h 55"/>
                  <a:gd name="T22" fmla="*/ 134 w 134"/>
                  <a:gd name="T23" fmla="*/ 4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4" h="55">
                    <a:moveTo>
                      <a:pt x="134" y="42"/>
                    </a:moveTo>
                    <a:cubicBezTo>
                      <a:pt x="134" y="42"/>
                      <a:pt x="131" y="49"/>
                      <a:pt x="125" y="52"/>
                    </a:cubicBezTo>
                    <a:cubicBezTo>
                      <a:pt x="119" y="55"/>
                      <a:pt x="107" y="47"/>
                      <a:pt x="94" y="41"/>
                    </a:cubicBezTo>
                    <a:cubicBezTo>
                      <a:pt x="81" y="35"/>
                      <a:pt x="74" y="32"/>
                      <a:pt x="61" y="28"/>
                    </a:cubicBezTo>
                    <a:cubicBezTo>
                      <a:pt x="49" y="24"/>
                      <a:pt x="36" y="19"/>
                      <a:pt x="32" y="23"/>
                    </a:cubicBezTo>
                    <a:cubicBezTo>
                      <a:pt x="28" y="27"/>
                      <a:pt x="19" y="47"/>
                      <a:pt x="11" y="45"/>
                    </a:cubicBezTo>
                    <a:cubicBezTo>
                      <a:pt x="4" y="42"/>
                      <a:pt x="9" y="26"/>
                      <a:pt x="19" y="21"/>
                    </a:cubicBezTo>
                    <a:cubicBezTo>
                      <a:pt x="23" y="18"/>
                      <a:pt x="35" y="15"/>
                      <a:pt x="17" y="15"/>
                    </a:cubicBezTo>
                    <a:cubicBezTo>
                      <a:pt x="0" y="15"/>
                      <a:pt x="5" y="9"/>
                      <a:pt x="11" y="5"/>
                    </a:cubicBezTo>
                    <a:cubicBezTo>
                      <a:pt x="17" y="0"/>
                      <a:pt x="29" y="3"/>
                      <a:pt x="40" y="8"/>
                    </a:cubicBezTo>
                    <a:cubicBezTo>
                      <a:pt x="51" y="13"/>
                      <a:pt x="100" y="37"/>
                      <a:pt x="106" y="38"/>
                    </a:cubicBezTo>
                    <a:cubicBezTo>
                      <a:pt x="112" y="39"/>
                      <a:pt x="109" y="49"/>
                      <a:pt x="134" y="4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56">
                <a:extLst>
                  <a:ext uri="{FF2B5EF4-FFF2-40B4-BE49-F238E27FC236}">
                    <a16:creationId xmlns:a16="http://schemas.microsoft.com/office/drawing/2014/main" id="{CDC8B18F-77B4-49A3-98E1-713E0093A4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42377" y="2538122"/>
                <a:ext cx="223838" cy="147638"/>
              </a:xfrm>
              <a:custGeom>
                <a:avLst/>
                <a:gdLst>
                  <a:gd name="T0" fmla="*/ 84 w 84"/>
                  <a:gd name="T1" fmla="*/ 0 h 56"/>
                  <a:gd name="T2" fmla="*/ 26 w 84"/>
                  <a:gd name="T3" fmla="*/ 37 h 56"/>
                  <a:gd name="T4" fmla="*/ 0 w 84"/>
                  <a:gd name="T5" fmla="*/ 53 h 56"/>
                  <a:gd name="T6" fmla="*/ 36 w 84"/>
                  <a:gd name="T7" fmla="*/ 44 h 56"/>
                  <a:gd name="T8" fmla="*/ 84 w 84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56">
                    <a:moveTo>
                      <a:pt x="84" y="0"/>
                    </a:moveTo>
                    <a:cubicBezTo>
                      <a:pt x="84" y="0"/>
                      <a:pt x="41" y="33"/>
                      <a:pt x="26" y="37"/>
                    </a:cubicBezTo>
                    <a:cubicBezTo>
                      <a:pt x="10" y="41"/>
                      <a:pt x="0" y="53"/>
                      <a:pt x="0" y="53"/>
                    </a:cubicBezTo>
                    <a:cubicBezTo>
                      <a:pt x="0" y="53"/>
                      <a:pt x="18" y="56"/>
                      <a:pt x="36" y="44"/>
                    </a:cubicBezTo>
                    <a:cubicBezTo>
                      <a:pt x="54" y="32"/>
                      <a:pt x="81" y="4"/>
                      <a:pt x="84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57">
                <a:extLst>
                  <a:ext uri="{FF2B5EF4-FFF2-40B4-BE49-F238E27FC236}">
                    <a16:creationId xmlns:a16="http://schemas.microsoft.com/office/drawing/2014/main" id="{E1B9E57B-8A6D-497F-9584-A9562BF969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0765" y="2444460"/>
                <a:ext cx="265113" cy="249238"/>
              </a:xfrm>
              <a:custGeom>
                <a:avLst/>
                <a:gdLst>
                  <a:gd name="T0" fmla="*/ 100 w 100"/>
                  <a:gd name="T1" fmla="*/ 23 h 94"/>
                  <a:gd name="T2" fmla="*/ 82 w 100"/>
                  <a:gd name="T3" fmla="*/ 53 h 94"/>
                  <a:gd name="T4" fmla="*/ 53 w 100"/>
                  <a:gd name="T5" fmla="*/ 79 h 94"/>
                  <a:gd name="T6" fmla="*/ 13 w 100"/>
                  <a:gd name="T7" fmla="*/ 79 h 94"/>
                  <a:gd name="T8" fmla="*/ 36 w 100"/>
                  <a:gd name="T9" fmla="*/ 33 h 94"/>
                  <a:gd name="T10" fmla="*/ 74 w 100"/>
                  <a:gd name="T11" fmla="*/ 3 h 94"/>
                  <a:gd name="T12" fmla="*/ 79 w 100"/>
                  <a:gd name="T13" fmla="*/ 9 h 94"/>
                  <a:gd name="T14" fmla="*/ 50 w 100"/>
                  <a:gd name="T15" fmla="*/ 41 h 94"/>
                  <a:gd name="T16" fmla="*/ 27 w 100"/>
                  <a:gd name="T17" fmla="*/ 60 h 94"/>
                  <a:gd name="T18" fmla="*/ 54 w 100"/>
                  <a:gd name="T19" fmla="*/ 62 h 94"/>
                  <a:gd name="T20" fmla="*/ 84 w 100"/>
                  <a:gd name="T21" fmla="*/ 39 h 94"/>
                  <a:gd name="T22" fmla="*/ 100 w 100"/>
                  <a:gd name="T23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94">
                    <a:moveTo>
                      <a:pt x="100" y="23"/>
                    </a:moveTo>
                    <a:cubicBezTo>
                      <a:pt x="100" y="23"/>
                      <a:pt x="92" y="47"/>
                      <a:pt x="82" y="53"/>
                    </a:cubicBezTo>
                    <a:cubicBezTo>
                      <a:pt x="72" y="60"/>
                      <a:pt x="66" y="71"/>
                      <a:pt x="53" y="79"/>
                    </a:cubicBezTo>
                    <a:cubicBezTo>
                      <a:pt x="40" y="86"/>
                      <a:pt x="13" y="94"/>
                      <a:pt x="13" y="79"/>
                    </a:cubicBezTo>
                    <a:cubicBezTo>
                      <a:pt x="13" y="63"/>
                      <a:pt x="15" y="46"/>
                      <a:pt x="36" y="33"/>
                    </a:cubicBezTo>
                    <a:cubicBezTo>
                      <a:pt x="58" y="19"/>
                      <a:pt x="68" y="5"/>
                      <a:pt x="74" y="3"/>
                    </a:cubicBezTo>
                    <a:cubicBezTo>
                      <a:pt x="81" y="0"/>
                      <a:pt x="87" y="6"/>
                      <a:pt x="79" y="9"/>
                    </a:cubicBezTo>
                    <a:cubicBezTo>
                      <a:pt x="71" y="13"/>
                      <a:pt x="59" y="36"/>
                      <a:pt x="50" y="41"/>
                    </a:cubicBezTo>
                    <a:cubicBezTo>
                      <a:pt x="40" y="47"/>
                      <a:pt x="24" y="54"/>
                      <a:pt x="27" y="60"/>
                    </a:cubicBezTo>
                    <a:cubicBezTo>
                      <a:pt x="27" y="60"/>
                      <a:pt x="0" y="92"/>
                      <a:pt x="54" y="62"/>
                    </a:cubicBezTo>
                    <a:cubicBezTo>
                      <a:pt x="54" y="62"/>
                      <a:pt x="81" y="45"/>
                      <a:pt x="84" y="39"/>
                    </a:cubicBezTo>
                    <a:cubicBezTo>
                      <a:pt x="86" y="33"/>
                      <a:pt x="99" y="13"/>
                      <a:pt x="100" y="2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58">
                <a:extLst>
                  <a:ext uri="{FF2B5EF4-FFF2-40B4-BE49-F238E27FC236}">
                    <a16:creationId xmlns:a16="http://schemas.microsoft.com/office/drawing/2014/main" id="{662793F9-1FD0-42F5-A64D-BF89FC8577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93240" y="2523835"/>
                <a:ext cx="66675" cy="252413"/>
              </a:xfrm>
              <a:custGeom>
                <a:avLst/>
                <a:gdLst>
                  <a:gd name="T0" fmla="*/ 10 w 25"/>
                  <a:gd name="T1" fmla="*/ 0 h 95"/>
                  <a:gd name="T2" fmla="*/ 1 w 25"/>
                  <a:gd name="T3" fmla="*/ 23 h 95"/>
                  <a:gd name="T4" fmla="*/ 4 w 25"/>
                  <a:gd name="T5" fmla="*/ 58 h 95"/>
                  <a:gd name="T6" fmla="*/ 7 w 25"/>
                  <a:gd name="T7" fmla="*/ 95 h 95"/>
                  <a:gd name="T8" fmla="*/ 17 w 25"/>
                  <a:gd name="T9" fmla="*/ 17 h 95"/>
                  <a:gd name="T10" fmla="*/ 10 w 25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95">
                    <a:moveTo>
                      <a:pt x="10" y="0"/>
                    </a:moveTo>
                    <a:cubicBezTo>
                      <a:pt x="10" y="0"/>
                      <a:pt x="0" y="9"/>
                      <a:pt x="1" y="23"/>
                    </a:cubicBezTo>
                    <a:cubicBezTo>
                      <a:pt x="3" y="36"/>
                      <a:pt x="7" y="50"/>
                      <a:pt x="4" y="58"/>
                    </a:cubicBezTo>
                    <a:cubicBezTo>
                      <a:pt x="1" y="66"/>
                      <a:pt x="1" y="90"/>
                      <a:pt x="7" y="95"/>
                    </a:cubicBezTo>
                    <a:cubicBezTo>
                      <a:pt x="7" y="95"/>
                      <a:pt x="25" y="35"/>
                      <a:pt x="17" y="17"/>
                    </a:cubicBezTo>
                    <a:cubicBezTo>
                      <a:pt x="10" y="0"/>
                      <a:pt x="15" y="7"/>
                      <a:pt x="1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59">
                <a:extLst>
                  <a:ext uri="{FF2B5EF4-FFF2-40B4-BE49-F238E27FC236}">
                    <a16:creationId xmlns:a16="http://schemas.microsoft.com/office/drawing/2014/main" id="{C8599449-E9A9-4589-8DF6-DC324A496F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75665" y="1628485"/>
                <a:ext cx="287338" cy="265113"/>
              </a:xfrm>
              <a:custGeom>
                <a:avLst/>
                <a:gdLst>
                  <a:gd name="T0" fmla="*/ 0 w 108"/>
                  <a:gd name="T1" fmla="*/ 0 h 100"/>
                  <a:gd name="T2" fmla="*/ 58 w 108"/>
                  <a:gd name="T3" fmla="*/ 60 h 100"/>
                  <a:gd name="T4" fmla="*/ 73 w 108"/>
                  <a:gd name="T5" fmla="*/ 80 h 100"/>
                  <a:gd name="T6" fmla="*/ 102 w 108"/>
                  <a:gd name="T7" fmla="*/ 94 h 100"/>
                  <a:gd name="T8" fmla="*/ 72 w 108"/>
                  <a:gd name="T9" fmla="*/ 86 h 100"/>
                  <a:gd name="T10" fmla="*/ 0 w 108"/>
                  <a:gd name="T1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100">
                    <a:moveTo>
                      <a:pt x="0" y="0"/>
                    </a:moveTo>
                    <a:cubicBezTo>
                      <a:pt x="0" y="0"/>
                      <a:pt x="45" y="44"/>
                      <a:pt x="58" y="6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3" y="80"/>
                      <a:pt x="95" y="94"/>
                      <a:pt x="102" y="94"/>
                    </a:cubicBezTo>
                    <a:cubicBezTo>
                      <a:pt x="108" y="95"/>
                      <a:pt x="86" y="100"/>
                      <a:pt x="72" y="86"/>
                    </a:cubicBezTo>
                    <a:cubicBezTo>
                      <a:pt x="57" y="71"/>
                      <a:pt x="10" y="19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60">
                <a:extLst>
                  <a:ext uri="{FF2B5EF4-FFF2-40B4-BE49-F238E27FC236}">
                    <a16:creationId xmlns:a16="http://schemas.microsoft.com/office/drawing/2014/main" id="{A41565EF-193F-483F-9E9D-5839E83CD1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18552" y="1892010"/>
                <a:ext cx="411163" cy="563563"/>
              </a:xfrm>
              <a:custGeom>
                <a:avLst/>
                <a:gdLst>
                  <a:gd name="T0" fmla="*/ 148 w 155"/>
                  <a:gd name="T1" fmla="*/ 212 h 212"/>
                  <a:gd name="T2" fmla="*/ 129 w 155"/>
                  <a:gd name="T3" fmla="*/ 177 h 212"/>
                  <a:gd name="T4" fmla="*/ 93 w 155"/>
                  <a:gd name="T5" fmla="*/ 110 h 212"/>
                  <a:gd name="T6" fmla="*/ 9 w 155"/>
                  <a:gd name="T7" fmla="*/ 23 h 212"/>
                  <a:gd name="T8" fmla="*/ 21 w 155"/>
                  <a:gd name="T9" fmla="*/ 22 h 212"/>
                  <a:gd name="T10" fmla="*/ 72 w 155"/>
                  <a:gd name="T11" fmla="*/ 71 h 212"/>
                  <a:gd name="T12" fmla="*/ 117 w 155"/>
                  <a:gd name="T13" fmla="*/ 137 h 212"/>
                  <a:gd name="T14" fmla="*/ 148 w 155"/>
                  <a:gd name="T15" fmla="*/ 187 h 212"/>
                  <a:gd name="T16" fmla="*/ 148 w 155"/>
                  <a:gd name="T17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" h="212">
                    <a:moveTo>
                      <a:pt x="148" y="212"/>
                    </a:moveTo>
                    <a:cubicBezTo>
                      <a:pt x="148" y="212"/>
                      <a:pt x="137" y="195"/>
                      <a:pt x="129" y="177"/>
                    </a:cubicBezTo>
                    <a:cubicBezTo>
                      <a:pt x="122" y="160"/>
                      <a:pt x="105" y="124"/>
                      <a:pt x="93" y="110"/>
                    </a:cubicBezTo>
                    <a:cubicBezTo>
                      <a:pt x="80" y="96"/>
                      <a:pt x="67" y="77"/>
                      <a:pt x="9" y="23"/>
                    </a:cubicBezTo>
                    <a:cubicBezTo>
                      <a:pt x="9" y="23"/>
                      <a:pt x="0" y="0"/>
                      <a:pt x="21" y="22"/>
                    </a:cubicBezTo>
                    <a:cubicBezTo>
                      <a:pt x="41" y="44"/>
                      <a:pt x="68" y="65"/>
                      <a:pt x="72" y="71"/>
                    </a:cubicBezTo>
                    <a:cubicBezTo>
                      <a:pt x="76" y="77"/>
                      <a:pt x="104" y="111"/>
                      <a:pt x="117" y="137"/>
                    </a:cubicBezTo>
                    <a:cubicBezTo>
                      <a:pt x="131" y="162"/>
                      <a:pt x="148" y="187"/>
                      <a:pt x="148" y="187"/>
                    </a:cubicBezTo>
                    <a:cubicBezTo>
                      <a:pt x="148" y="187"/>
                      <a:pt x="155" y="205"/>
                      <a:pt x="148" y="21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61">
                <a:extLst>
                  <a:ext uri="{FF2B5EF4-FFF2-40B4-BE49-F238E27FC236}">
                    <a16:creationId xmlns:a16="http://schemas.microsoft.com/office/drawing/2014/main" id="{F40D9A77-D4DD-4F29-A091-B6F90FBD1F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5090" y="1882485"/>
                <a:ext cx="187325" cy="490538"/>
              </a:xfrm>
              <a:custGeom>
                <a:avLst/>
                <a:gdLst>
                  <a:gd name="T0" fmla="*/ 0 w 71"/>
                  <a:gd name="T1" fmla="*/ 0 h 184"/>
                  <a:gd name="T2" fmla="*/ 22 w 71"/>
                  <a:gd name="T3" fmla="*/ 38 h 184"/>
                  <a:gd name="T4" fmla="*/ 44 w 71"/>
                  <a:gd name="T5" fmla="*/ 91 h 184"/>
                  <a:gd name="T6" fmla="*/ 67 w 71"/>
                  <a:gd name="T7" fmla="*/ 164 h 184"/>
                  <a:gd name="T8" fmla="*/ 60 w 71"/>
                  <a:gd name="T9" fmla="*/ 184 h 184"/>
                  <a:gd name="T10" fmla="*/ 44 w 71"/>
                  <a:gd name="T11" fmla="*/ 110 h 184"/>
                  <a:gd name="T12" fmla="*/ 16 w 71"/>
                  <a:gd name="T13" fmla="*/ 49 h 184"/>
                  <a:gd name="T14" fmla="*/ 0 w 71"/>
                  <a:gd name="T15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1" h="184">
                    <a:moveTo>
                      <a:pt x="0" y="0"/>
                    </a:moveTo>
                    <a:cubicBezTo>
                      <a:pt x="0" y="0"/>
                      <a:pt x="16" y="28"/>
                      <a:pt x="22" y="38"/>
                    </a:cubicBezTo>
                    <a:cubicBezTo>
                      <a:pt x="27" y="49"/>
                      <a:pt x="39" y="85"/>
                      <a:pt x="44" y="91"/>
                    </a:cubicBezTo>
                    <a:cubicBezTo>
                      <a:pt x="50" y="97"/>
                      <a:pt x="71" y="152"/>
                      <a:pt x="67" y="164"/>
                    </a:cubicBezTo>
                    <a:cubicBezTo>
                      <a:pt x="63" y="176"/>
                      <a:pt x="60" y="184"/>
                      <a:pt x="60" y="184"/>
                    </a:cubicBezTo>
                    <a:cubicBezTo>
                      <a:pt x="60" y="184"/>
                      <a:pt x="56" y="134"/>
                      <a:pt x="44" y="110"/>
                    </a:cubicBezTo>
                    <a:cubicBezTo>
                      <a:pt x="44" y="110"/>
                      <a:pt x="18" y="54"/>
                      <a:pt x="16" y="49"/>
                    </a:cubicBezTo>
                    <a:cubicBezTo>
                      <a:pt x="13" y="44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62">
                <a:extLst>
                  <a:ext uri="{FF2B5EF4-FFF2-40B4-BE49-F238E27FC236}">
                    <a16:creationId xmlns:a16="http://schemas.microsoft.com/office/drawing/2014/main" id="{27B9AC44-DB97-4B90-93DB-582BA4D9F0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34477" y="2398422"/>
                <a:ext cx="38100" cy="65088"/>
              </a:xfrm>
              <a:custGeom>
                <a:avLst/>
                <a:gdLst>
                  <a:gd name="T0" fmla="*/ 14 w 14"/>
                  <a:gd name="T1" fmla="*/ 24 h 24"/>
                  <a:gd name="T2" fmla="*/ 0 w 14"/>
                  <a:gd name="T3" fmla="*/ 22 h 24"/>
                  <a:gd name="T4" fmla="*/ 10 w 14"/>
                  <a:gd name="T5" fmla="*/ 12 h 24"/>
                  <a:gd name="T6" fmla="*/ 14 w 14"/>
                  <a:gd name="T7" fmla="*/ 0 h 24"/>
                  <a:gd name="T8" fmla="*/ 14 w 14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4">
                    <a:moveTo>
                      <a:pt x="14" y="24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7" y="16"/>
                      <a:pt x="10" y="12"/>
                    </a:cubicBezTo>
                    <a:cubicBezTo>
                      <a:pt x="12" y="8"/>
                      <a:pt x="14" y="0"/>
                      <a:pt x="14" y="0"/>
                    </a:cubicBezTo>
                    <a:lnTo>
                      <a:pt x="14" y="24"/>
                    </a:ln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63">
                <a:extLst>
                  <a:ext uri="{FF2B5EF4-FFF2-40B4-BE49-F238E27FC236}">
                    <a16:creationId xmlns:a16="http://schemas.microsoft.com/office/drawing/2014/main" id="{1F5B2753-EC93-4675-A648-8F8CEB45B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59827" y="1476879"/>
                <a:ext cx="228600" cy="207963"/>
              </a:xfrm>
              <a:custGeom>
                <a:avLst/>
                <a:gdLst>
                  <a:gd name="T0" fmla="*/ 86 w 86"/>
                  <a:gd name="T1" fmla="*/ 77 h 78"/>
                  <a:gd name="T2" fmla="*/ 19 w 86"/>
                  <a:gd name="T3" fmla="*/ 28 h 78"/>
                  <a:gd name="T4" fmla="*/ 0 w 86"/>
                  <a:gd name="T5" fmla="*/ 0 h 78"/>
                  <a:gd name="T6" fmla="*/ 74 w 86"/>
                  <a:gd name="T7" fmla="*/ 78 h 78"/>
                  <a:gd name="T8" fmla="*/ 86 w 86"/>
                  <a:gd name="T9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8">
                    <a:moveTo>
                      <a:pt x="86" y="77"/>
                    </a:moveTo>
                    <a:cubicBezTo>
                      <a:pt x="86" y="77"/>
                      <a:pt x="38" y="46"/>
                      <a:pt x="19" y="28"/>
                    </a:cubicBezTo>
                    <a:cubicBezTo>
                      <a:pt x="1" y="10"/>
                      <a:pt x="0" y="0"/>
                      <a:pt x="0" y="0"/>
                    </a:cubicBezTo>
                    <a:cubicBezTo>
                      <a:pt x="0" y="0"/>
                      <a:pt x="5" y="37"/>
                      <a:pt x="74" y="78"/>
                    </a:cubicBezTo>
                    <a:lnTo>
                      <a:pt x="86" y="77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64">
                <a:extLst>
                  <a:ext uri="{FF2B5EF4-FFF2-40B4-BE49-F238E27FC236}">
                    <a16:creationId xmlns:a16="http://schemas.microsoft.com/office/drawing/2014/main" id="{567E1C57-3AA3-4A70-9781-8AB05EC0E1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4115" y="1668967"/>
                <a:ext cx="107950" cy="85725"/>
              </a:xfrm>
              <a:custGeom>
                <a:avLst/>
                <a:gdLst>
                  <a:gd name="T0" fmla="*/ 41 w 41"/>
                  <a:gd name="T1" fmla="*/ 16 h 32"/>
                  <a:gd name="T2" fmla="*/ 30 w 41"/>
                  <a:gd name="T3" fmla="*/ 14 h 32"/>
                  <a:gd name="T4" fmla="*/ 5 w 41"/>
                  <a:gd name="T5" fmla="*/ 0 h 32"/>
                  <a:gd name="T6" fmla="*/ 32 w 41"/>
                  <a:gd name="T7" fmla="*/ 28 h 32"/>
                  <a:gd name="T8" fmla="*/ 33 w 41"/>
                  <a:gd name="T9" fmla="*/ 30 h 32"/>
                  <a:gd name="T10" fmla="*/ 40 w 41"/>
                  <a:gd name="T11" fmla="*/ 28 h 32"/>
                  <a:gd name="T12" fmla="*/ 41 w 41"/>
                  <a:gd name="T13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32">
                    <a:moveTo>
                      <a:pt x="41" y="16"/>
                    </a:moveTo>
                    <a:cubicBezTo>
                      <a:pt x="41" y="16"/>
                      <a:pt x="36" y="17"/>
                      <a:pt x="30" y="14"/>
                    </a:cubicBezTo>
                    <a:cubicBezTo>
                      <a:pt x="25" y="12"/>
                      <a:pt x="10" y="0"/>
                      <a:pt x="5" y="0"/>
                    </a:cubicBezTo>
                    <a:cubicBezTo>
                      <a:pt x="0" y="0"/>
                      <a:pt x="26" y="24"/>
                      <a:pt x="32" y="28"/>
                    </a:cubicBezTo>
                    <a:cubicBezTo>
                      <a:pt x="38" y="32"/>
                      <a:pt x="33" y="30"/>
                      <a:pt x="33" y="30"/>
                    </a:cubicBezTo>
                    <a:cubicBezTo>
                      <a:pt x="40" y="28"/>
                      <a:pt x="40" y="28"/>
                      <a:pt x="40" y="28"/>
                    </a:cubicBezTo>
                    <a:lnTo>
                      <a:pt x="41" y="16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65">
                <a:extLst>
                  <a:ext uri="{FF2B5EF4-FFF2-40B4-BE49-F238E27FC236}">
                    <a16:creationId xmlns:a16="http://schemas.microsoft.com/office/drawing/2014/main" id="{6B92CC07-A215-4AE7-985A-158352E1C7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99502" y="1330035"/>
                <a:ext cx="68263" cy="128588"/>
              </a:xfrm>
              <a:custGeom>
                <a:avLst/>
                <a:gdLst>
                  <a:gd name="T0" fmla="*/ 26 w 26"/>
                  <a:gd name="T1" fmla="*/ 37 h 48"/>
                  <a:gd name="T2" fmla="*/ 6 w 26"/>
                  <a:gd name="T3" fmla="*/ 21 h 48"/>
                  <a:gd name="T4" fmla="*/ 0 w 26"/>
                  <a:gd name="T5" fmla="*/ 0 h 48"/>
                  <a:gd name="T6" fmla="*/ 3 w 26"/>
                  <a:gd name="T7" fmla="*/ 32 h 48"/>
                  <a:gd name="T8" fmla="*/ 8 w 26"/>
                  <a:gd name="T9" fmla="*/ 46 h 48"/>
                  <a:gd name="T10" fmla="*/ 26 w 26"/>
                  <a:gd name="T11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48">
                    <a:moveTo>
                      <a:pt x="26" y="37"/>
                    </a:moveTo>
                    <a:cubicBezTo>
                      <a:pt x="26" y="37"/>
                      <a:pt x="10" y="38"/>
                      <a:pt x="6" y="21"/>
                    </a:cubicBezTo>
                    <a:cubicBezTo>
                      <a:pt x="1" y="4"/>
                      <a:pt x="0" y="0"/>
                      <a:pt x="0" y="0"/>
                    </a:cubicBezTo>
                    <a:cubicBezTo>
                      <a:pt x="0" y="0"/>
                      <a:pt x="0" y="25"/>
                      <a:pt x="3" y="32"/>
                    </a:cubicBezTo>
                    <a:cubicBezTo>
                      <a:pt x="6" y="40"/>
                      <a:pt x="0" y="44"/>
                      <a:pt x="8" y="46"/>
                    </a:cubicBezTo>
                    <a:cubicBezTo>
                      <a:pt x="15" y="48"/>
                      <a:pt x="26" y="47"/>
                      <a:pt x="26" y="37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66">
                <a:extLst>
                  <a:ext uri="{FF2B5EF4-FFF2-40B4-BE49-F238E27FC236}">
                    <a16:creationId xmlns:a16="http://schemas.microsoft.com/office/drawing/2014/main" id="{34721851-2BF1-4CED-97A4-1240E4776C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5652" y="2212685"/>
                <a:ext cx="269875" cy="193675"/>
              </a:xfrm>
              <a:custGeom>
                <a:avLst/>
                <a:gdLst>
                  <a:gd name="T0" fmla="*/ 102 w 102"/>
                  <a:gd name="T1" fmla="*/ 66 h 73"/>
                  <a:gd name="T2" fmla="*/ 22 w 102"/>
                  <a:gd name="T3" fmla="*/ 33 h 73"/>
                  <a:gd name="T4" fmla="*/ 70 w 102"/>
                  <a:gd name="T5" fmla="*/ 72 h 73"/>
                  <a:gd name="T6" fmla="*/ 102 w 102"/>
                  <a:gd name="T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2" h="73">
                    <a:moveTo>
                      <a:pt x="102" y="66"/>
                    </a:moveTo>
                    <a:cubicBezTo>
                      <a:pt x="102" y="66"/>
                      <a:pt x="43" y="66"/>
                      <a:pt x="22" y="33"/>
                    </a:cubicBezTo>
                    <a:cubicBezTo>
                      <a:pt x="0" y="0"/>
                      <a:pt x="24" y="70"/>
                      <a:pt x="70" y="72"/>
                    </a:cubicBezTo>
                    <a:cubicBezTo>
                      <a:pt x="70" y="72"/>
                      <a:pt x="98" y="73"/>
                      <a:pt x="102" y="66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67">
                <a:extLst>
                  <a:ext uri="{FF2B5EF4-FFF2-40B4-BE49-F238E27FC236}">
                    <a16:creationId xmlns:a16="http://schemas.microsoft.com/office/drawing/2014/main" id="{7E18A1F0-749E-4996-AF9A-DA0E6EA7A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12302" y="2638135"/>
                <a:ext cx="71438" cy="66675"/>
              </a:xfrm>
              <a:custGeom>
                <a:avLst/>
                <a:gdLst>
                  <a:gd name="T0" fmla="*/ 0 w 27"/>
                  <a:gd name="T1" fmla="*/ 0 h 25"/>
                  <a:gd name="T2" fmla="*/ 14 w 27"/>
                  <a:gd name="T3" fmla="*/ 14 h 25"/>
                  <a:gd name="T4" fmla="*/ 18 w 27"/>
                  <a:gd name="T5" fmla="*/ 25 h 25"/>
                  <a:gd name="T6" fmla="*/ 27 w 27"/>
                  <a:gd name="T7" fmla="*/ 25 h 25"/>
                  <a:gd name="T8" fmla="*/ 0 w 2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5">
                    <a:moveTo>
                      <a:pt x="0" y="0"/>
                    </a:moveTo>
                    <a:cubicBezTo>
                      <a:pt x="0" y="0"/>
                      <a:pt x="11" y="10"/>
                      <a:pt x="14" y="14"/>
                    </a:cubicBezTo>
                    <a:cubicBezTo>
                      <a:pt x="18" y="18"/>
                      <a:pt x="18" y="25"/>
                      <a:pt x="18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7" y="25"/>
                      <a:pt x="27" y="10"/>
                      <a:pt x="0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68">
                <a:extLst>
                  <a:ext uri="{FF2B5EF4-FFF2-40B4-BE49-F238E27FC236}">
                    <a16:creationId xmlns:a16="http://schemas.microsoft.com/office/drawing/2014/main" id="{A4DE1211-BADD-45CC-A946-C9A738B0CC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8165" y="2634960"/>
                <a:ext cx="71438" cy="98425"/>
              </a:xfrm>
              <a:custGeom>
                <a:avLst/>
                <a:gdLst>
                  <a:gd name="T0" fmla="*/ 6 w 27"/>
                  <a:gd name="T1" fmla="*/ 0 h 37"/>
                  <a:gd name="T2" fmla="*/ 11 w 27"/>
                  <a:gd name="T3" fmla="*/ 16 h 37"/>
                  <a:gd name="T4" fmla="*/ 27 w 27"/>
                  <a:gd name="T5" fmla="*/ 19 h 37"/>
                  <a:gd name="T6" fmla="*/ 0 w 27"/>
                  <a:gd name="T7" fmla="*/ 37 h 37"/>
                  <a:gd name="T8" fmla="*/ 6 w 27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37">
                    <a:moveTo>
                      <a:pt x="6" y="0"/>
                    </a:moveTo>
                    <a:cubicBezTo>
                      <a:pt x="6" y="0"/>
                      <a:pt x="6" y="14"/>
                      <a:pt x="11" y="16"/>
                    </a:cubicBezTo>
                    <a:cubicBezTo>
                      <a:pt x="16" y="18"/>
                      <a:pt x="27" y="19"/>
                      <a:pt x="27" y="1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5"/>
                      <a:pt x="6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69">
                <a:extLst>
                  <a:ext uri="{FF2B5EF4-FFF2-40B4-BE49-F238E27FC236}">
                    <a16:creationId xmlns:a16="http://schemas.microsoft.com/office/drawing/2014/main" id="{75465729-0E26-4295-B835-1A2FAA6FCC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75790" y="2692110"/>
                <a:ext cx="100013" cy="79375"/>
              </a:xfrm>
              <a:custGeom>
                <a:avLst/>
                <a:gdLst>
                  <a:gd name="T0" fmla="*/ 0 w 38"/>
                  <a:gd name="T1" fmla="*/ 23 h 30"/>
                  <a:gd name="T2" fmla="*/ 30 w 38"/>
                  <a:gd name="T3" fmla="*/ 0 h 30"/>
                  <a:gd name="T4" fmla="*/ 7 w 38"/>
                  <a:gd name="T5" fmla="*/ 30 h 30"/>
                  <a:gd name="T6" fmla="*/ 0 w 38"/>
                  <a:gd name="T7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">
                    <a:moveTo>
                      <a:pt x="0" y="23"/>
                    </a:moveTo>
                    <a:cubicBezTo>
                      <a:pt x="0" y="23"/>
                      <a:pt x="19" y="12"/>
                      <a:pt x="30" y="0"/>
                    </a:cubicBezTo>
                    <a:cubicBezTo>
                      <a:pt x="30" y="0"/>
                      <a:pt x="38" y="5"/>
                      <a:pt x="7" y="30"/>
                    </a:cubicBezTo>
                    <a:cubicBezTo>
                      <a:pt x="7" y="30"/>
                      <a:pt x="11" y="24"/>
                      <a:pt x="0" y="23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70">
                <a:extLst>
                  <a:ext uri="{FF2B5EF4-FFF2-40B4-BE49-F238E27FC236}">
                    <a16:creationId xmlns:a16="http://schemas.microsoft.com/office/drawing/2014/main" id="{218309E9-A10F-4DA2-A966-1CF9948099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07540" y="2723860"/>
                <a:ext cx="82550" cy="74613"/>
              </a:xfrm>
              <a:custGeom>
                <a:avLst/>
                <a:gdLst>
                  <a:gd name="T0" fmla="*/ 31 w 31"/>
                  <a:gd name="T1" fmla="*/ 0 h 28"/>
                  <a:gd name="T2" fmla="*/ 2 w 31"/>
                  <a:gd name="T3" fmla="*/ 26 h 28"/>
                  <a:gd name="T4" fmla="*/ 31 w 31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8">
                    <a:moveTo>
                      <a:pt x="31" y="0"/>
                    </a:moveTo>
                    <a:cubicBezTo>
                      <a:pt x="31" y="0"/>
                      <a:pt x="0" y="24"/>
                      <a:pt x="2" y="26"/>
                    </a:cubicBezTo>
                    <a:cubicBezTo>
                      <a:pt x="4" y="28"/>
                      <a:pt x="25" y="16"/>
                      <a:pt x="31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71">
                <a:extLst>
                  <a:ext uri="{FF2B5EF4-FFF2-40B4-BE49-F238E27FC236}">
                    <a16:creationId xmlns:a16="http://schemas.microsoft.com/office/drawing/2014/main" id="{446797AF-144D-4BA6-A608-75EECDB6D6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50415" y="2723860"/>
                <a:ext cx="38100" cy="66675"/>
              </a:xfrm>
              <a:custGeom>
                <a:avLst/>
                <a:gdLst>
                  <a:gd name="T0" fmla="*/ 14 w 14"/>
                  <a:gd name="T1" fmla="*/ 6 h 25"/>
                  <a:gd name="T2" fmla="*/ 2 w 14"/>
                  <a:gd name="T3" fmla="*/ 4 h 25"/>
                  <a:gd name="T4" fmla="*/ 0 w 14"/>
                  <a:gd name="T5" fmla="*/ 19 h 25"/>
                  <a:gd name="T6" fmla="*/ 1 w 14"/>
                  <a:gd name="T7" fmla="*/ 25 h 25"/>
                  <a:gd name="T8" fmla="*/ 14 w 14"/>
                  <a:gd name="T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5">
                    <a:moveTo>
                      <a:pt x="14" y="6"/>
                    </a:moveTo>
                    <a:cubicBezTo>
                      <a:pt x="14" y="6"/>
                      <a:pt x="3" y="0"/>
                      <a:pt x="2" y="4"/>
                    </a:cubicBezTo>
                    <a:cubicBezTo>
                      <a:pt x="2" y="9"/>
                      <a:pt x="0" y="16"/>
                      <a:pt x="0" y="19"/>
                    </a:cubicBezTo>
                    <a:cubicBezTo>
                      <a:pt x="0" y="22"/>
                      <a:pt x="1" y="25"/>
                      <a:pt x="1" y="25"/>
                    </a:cubicBezTo>
                    <a:cubicBezTo>
                      <a:pt x="1" y="25"/>
                      <a:pt x="6" y="22"/>
                      <a:pt x="14" y="6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72">
                <a:extLst>
                  <a:ext uri="{FF2B5EF4-FFF2-40B4-BE49-F238E27FC236}">
                    <a16:creationId xmlns:a16="http://schemas.microsoft.com/office/drawing/2014/main" id="{43168BC7-C306-4C2B-96CF-9625C034F6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59927" y="2627022"/>
                <a:ext cx="171450" cy="298450"/>
              </a:xfrm>
              <a:custGeom>
                <a:avLst/>
                <a:gdLst>
                  <a:gd name="T0" fmla="*/ 58 w 64"/>
                  <a:gd name="T1" fmla="*/ 9 h 112"/>
                  <a:gd name="T2" fmla="*/ 62 w 64"/>
                  <a:gd name="T3" fmla="*/ 19 h 112"/>
                  <a:gd name="T4" fmla="*/ 59 w 64"/>
                  <a:gd name="T5" fmla="*/ 30 h 112"/>
                  <a:gd name="T6" fmla="*/ 50 w 64"/>
                  <a:gd name="T7" fmla="*/ 69 h 112"/>
                  <a:gd name="T8" fmla="*/ 37 w 64"/>
                  <a:gd name="T9" fmla="*/ 81 h 112"/>
                  <a:gd name="T10" fmla="*/ 16 w 64"/>
                  <a:gd name="T11" fmla="*/ 112 h 112"/>
                  <a:gd name="T12" fmla="*/ 12 w 64"/>
                  <a:gd name="T13" fmla="*/ 78 h 112"/>
                  <a:gd name="T14" fmla="*/ 44 w 64"/>
                  <a:gd name="T15" fmla="*/ 49 h 112"/>
                  <a:gd name="T16" fmla="*/ 38 w 64"/>
                  <a:gd name="T17" fmla="*/ 0 h 112"/>
                  <a:gd name="T18" fmla="*/ 58 w 64"/>
                  <a:gd name="T19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112">
                    <a:moveTo>
                      <a:pt x="58" y="9"/>
                    </a:moveTo>
                    <a:cubicBezTo>
                      <a:pt x="58" y="9"/>
                      <a:pt x="60" y="16"/>
                      <a:pt x="62" y="19"/>
                    </a:cubicBezTo>
                    <a:cubicBezTo>
                      <a:pt x="64" y="22"/>
                      <a:pt x="61" y="19"/>
                      <a:pt x="59" y="30"/>
                    </a:cubicBezTo>
                    <a:cubicBezTo>
                      <a:pt x="57" y="40"/>
                      <a:pt x="61" y="67"/>
                      <a:pt x="50" y="69"/>
                    </a:cubicBezTo>
                    <a:cubicBezTo>
                      <a:pt x="38" y="71"/>
                      <a:pt x="38" y="78"/>
                      <a:pt x="37" y="81"/>
                    </a:cubicBezTo>
                    <a:cubicBezTo>
                      <a:pt x="36" y="84"/>
                      <a:pt x="45" y="102"/>
                      <a:pt x="16" y="112"/>
                    </a:cubicBezTo>
                    <a:cubicBezTo>
                      <a:pt x="16" y="112"/>
                      <a:pt x="0" y="106"/>
                      <a:pt x="12" y="78"/>
                    </a:cubicBezTo>
                    <a:cubicBezTo>
                      <a:pt x="12" y="78"/>
                      <a:pt x="32" y="70"/>
                      <a:pt x="44" y="49"/>
                    </a:cubicBezTo>
                    <a:cubicBezTo>
                      <a:pt x="44" y="49"/>
                      <a:pt x="56" y="33"/>
                      <a:pt x="38" y="0"/>
                    </a:cubicBezTo>
                    <a:cubicBezTo>
                      <a:pt x="38" y="0"/>
                      <a:pt x="52" y="2"/>
                      <a:pt x="58" y="9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73">
                <a:extLst>
                  <a:ext uri="{FF2B5EF4-FFF2-40B4-BE49-F238E27FC236}">
                    <a16:creationId xmlns:a16="http://schemas.microsoft.com/office/drawing/2014/main" id="{85E4ED4E-A960-4D7C-9FD5-9431089BD9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1565" y="2606385"/>
                <a:ext cx="112713" cy="319088"/>
              </a:xfrm>
              <a:custGeom>
                <a:avLst/>
                <a:gdLst>
                  <a:gd name="T0" fmla="*/ 42 w 42"/>
                  <a:gd name="T1" fmla="*/ 115 h 120"/>
                  <a:gd name="T2" fmla="*/ 26 w 42"/>
                  <a:gd name="T3" fmla="*/ 40 h 120"/>
                  <a:gd name="T4" fmla="*/ 10 w 42"/>
                  <a:gd name="T5" fmla="*/ 10 h 120"/>
                  <a:gd name="T6" fmla="*/ 8 w 42"/>
                  <a:gd name="T7" fmla="*/ 22 h 120"/>
                  <a:gd name="T8" fmla="*/ 11 w 42"/>
                  <a:gd name="T9" fmla="*/ 35 h 120"/>
                  <a:gd name="T10" fmla="*/ 5 w 42"/>
                  <a:gd name="T11" fmla="*/ 66 h 120"/>
                  <a:gd name="T12" fmla="*/ 14 w 42"/>
                  <a:gd name="T13" fmla="*/ 103 h 120"/>
                  <a:gd name="T14" fmla="*/ 18 w 42"/>
                  <a:gd name="T15" fmla="*/ 120 h 120"/>
                  <a:gd name="T16" fmla="*/ 42 w 42"/>
                  <a:gd name="T17" fmla="*/ 11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120">
                    <a:moveTo>
                      <a:pt x="42" y="115"/>
                    </a:moveTo>
                    <a:cubicBezTo>
                      <a:pt x="42" y="115"/>
                      <a:pt x="29" y="49"/>
                      <a:pt x="26" y="40"/>
                    </a:cubicBezTo>
                    <a:cubicBezTo>
                      <a:pt x="23" y="30"/>
                      <a:pt x="17" y="16"/>
                      <a:pt x="10" y="10"/>
                    </a:cubicBezTo>
                    <a:cubicBezTo>
                      <a:pt x="3" y="4"/>
                      <a:pt x="0" y="0"/>
                      <a:pt x="8" y="22"/>
                    </a:cubicBezTo>
                    <a:cubicBezTo>
                      <a:pt x="8" y="22"/>
                      <a:pt x="12" y="28"/>
                      <a:pt x="11" y="35"/>
                    </a:cubicBezTo>
                    <a:cubicBezTo>
                      <a:pt x="9" y="42"/>
                      <a:pt x="1" y="54"/>
                      <a:pt x="5" y="66"/>
                    </a:cubicBezTo>
                    <a:cubicBezTo>
                      <a:pt x="9" y="77"/>
                      <a:pt x="15" y="98"/>
                      <a:pt x="14" y="103"/>
                    </a:cubicBezTo>
                    <a:cubicBezTo>
                      <a:pt x="13" y="108"/>
                      <a:pt x="18" y="120"/>
                      <a:pt x="18" y="120"/>
                    </a:cubicBez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74">
                <a:extLst>
                  <a:ext uri="{FF2B5EF4-FFF2-40B4-BE49-F238E27FC236}">
                    <a16:creationId xmlns:a16="http://schemas.microsoft.com/office/drawing/2014/main" id="{1DDDEA3E-EC3E-447B-A07C-7E9943A2EF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37790" y="2531772"/>
                <a:ext cx="93663" cy="830263"/>
              </a:xfrm>
              <a:custGeom>
                <a:avLst/>
                <a:gdLst>
                  <a:gd name="T0" fmla="*/ 0 w 35"/>
                  <a:gd name="T1" fmla="*/ 312 h 312"/>
                  <a:gd name="T2" fmla="*/ 15 w 35"/>
                  <a:gd name="T3" fmla="*/ 228 h 312"/>
                  <a:gd name="T4" fmla="*/ 21 w 35"/>
                  <a:gd name="T5" fmla="*/ 198 h 312"/>
                  <a:gd name="T6" fmla="*/ 19 w 35"/>
                  <a:gd name="T7" fmla="*/ 174 h 312"/>
                  <a:gd name="T8" fmla="*/ 15 w 35"/>
                  <a:gd name="T9" fmla="*/ 99 h 312"/>
                  <a:gd name="T10" fmla="*/ 9 w 35"/>
                  <a:gd name="T11" fmla="*/ 62 h 312"/>
                  <a:gd name="T12" fmla="*/ 4 w 35"/>
                  <a:gd name="T13" fmla="*/ 7 h 312"/>
                  <a:gd name="T14" fmla="*/ 17 w 35"/>
                  <a:gd name="T15" fmla="*/ 50 h 312"/>
                  <a:gd name="T16" fmla="*/ 23 w 35"/>
                  <a:gd name="T17" fmla="*/ 92 h 312"/>
                  <a:gd name="T18" fmla="*/ 29 w 35"/>
                  <a:gd name="T19" fmla="*/ 160 h 312"/>
                  <a:gd name="T20" fmla="*/ 31 w 35"/>
                  <a:gd name="T21" fmla="*/ 190 h 312"/>
                  <a:gd name="T22" fmla="*/ 0 w 35"/>
                  <a:gd name="T23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312">
                    <a:moveTo>
                      <a:pt x="0" y="312"/>
                    </a:moveTo>
                    <a:cubicBezTo>
                      <a:pt x="0" y="312"/>
                      <a:pt x="8" y="256"/>
                      <a:pt x="15" y="228"/>
                    </a:cubicBezTo>
                    <a:cubicBezTo>
                      <a:pt x="15" y="228"/>
                      <a:pt x="19" y="208"/>
                      <a:pt x="21" y="198"/>
                    </a:cubicBezTo>
                    <a:cubicBezTo>
                      <a:pt x="24" y="189"/>
                      <a:pt x="20" y="179"/>
                      <a:pt x="19" y="174"/>
                    </a:cubicBezTo>
                    <a:cubicBezTo>
                      <a:pt x="19" y="168"/>
                      <a:pt x="20" y="112"/>
                      <a:pt x="15" y="99"/>
                    </a:cubicBezTo>
                    <a:cubicBezTo>
                      <a:pt x="11" y="86"/>
                      <a:pt x="11" y="81"/>
                      <a:pt x="9" y="62"/>
                    </a:cubicBezTo>
                    <a:cubicBezTo>
                      <a:pt x="8" y="44"/>
                      <a:pt x="7" y="14"/>
                      <a:pt x="4" y="7"/>
                    </a:cubicBezTo>
                    <a:cubicBezTo>
                      <a:pt x="1" y="0"/>
                      <a:pt x="13" y="21"/>
                      <a:pt x="17" y="50"/>
                    </a:cubicBezTo>
                    <a:cubicBezTo>
                      <a:pt x="21" y="78"/>
                      <a:pt x="21" y="86"/>
                      <a:pt x="23" y="92"/>
                    </a:cubicBezTo>
                    <a:cubicBezTo>
                      <a:pt x="25" y="98"/>
                      <a:pt x="30" y="146"/>
                      <a:pt x="29" y="160"/>
                    </a:cubicBezTo>
                    <a:cubicBezTo>
                      <a:pt x="27" y="174"/>
                      <a:pt x="35" y="180"/>
                      <a:pt x="31" y="190"/>
                    </a:cubicBezTo>
                    <a:cubicBezTo>
                      <a:pt x="28" y="200"/>
                      <a:pt x="10" y="294"/>
                      <a:pt x="0" y="312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75">
                <a:extLst>
                  <a:ext uri="{FF2B5EF4-FFF2-40B4-BE49-F238E27FC236}">
                    <a16:creationId xmlns:a16="http://schemas.microsoft.com/office/drawing/2014/main" id="{C829CEC5-F95C-4DD7-97EA-DEB96A99D7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6977" y="2087272"/>
                <a:ext cx="133350" cy="396875"/>
              </a:xfrm>
              <a:custGeom>
                <a:avLst/>
                <a:gdLst>
                  <a:gd name="T0" fmla="*/ 50 w 50"/>
                  <a:gd name="T1" fmla="*/ 149 h 149"/>
                  <a:gd name="T2" fmla="*/ 8 w 50"/>
                  <a:gd name="T3" fmla="*/ 93 h 149"/>
                  <a:gd name="T4" fmla="*/ 29 w 50"/>
                  <a:gd name="T5" fmla="*/ 29 h 149"/>
                  <a:gd name="T6" fmla="*/ 2 w 50"/>
                  <a:gd name="T7" fmla="*/ 104 h 149"/>
                  <a:gd name="T8" fmla="*/ 50 w 50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149">
                    <a:moveTo>
                      <a:pt x="50" y="149"/>
                    </a:moveTo>
                    <a:cubicBezTo>
                      <a:pt x="50" y="149"/>
                      <a:pt x="2" y="142"/>
                      <a:pt x="8" y="93"/>
                    </a:cubicBezTo>
                    <a:cubicBezTo>
                      <a:pt x="8" y="93"/>
                      <a:pt x="15" y="59"/>
                      <a:pt x="29" y="29"/>
                    </a:cubicBezTo>
                    <a:cubicBezTo>
                      <a:pt x="43" y="0"/>
                      <a:pt x="0" y="63"/>
                      <a:pt x="2" y="104"/>
                    </a:cubicBezTo>
                    <a:cubicBezTo>
                      <a:pt x="4" y="145"/>
                      <a:pt x="30" y="149"/>
                      <a:pt x="50" y="149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76">
                <a:extLst>
                  <a:ext uri="{FF2B5EF4-FFF2-40B4-BE49-F238E27FC236}">
                    <a16:creationId xmlns:a16="http://schemas.microsoft.com/office/drawing/2014/main" id="{091F31F9-C5E5-487E-8BCA-66113636B2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93340" y="2058697"/>
                <a:ext cx="366713" cy="446088"/>
              </a:xfrm>
              <a:custGeom>
                <a:avLst/>
                <a:gdLst>
                  <a:gd name="T0" fmla="*/ 30 w 138"/>
                  <a:gd name="T1" fmla="*/ 168 h 168"/>
                  <a:gd name="T2" fmla="*/ 9 w 138"/>
                  <a:gd name="T3" fmla="*/ 91 h 168"/>
                  <a:gd name="T4" fmla="*/ 29 w 138"/>
                  <a:gd name="T5" fmla="*/ 86 h 168"/>
                  <a:gd name="T6" fmla="*/ 62 w 138"/>
                  <a:gd name="T7" fmla="*/ 74 h 168"/>
                  <a:gd name="T8" fmla="*/ 103 w 138"/>
                  <a:gd name="T9" fmla="*/ 40 h 168"/>
                  <a:gd name="T10" fmla="*/ 138 w 138"/>
                  <a:gd name="T11" fmla="*/ 0 h 168"/>
                  <a:gd name="T12" fmla="*/ 64 w 138"/>
                  <a:gd name="T13" fmla="*/ 79 h 168"/>
                  <a:gd name="T14" fmla="*/ 17 w 138"/>
                  <a:gd name="T15" fmla="*/ 124 h 168"/>
                  <a:gd name="T16" fmla="*/ 30 w 138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8" h="168">
                    <a:moveTo>
                      <a:pt x="30" y="168"/>
                    </a:moveTo>
                    <a:cubicBezTo>
                      <a:pt x="30" y="168"/>
                      <a:pt x="0" y="152"/>
                      <a:pt x="9" y="91"/>
                    </a:cubicBezTo>
                    <a:cubicBezTo>
                      <a:pt x="9" y="91"/>
                      <a:pt x="16" y="85"/>
                      <a:pt x="29" y="86"/>
                    </a:cubicBezTo>
                    <a:cubicBezTo>
                      <a:pt x="42" y="86"/>
                      <a:pt x="59" y="78"/>
                      <a:pt x="62" y="74"/>
                    </a:cubicBezTo>
                    <a:cubicBezTo>
                      <a:pt x="64" y="70"/>
                      <a:pt x="95" y="48"/>
                      <a:pt x="103" y="40"/>
                    </a:cubicBezTo>
                    <a:cubicBezTo>
                      <a:pt x="111" y="32"/>
                      <a:pt x="138" y="0"/>
                      <a:pt x="138" y="0"/>
                    </a:cubicBezTo>
                    <a:cubicBezTo>
                      <a:pt x="138" y="0"/>
                      <a:pt x="119" y="42"/>
                      <a:pt x="64" y="79"/>
                    </a:cubicBezTo>
                    <a:cubicBezTo>
                      <a:pt x="64" y="79"/>
                      <a:pt x="20" y="111"/>
                      <a:pt x="17" y="124"/>
                    </a:cubicBezTo>
                    <a:cubicBezTo>
                      <a:pt x="14" y="138"/>
                      <a:pt x="25" y="160"/>
                      <a:pt x="30" y="168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77">
                <a:extLst>
                  <a:ext uri="{FF2B5EF4-FFF2-40B4-BE49-F238E27FC236}">
                    <a16:creationId xmlns:a16="http://schemas.microsoft.com/office/drawing/2014/main" id="{C5A0A06C-9BF8-4506-9F58-FD39E10ECB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33065" y="1920585"/>
                <a:ext cx="149225" cy="138113"/>
              </a:xfrm>
              <a:custGeom>
                <a:avLst/>
                <a:gdLst>
                  <a:gd name="T0" fmla="*/ 56 w 56"/>
                  <a:gd name="T1" fmla="*/ 0 h 52"/>
                  <a:gd name="T2" fmla="*/ 26 w 56"/>
                  <a:gd name="T3" fmla="*/ 36 h 52"/>
                  <a:gd name="T4" fmla="*/ 5 w 56"/>
                  <a:gd name="T5" fmla="*/ 38 h 52"/>
                  <a:gd name="T6" fmla="*/ 20 w 56"/>
                  <a:gd name="T7" fmla="*/ 48 h 52"/>
                  <a:gd name="T8" fmla="*/ 56 w 56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52">
                    <a:moveTo>
                      <a:pt x="56" y="0"/>
                    </a:moveTo>
                    <a:cubicBezTo>
                      <a:pt x="56" y="0"/>
                      <a:pt x="30" y="34"/>
                      <a:pt x="26" y="36"/>
                    </a:cubicBezTo>
                    <a:cubicBezTo>
                      <a:pt x="22" y="38"/>
                      <a:pt x="8" y="38"/>
                      <a:pt x="5" y="38"/>
                    </a:cubicBezTo>
                    <a:cubicBezTo>
                      <a:pt x="2" y="38"/>
                      <a:pt x="0" y="52"/>
                      <a:pt x="20" y="48"/>
                    </a:cubicBezTo>
                    <a:cubicBezTo>
                      <a:pt x="41" y="44"/>
                      <a:pt x="45" y="21"/>
                      <a:pt x="56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78">
                <a:extLst>
                  <a:ext uri="{FF2B5EF4-FFF2-40B4-BE49-F238E27FC236}">
                    <a16:creationId xmlns:a16="http://schemas.microsoft.com/office/drawing/2014/main" id="{D2DDF934-13B4-4488-87A3-A361ED17B8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39415" y="2207922"/>
                <a:ext cx="212725" cy="681038"/>
              </a:xfrm>
              <a:custGeom>
                <a:avLst/>
                <a:gdLst>
                  <a:gd name="T0" fmla="*/ 30 w 80"/>
                  <a:gd name="T1" fmla="*/ 20 h 256"/>
                  <a:gd name="T2" fmla="*/ 1 w 80"/>
                  <a:gd name="T3" fmla="*/ 45 h 256"/>
                  <a:gd name="T4" fmla="*/ 24 w 80"/>
                  <a:gd name="T5" fmla="*/ 48 h 256"/>
                  <a:gd name="T6" fmla="*/ 43 w 80"/>
                  <a:gd name="T7" fmla="*/ 61 h 256"/>
                  <a:gd name="T8" fmla="*/ 48 w 80"/>
                  <a:gd name="T9" fmla="*/ 110 h 256"/>
                  <a:gd name="T10" fmla="*/ 55 w 80"/>
                  <a:gd name="T11" fmla="*/ 148 h 256"/>
                  <a:gd name="T12" fmla="*/ 60 w 80"/>
                  <a:gd name="T13" fmla="*/ 184 h 256"/>
                  <a:gd name="T14" fmla="*/ 70 w 80"/>
                  <a:gd name="T15" fmla="*/ 247 h 256"/>
                  <a:gd name="T16" fmla="*/ 64 w 80"/>
                  <a:gd name="T17" fmla="*/ 166 h 256"/>
                  <a:gd name="T18" fmla="*/ 75 w 80"/>
                  <a:gd name="T19" fmla="*/ 178 h 256"/>
                  <a:gd name="T20" fmla="*/ 64 w 80"/>
                  <a:gd name="T21" fmla="*/ 136 h 256"/>
                  <a:gd name="T22" fmla="*/ 54 w 80"/>
                  <a:gd name="T23" fmla="*/ 80 h 256"/>
                  <a:gd name="T24" fmla="*/ 30 w 80"/>
                  <a:gd name="T25" fmla="*/ 2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256">
                    <a:moveTo>
                      <a:pt x="30" y="20"/>
                    </a:moveTo>
                    <a:cubicBezTo>
                      <a:pt x="30" y="20"/>
                      <a:pt x="2" y="32"/>
                      <a:pt x="1" y="45"/>
                    </a:cubicBezTo>
                    <a:cubicBezTo>
                      <a:pt x="0" y="58"/>
                      <a:pt x="12" y="48"/>
                      <a:pt x="24" y="48"/>
                    </a:cubicBezTo>
                    <a:cubicBezTo>
                      <a:pt x="36" y="48"/>
                      <a:pt x="41" y="54"/>
                      <a:pt x="43" y="61"/>
                    </a:cubicBezTo>
                    <a:cubicBezTo>
                      <a:pt x="45" y="68"/>
                      <a:pt x="43" y="99"/>
                      <a:pt x="48" y="110"/>
                    </a:cubicBezTo>
                    <a:cubicBezTo>
                      <a:pt x="52" y="120"/>
                      <a:pt x="55" y="148"/>
                      <a:pt x="55" y="148"/>
                    </a:cubicBezTo>
                    <a:cubicBezTo>
                      <a:pt x="55" y="148"/>
                      <a:pt x="55" y="176"/>
                      <a:pt x="60" y="184"/>
                    </a:cubicBezTo>
                    <a:cubicBezTo>
                      <a:pt x="66" y="192"/>
                      <a:pt x="70" y="238"/>
                      <a:pt x="70" y="247"/>
                    </a:cubicBezTo>
                    <a:cubicBezTo>
                      <a:pt x="70" y="256"/>
                      <a:pt x="65" y="176"/>
                      <a:pt x="64" y="166"/>
                    </a:cubicBezTo>
                    <a:cubicBezTo>
                      <a:pt x="64" y="155"/>
                      <a:pt x="70" y="178"/>
                      <a:pt x="75" y="178"/>
                    </a:cubicBezTo>
                    <a:cubicBezTo>
                      <a:pt x="80" y="178"/>
                      <a:pt x="66" y="149"/>
                      <a:pt x="64" y="136"/>
                    </a:cubicBezTo>
                    <a:cubicBezTo>
                      <a:pt x="61" y="124"/>
                      <a:pt x="54" y="108"/>
                      <a:pt x="54" y="80"/>
                    </a:cubicBezTo>
                    <a:cubicBezTo>
                      <a:pt x="54" y="53"/>
                      <a:pt x="58" y="0"/>
                      <a:pt x="30" y="2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79">
                <a:extLst>
                  <a:ext uri="{FF2B5EF4-FFF2-40B4-BE49-F238E27FC236}">
                    <a16:creationId xmlns:a16="http://schemas.microsoft.com/office/drawing/2014/main" id="{E56A5E29-92E7-4FE2-BFE3-7580722DFC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36265" y="2079335"/>
                <a:ext cx="244475" cy="325438"/>
              </a:xfrm>
              <a:custGeom>
                <a:avLst/>
                <a:gdLst>
                  <a:gd name="T0" fmla="*/ 15 w 92"/>
                  <a:gd name="T1" fmla="*/ 0 h 122"/>
                  <a:gd name="T2" fmla="*/ 74 w 92"/>
                  <a:gd name="T3" fmla="*/ 72 h 122"/>
                  <a:gd name="T4" fmla="*/ 87 w 92"/>
                  <a:gd name="T5" fmla="*/ 115 h 122"/>
                  <a:gd name="T6" fmla="*/ 10 w 92"/>
                  <a:gd name="T7" fmla="*/ 19 h 122"/>
                  <a:gd name="T8" fmla="*/ 15 w 92"/>
                  <a:gd name="T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122">
                    <a:moveTo>
                      <a:pt x="15" y="0"/>
                    </a:moveTo>
                    <a:cubicBezTo>
                      <a:pt x="15" y="0"/>
                      <a:pt x="57" y="46"/>
                      <a:pt x="74" y="72"/>
                    </a:cubicBezTo>
                    <a:cubicBezTo>
                      <a:pt x="92" y="98"/>
                      <a:pt x="87" y="108"/>
                      <a:pt x="87" y="115"/>
                    </a:cubicBezTo>
                    <a:cubicBezTo>
                      <a:pt x="87" y="122"/>
                      <a:pt x="15" y="33"/>
                      <a:pt x="10" y="19"/>
                    </a:cubicBezTo>
                    <a:cubicBezTo>
                      <a:pt x="4" y="5"/>
                      <a:pt x="0" y="0"/>
                      <a:pt x="15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80">
                <a:extLst>
                  <a:ext uri="{FF2B5EF4-FFF2-40B4-BE49-F238E27FC236}">
                    <a16:creationId xmlns:a16="http://schemas.microsoft.com/office/drawing/2014/main" id="{66394595-4187-4736-936E-4D8B320837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29877" y="2520660"/>
                <a:ext cx="260350" cy="117475"/>
              </a:xfrm>
              <a:custGeom>
                <a:avLst/>
                <a:gdLst>
                  <a:gd name="T0" fmla="*/ 93 w 98"/>
                  <a:gd name="T1" fmla="*/ 18 h 44"/>
                  <a:gd name="T2" fmla="*/ 75 w 98"/>
                  <a:gd name="T3" fmla="*/ 23 h 44"/>
                  <a:gd name="T4" fmla="*/ 26 w 98"/>
                  <a:gd name="T5" fmla="*/ 2 h 44"/>
                  <a:gd name="T6" fmla="*/ 1 w 98"/>
                  <a:gd name="T7" fmla="*/ 25 h 44"/>
                  <a:gd name="T8" fmla="*/ 35 w 98"/>
                  <a:gd name="T9" fmla="*/ 40 h 44"/>
                  <a:gd name="T10" fmla="*/ 96 w 98"/>
                  <a:gd name="T11" fmla="*/ 30 h 44"/>
                  <a:gd name="T12" fmla="*/ 93 w 98"/>
                  <a:gd name="T13" fmla="*/ 1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44">
                    <a:moveTo>
                      <a:pt x="93" y="18"/>
                    </a:moveTo>
                    <a:cubicBezTo>
                      <a:pt x="93" y="18"/>
                      <a:pt x="86" y="26"/>
                      <a:pt x="75" y="23"/>
                    </a:cubicBezTo>
                    <a:cubicBezTo>
                      <a:pt x="65" y="20"/>
                      <a:pt x="38" y="0"/>
                      <a:pt x="26" y="2"/>
                    </a:cubicBezTo>
                    <a:cubicBezTo>
                      <a:pt x="14" y="4"/>
                      <a:pt x="0" y="21"/>
                      <a:pt x="1" y="25"/>
                    </a:cubicBezTo>
                    <a:cubicBezTo>
                      <a:pt x="3" y="29"/>
                      <a:pt x="2" y="37"/>
                      <a:pt x="35" y="40"/>
                    </a:cubicBezTo>
                    <a:cubicBezTo>
                      <a:pt x="69" y="44"/>
                      <a:pt x="94" y="30"/>
                      <a:pt x="96" y="30"/>
                    </a:cubicBezTo>
                    <a:cubicBezTo>
                      <a:pt x="98" y="29"/>
                      <a:pt x="93" y="18"/>
                      <a:pt x="93" y="18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81">
                <a:extLst>
                  <a:ext uri="{FF2B5EF4-FFF2-40B4-BE49-F238E27FC236}">
                    <a16:creationId xmlns:a16="http://schemas.microsoft.com/office/drawing/2014/main" id="{725BCBFD-1155-4381-944D-CFE4952852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09277" y="2420647"/>
                <a:ext cx="323850" cy="355600"/>
              </a:xfrm>
              <a:custGeom>
                <a:avLst/>
                <a:gdLst>
                  <a:gd name="T0" fmla="*/ 109 w 122"/>
                  <a:gd name="T1" fmla="*/ 93 h 134"/>
                  <a:gd name="T2" fmla="*/ 52 w 122"/>
                  <a:gd name="T3" fmla="*/ 19 h 134"/>
                  <a:gd name="T4" fmla="*/ 12 w 122"/>
                  <a:gd name="T5" fmla="*/ 0 h 134"/>
                  <a:gd name="T6" fmla="*/ 38 w 122"/>
                  <a:gd name="T7" fmla="*/ 35 h 134"/>
                  <a:gd name="T8" fmla="*/ 73 w 122"/>
                  <a:gd name="T9" fmla="*/ 69 h 134"/>
                  <a:gd name="T10" fmla="*/ 112 w 122"/>
                  <a:gd name="T11" fmla="*/ 134 h 134"/>
                  <a:gd name="T12" fmla="*/ 109 w 122"/>
                  <a:gd name="T13" fmla="*/ 9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34">
                    <a:moveTo>
                      <a:pt x="109" y="93"/>
                    </a:moveTo>
                    <a:cubicBezTo>
                      <a:pt x="109" y="93"/>
                      <a:pt x="71" y="30"/>
                      <a:pt x="52" y="19"/>
                    </a:cubicBezTo>
                    <a:cubicBezTo>
                      <a:pt x="34" y="8"/>
                      <a:pt x="12" y="0"/>
                      <a:pt x="12" y="0"/>
                    </a:cubicBezTo>
                    <a:cubicBezTo>
                      <a:pt x="12" y="0"/>
                      <a:pt x="0" y="9"/>
                      <a:pt x="38" y="35"/>
                    </a:cubicBezTo>
                    <a:cubicBezTo>
                      <a:pt x="75" y="61"/>
                      <a:pt x="66" y="59"/>
                      <a:pt x="73" y="69"/>
                    </a:cubicBezTo>
                    <a:cubicBezTo>
                      <a:pt x="80" y="79"/>
                      <a:pt x="112" y="134"/>
                      <a:pt x="112" y="134"/>
                    </a:cubicBezTo>
                    <a:cubicBezTo>
                      <a:pt x="112" y="134"/>
                      <a:pt x="122" y="118"/>
                      <a:pt x="109" y="93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82">
                <a:extLst>
                  <a:ext uri="{FF2B5EF4-FFF2-40B4-BE49-F238E27FC236}">
                    <a16:creationId xmlns:a16="http://schemas.microsoft.com/office/drawing/2014/main" id="{C212EACB-A250-42BE-B617-13CCBCFB09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0390" y="2888960"/>
                <a:ext cx="177800" cy="477838"/>
              </a:xfrm>
              <a:custGeom>
                <a:avLst/>
                <a:gdLst>
                  <a:gd name="T0" fmla="*/ 14 w 67"/>
                  <a:gd name="T1" fmla="*/ 20 h 180"/>
                  <a:gd name="T2" fmla="*/ 55 w 67"/>
                  <a:gd name="T3" fmla="*/ 103 h 180"/>
                  <a:gd name="T4" fmla="*/ 60 w 67"/>
                  <a:gd name="T5" fmla="*/ 138 h 180"/>
                  <a:gd name="T6" fmla="*/ 29 w 67"/>
                  <a:gd name="T7" fmla="*/ 87 h 180"/>
                  <a:gd name="T8" fmla="*/ 12 w 67"/>
                  <a:gd name="T9" fmla="*/ 48 h 180"/>
                  <a:gd name="T10" fmla="*/ 7 w 67"/>
                  <a:gd name="T11" fmla="*/ 94 h 180"/>
                  <a:gd name="T12" fmla="*/ 38 w 67"/>
                  <a:gd name="T13" fmla="*/ 171 h 180"/>
                  <a:gd name="T14" fmla="*/ 16 w 67"/>
                  <a:gd name="T15" fmla="*/ 141 h 180"/>
                  <a:gd name="T16" fmla="*/ 1 w 67"/>
                  <a:gd name="T17" fmla="*/ 46 h 180"/>
                  <a:gd name="T18" fmla="*/ 14 w 67"/>
                  <a:gd name="T19" fmla="*/ 2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80">
                    <a:moveTo>
                      <a:pt x="14" y="20"/>
                    </a:moveTo>
                    <a:cubicBezTo>
                      <a:pt x="14" y="20"/>
                      <a:pt x="51" y="92"/>
                      <a:pt x="55" y="103"/>
                    </a:cubicBezTo>
                    <a:cubicBezTo>
                      <a:pt x="59" y="114"/>
                      <a:pt x="67" y="140"/>
                      <a:pt x="60" y="138"/>
                    </a:cubicBezTo>
                    <a:cubicBezTo>
                      <a:pt x="54" y="137"/>
                      <a:pt x="36" y="106"/>
                      <a:pt x="29" y="87"/>
                    </a:cubicBezTo>
                    <a:cubicBezTo>
                      <a:pt x="22" y="68"/>
                      <a:pt x="17" y="55"/>
                      <a:pt x="12" y="48"/>
                    </a:cubicBezTo>
                    <a:cubicBezTo>
                      <a:pt x="8" y="42"/>
                      <a:pt x="2" y="77"/>
                      <a:pt x="7" y="94"/>
                    </a:cubicBezTo>
                    <a:cubicBezTo>
                      <a:pt x="12" y="112"/>
                      <a:pt x="36" y="162"/>
                      <a:pt x="38" y="171"/>
                    </a:cubicBezTo>
                    <a:cubicBezTo>
                      <a:pt x="39" y="180"/>
                      <a:pt x="25" y="173"/>
                      <a:pt x="16" y="141"/>
                    </a:cubicBezTo>
                    <a:cubicBezTo>
                      <a:pt x="6" y="109"/>
                      <a:pt x="0" y="136"/>
                      <a:pt x="1" y="46"/>
                    </a:cubicBezTo>
                    <a:cubicBezTo>
                      <a:pt x="1" y="46"/>
                      <a:pt x="3" y="0"/>
                      <a:pt x="14" y="2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83">
                <a:extLst>
                  <a:ext uri="{FF2B5EF4-FFF2-40B4-BE49-F238E27FC236}">
                    <a16:creationId xmlns:a16="http://schemas.microsoft.com/office/drawing/2014/main" id="{8FB12E53-C705-4ED7-920F-0767BBE968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79077" y="2595272"/>
                <a:ext cx="165100" cy="120650"/>
              </a:xfrm>
              <a:custGeom>
                <a:avLst/>
                <a:gdLst>
                  <a:gd name="T0" fmla="*/ 62 w 62"/>
                  <a:gd name="T1" fmla="*/ 36 h 45"/>
                  <a:gd name="T2" fmla="*/ 13 w 62"/>
                  <a:gd name="T3" fmla="*/ 10 h 45"/>
                  <a:gd name="T4" fmla="*/ 45 w 62"/>
                  <a:gd name="T5" fmla="*/ 39 h 45"/>
                  <a:gd name="T6" fmla="*/ 62 w 62"/>
                  <a:gd name="T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" h="45">
                    <a:moveTo>
                      <a:pt x="62" y="36"/>
                    </a:moveTo>
                    <a:cubicBezTo>
                      <a:pt x="62" y="36"/>
                      <a:pt x="26" y="21"/>
                      <a:pt x="13" y="10"/>
                    </a:cubicBezTo>
                    <a:cubicBezTo>
                      <a:pt x="0" y="0"/>
                      <a:pt x="28" y="33"/>
                      <a:pt x="45" y="39"/>
                    </a:cubicBezTo>
                    <a:cubicBezTo>
                      <a:pt x="62" y="45"/>
                      <a:pt x="62" y="40"/>
                      <a:pt x="62" y="36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84">
                <a:extLst>
                  <a:ext uri="{FF2B5EF4-FFF2-40B4-BE49-F238E27FC236}">
                    <a16:creationId xmlns:a16="http://schemas.microsoft.com/office/drawing/2014/main" id="{141F30E3-456E-49DF-A34A-09C70A3747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17152" y="1955510"/>
                <a:ext cx="93663" cy="280988"/>
              </a:xfrm>
              <a:custGeom>
                <a:avLst/>
                <a:gdLst>
                  <a:gd name="T0" fmla="*/ 33 w 35"/>
                  <a:gd name="T1" fmla="*/ 0 h 106"/>
                  <a:gd name="T2" fmla="*/ 18 w 35"/>
                  <a:gd name="T3" fmla="*/ 31 h 106"/>
                  <a:gd name="T4" fmla="*/ 4 w 35"/>
                  <a:gd name="T5" fmla="*/ 95 h 106"/>
                  <a:gd name="T6" fmla="*/ 34 w 35"/>
                  <a:gd name="T7" fmla="*/ 24 h 106"/>
                  <a:gd name="T8" fmla="*/ 33 w 35"/>
                  <a:gd name="T9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6">
                    <a:moveTo>
                      <a:pt x="33" y="0"/>
                    </a:moveTo>
                    <a:cubicBezTo>
                      <a:pt x="33" y="0"/>
                      <a:pt x="19" y="15"/>
                      <a:pt x="18" y="31"/>
                    </a:cubicBezTo>
                    <a:cubicBezTo>
                      <a:pt x="17" y="46"/>
                      <a:pt x="8" y="83"/>
                      <a:pt x="4" y="95"/>
                    </a:cubicBezTo>
                    <a:cubicBezTo>
                      <a:pt x="0" y="106"/>
                      <a:pt x="35" y="29"/>
                      <a:pt x="34" y="24"/>
                    </a:cubicBezTo>
                    <a:cubicBezTo>
                      <a:pt x="33" y="19"/>
                      <a:pt x="33" y="0"/>
                      <a:pt x="33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86">
                <a:extLst>
                  <a:ext uri="{FF2B5EF4-FFF2-40B4-BE49-F238E27FC236}">
                    <a16:creationId xmlns:a16="http://schemas.microsoft.com/office/drawing/2014/main" id="{B479AEA8-33AA-4140-9F0E-677E9EBBFB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6845" y="3552535"/>
                <a:ext cx="417513" cy="317500"/>
              </a:xfrm>
              <a:custGeom>
                <a:avLst/>
                <a:gdLst>
                  <a:gd name="T0" fmla="*/ 157 w 157"/>
                  <a:gd name="T1" fmla="*/ 20 h 119"/>
                  <a:gd name="T2" fmla="*/ 141 w 157"/>
                  <a:gd name="T3" fmla="*/ 29 h 119"/>
                  <a:gd name="T4" fmla="*/ 134 w 157"/>
                  <a:gd name="T5" fmla="*/ 73 h 119"/>
                  <a:gd name="T6" fmla="*/ 20 w 157"/>
                  <a:gd name="T7" fmla="*/ 84 h 119"/>
                  <a:gd name="T8" fmla="*/ 2 w 157"/>
                  <a:gd name="T9" fmla="*/ 110 h 119"/>
                  <a:gd name="T10" fmla="*/ 28 w 157"/>
                  <a:gd name="T11" fmla="*/ 95 h 119"/>
                  <a:gd name="T12" fmla="*/ 145 w 157"/>
                  <a:gd name="T13" fmla="*/ 83 h 119"/>
                  <a:gd name="T14" fmla="*/ 157 w 157"/>
                  <a:gd name="T15" fmla="*/ 2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119">
                    <a:moveTo>
                      <a:pt x="157" y="20"/>
                    </a:moveTo>
                    <a:cubicBezTo>
                      <a:pt x="157" y="20"/>
                      <a:pt x="143" y="0"/>
                      <a:pt x="141" y="29"/>
                    </a:cubicBezTo>
                    <a:cubicBezTo>
                      <a:pt x="139" y="58"/>
                      <a:pt x="145" y="72"/>
                      <a:pt x="134" y="73"/>
                    </a:cubicBezTo>
                    <a:cubicBezTo>
                      <a:pt x="122" y="74"/>
                      <a:pt x="30" y="75"/>
                      <a:pt x="20" y="84"/>
                    </a:cubicBezTo>
                    <a:cubicBezTo>
                      <a:pt x="10" y="94"/>
                      <a:pt x="2" y="102"/>
                      <a:pt x="2" y="110"/>
                    </a:cubicBezTo>
                    <a:cubicBezTo>
                      <a:pt x="3" y="119"/>
                      <a:pt x="0" y="98"/>
                      <a:pt x="28" y="95"/>
                    </a:cubicBezTo>
                    <a:cubicBezTo>
                      <a:pt x="56" y="92"/>
                      <a:pt x="145" y="88"/>
                      <a:pt x="145" y="83"/>
                    </a:cubicBezTo>
                    <a:cubicBezTo>
                      <a:pt x="145" y="78"/>
                      <a:pt x="143" y="18"/>
                      <a:pt x="157" y="20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88">
                <a:extLst>
                  <a:ext uri="{FF2B5EF4-FFF2-40B4-BE49-F238E27FC236}">
                    <a16:creationId xmlns:a16="http://schemas.microsoft.com/office/drawing/2014/main" id="{17AA1895-0D64-46E3-81C5-548709168B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4890" y="4335172"/>
                <a:ext cx="150813" cy="930275"/>
              </a:xfrm>
              <a:custGeom>
                <a:avLst/>
                <a:gdLst>
                  <a:gd name="T0" fmla="*/ 57 w 57"/>
                  <a:gd name="T1" fmla="*/ 0 h 350"/>
                  <a:gd name="T2" fmla="*/ 34 w 57"/>
                  <a:gd name="T3" fmla="*/ 74 h 350"/>
                  <a:gd name="T4" fmla="*/ 19 w 57"/>
                  <a:gd name="T5" fmla="*/ 207 h 350"/>
                  <a:gd name="T6" fmla="*/ 0 w 57"/>
                  <a:gd name="T7" fmla="*/ 350 h 350"/>
                  <a:gd name="T8" fmla="*/ 11 w 57"/>
                  <a:gd name="T9" fmla="*/ 163 h 350"/>
                  <a:gd name="T10" fmla="*/ 57 w 57"/>
                  <a:gd name="T11" fmla="*/ 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350">
                    <a:moveTo>
                      <a:pt x="57" y="0"/>
                    </a:moveTo>
                    <a:cubicBezTo>
                      <a:pt x="57" y="0"/>
                      <a:pt x="38" y="47"/>
                      <a:pt x="34" y="74"/>
                    </a:cubicBezTo>
                    <a:cubicBezTo>
                      <a:pt x="30" y="101"/>
                      <a:pt x="19" y="199"/>
                      <a:pt x="19" y="207"/>
                    </a:cubicBezTo>
                    <a:cubicBezTo>
                      <a:pt x="19" y="215"/>
                      <a:pt x="1" y="333"/>
                      <a:pt x="0" y="350"/>
                    </a:cubicBezTo>
                    <a:cubicBezTo>
                      <a:pt x="0" y="350"/>
                      <a:pt x="11" y="221"/>
                      <a:pt x="11" y="163"/>
                    </a:cubicBezTo>
                    <a:cubicBezTo>
                      <a:pt x="11" y="163"/>
                      <a:pt x="10" y="68"/>
                      <a:pt x="57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89">
                <a:extLst>
                  <a:ext uri="{FF2B5EF4-FFF2-40B4-BE49-F238E27FC236}">
                    <a16:creationId xmlns:a16="http://schemas.microsoft.com/office/drawing/2014/main" id="{1CF74145-6EAE-471F-A470-D6E1893F4B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89412" y="3717305"/>
                <a:ext cx="333904" cy="55849"/>
              </a:xfrm>
              <a:custGeom>
                <a:avLst/>
                <a:gdLst>
                  <a:gd name="T0" fmla="*/ 0 w 131"/>
                  <a:gd name="T1" fmla="*/ 9 h 23"/>
                  <a:gd name="T2" fmla="*/ 46 w 131"/>
                  <a:gd name="T3" fmla="*/ 18 h 23"/>
                  <a:gd name="T4" fmla="*/ 76 w 131"/>
                  <a:gd name="T5" fmla="*/ 17 h 23"/>
                  <a:gd name="T6" fmla="*/ 113 w 131"/>
                  <a:gd name="T7" fmla="*/ 17 h 23"/>
                  <a:gd name="T8" fmla="*/ 6 w 131"/>
                  <a:gd name="T9" fmla="*/ 0 h 23"/>
                  <a:gd name="T10" fmla="*/ 0 w 131"/>
                  <a:gd name="T11" fmla="*/ 9 h 23"/>
                  <a:gd name="connsiteX0" fmla="*/ 0 w 9671"/>
                  <a:gd name="connsiteY0" fmla="*/ 3913 h 8070"/>
                  <a:gd name="connsiteX1" fmla="*/ 4488 w 9671"/>
                  <a:gd name="connsiteY1" fmla="*/ 7826 h 8070"/>
                  <a:gd name="connsiteX2" fmla="*/ 6779 w 9671"/>
                  <a:gd name="connsiteY2" fmla="*/ 7391 h 8070"/>
                  <a:gd name="connsiteX3" fmla="*/ 9603 w 9671"/>
                  <a:gd name="connsiteY3" fmla="*/ 7391 h 8070"/>
                  <a:gd name="connsiteX4" fmla="*/ 1435 w 9671"/>
                  <a:gd name="connsiteY4" fmla="*/ 0 h 8070"/>
                  <a:gd name="connsiteX5" fmla="*/ 0 w 9671"/>
                  <a:gd name="connsiteY5" fmla="*/ 3913 h 8070"/>
                  <a:gd name="connsiteX0" fmla="*/ 0 w 9931"/>
                  <a:gd name="connsiteY0" fmla="*/ 6027 h 11178"/>
                  <a:gd name="connsiteX1" fmla="*/ 4641 w 9931"/>
                  <a:gd name="connsiteY1" fmla="*/ 10876 h 11178"/>
                  <a:gd name="connsiteX2" fmla="*/ 7010 w 9931"/>
                  <a:gd name="connsiteY2" fmla="*/ 10337 h 11178"/>
                  <a:gd name="connsiteX3" fmla="*/ 9930 w 9931"/>
                  <a:gd name="connsiteY3" fmla="*/ 10337 h 11178"/>
                  <a:gd name="connsiteX4" fmla="*/ 381 w 9931"/>
                  <a:gd name="connsiteY4" fmla="*/ 0 h 11178"/>
                  <a:gd name="connsiteX5" fmla="*/ 0 w 9931"/>
                  <a:gd name="connsiteY5" fmla="*/ 6027 h 1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31" h="11178">
                    <a:moveTo>
                      <a:pt x="0" y="6027"/>
                    </a:moveTo>
                    <a:cubicBezTo>
                      <a:pt x="0" y="6027"/>
                      <a:pt x="3472" y="10157"/>
                      <a:pt x="4641" y="10876"/>
                    </a:cubicBezTo>
                    <a:cubicBezTo>
                      <a:pt x="5809" y="11594"/>
                      <a:pt x="6061" y="10876"/>
                      <a:pt x="7010" y="10337"/>
                    </a:cubicBezTo>
                    <a:cubicBezTo>
                      <a:pt x="7957" y="9799"/>
                      <a:pt x="9930" y="10337"/>
                      <a:pt x="9930" y="10337"/>
                    </a:cubicBezTo>
                    <a:cubicBezTo>
                      <a:pt x="9930" y="10337"/>
                      <a:pt x="10247" y="2155"/>
                      <a:pt x="381" y="0"/>
                    </a:cubicBezTo>
                    <a:cubicBezTo>
                      <a:pt x="223" y="1616"/>
                      <a:pt x="158" y="4411"/>
                      <a:pt x="0" y="6027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90">
                <a:extLst>
                  <a:ext uri="{FF2B5EF4-FFF2-40B4-BE49-F238E27FC236}">
                    <a16:creationId xmlns:a16="http://schemas.microsoft.com/office/drawing/2014/main" id="{14C4EFAE-BE91-4958-8563-26B378D867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97990" y="3730335"/>
                <a:ext cx="47625" cy="896938"/>
              </a:xfrm>
              <a:custGeom>
                <a:avLst/>
                <a:gdLst>
                  <a:gd name="T0" fmla="*/ 18 w 18"/>
                  <a:gd name="T1" fmla="*/ 28 h 337"/>
                  <a:gd name="T2" fmla="*/ 13 w 18"/>
                  <a:gd name="T3" fmla="*/ 332 h 337"/>
                  <a:gd name="T4" fmla="*/ 1 w 18"/>
                  <a:gd name="T5" fmla="*/ 333 h 337"/>
                  <a:gd name="T6" fmla="*/ 18 w 18"/>
                  <a:gd name="T7" fmla="*/ 28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337">
                    <a:moveTo>
                      <a:pt x="18" y="28"/>
                    </a:moveTo>
                    <a:cubicBezTo>
                      <a:pt x="13" y="332"/>
                      <a:pt x="13" y="332"/>
                      <a:pt x="13" y="332"/>
                    </a:cubicBezTo>
                    <a:cubicBezTo>
                      <a:pt x="13" y="332"/>
                      <a:pt x="0" y="337"/>
                      <a:pt x="1" y="333"/>
                    </a:cubicBezTo>
                    <a:cubicBezTo>
                      <a:pt x="2" y="329"/>
                      <a:pt x="10" y="0"/>
                      <a:pt x="18" y="28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91">
                <a:extLst>
                  <a:ext uri="{FF2B5EF4-FFF2-40B4-BE49-F238E27FC236}">
                    <a16:creationId xmlns:a16="http://schemas.microsoft.com/office/drawing/2014/main" id="{18932B19-A792-4BA4-B5A4-F01644627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6808" y="1718973"/>
                <a:ext cx="134938" cy="168275"/>
              </a:xfrm>
              <a:custGeom>
                <a:avLst/>
                <a:gdLst>
                  <a:gd name="T0" fmla="*/ 0 w 51"/>
                  <a:gd name="T1" fmla="*/ 0 h 63"/>
                  <a:gd name="T2" fmla="*/ 43 w 51"/>
                  <a:gd name="T3" fmla="*/ 45 h 63"/>
                  <a:gd name="T4" fmla="*/ 51 w 51"/>
                  <a:gd name="T5" fmla="*/ 18 h 63"/>
                  <a:gd name="T6" fmla="*/ 46 w 51"/>
                  <a:gd name="T7" fmla="*/ 59 h 63"/>
                  <a:gd name="T8" fmla="*/ 0 w 51"/>
                  <a:gd name="T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63">
                    <a:moveTo>
                      <a:pt x="0" y="0"/>
                    </a:moveTo>
                    <a:cubicBezTo>
                      <a:pt x="0" y="0"/>
                      <a:pt x="35" y="27"/>
                      <a:pt x="43" y="45"/>
                    </a:cubicBezTo>
                    <a:cubicBezTo>
                      <a:pt x="43" y="45"/>
                      <a:pt x="49" y="16"/>
                      <a:pt x="51" y="18"/>
                    </a:cubicBezTo>
                    <a:cubicBezTo>
                      <a:pt x="51" y="18"/>
                      <a:pt x="50" y="54"/>
                      <a:pt x="46" y="59"/>
                    </a:cubicBezTo>
                    <a:cubicBezTo>
                      <a:pt x="43" y="63"/>
                      <a:pt x="51" y="56"/>
                      <a:pt x="0" y="0"/>
                    </a:cubicBezTo>
                    <a:close/>
                  </a:path>
                </a:pathLst>
              </a:custGeom>
              <a:solidFill>
                <a:srgbClr val="C3D3DB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92">
                <a:extLst>
                  <a:ext uri="{FF2B5EF4-FFF2-40B4-BE49-F238E27FC236}">
                    <a16:creationId xmlns:a16="http://schemas.microsoft.com/office/drawing/2014/main" id="{D52AB1C4-0BED-4572-9A0C-1DDF42FBC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74315" y="3800185"/>
                <a:ext cx="1065213" cy="249238"/>
              </a:xfrm>
              <a:custGeom>
                <a:avLst/>
                <a:gdLst>
                  <a:gd name="T0" fmla="*/ 5 w 401"/>
                  <a:gd name="T1" fmla="*/ 94 h 94"/>
                  <a:gd name="T2" fmla="*/ 21 w 401"/>
                  <a:gd name="T3" fmla="*/ 53 h 94"/>
                  <a:gd name="T4" fmla="*/ 369 w 401"/>
                  <a:gd name="T5" fmla="*/ 15 h 94"/>
                  <a:gd name="T6" fmla="*/ 387 w 401"/>
                  <a:gd name="T7" fmla="*/ 47 h 94"/>
                  <a:gd name="T8" fmla="*/ 356 w 401"/>
                  <a:gd name="T9" fmla="*/ 3 h 94"/>
                  <a:gd name="T10" fmla="*/ 11 w 401"/>
                  <a:gd name="T11" fmla="*/ 44 h 94"/>
                  <a:gd name="T12" fmla="*/ 5 w 401"/>
                  <a:gd name="T13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1" h="94">
                    <a:moveTo>
                      <a:pt x="5" y="94"/>
                    </a:moveTo>
                    <a:cubicBezTo>
                      <a:pt x="5" y="94"/>
                      <a:pt x="3" y="55"/>
                      <a:pt x="21" y="53"/>
                    </a:cubicBezTo>
                    <a:cubicBezTo>
                      <a:pt x="39" y="51"/>
                      <a:pt x="359" y="8"/>
                      <a:pt x="369" y="15"/>
                    </a:cubicBezTo>
                    <a:cubicBezTo>
                      <a:pt x="369" y="15"/>
                      <a:pt x="387" y="14"/>
                      <a:pt x="387" y="47"/>
                    </a:cubicBezTo>
                    <a:cubicBezTo>
                      <a:pt x="387" y="47"/>
                      <a:pt x="401" y="0"/>
                      <a:pt x="356" y="3"/>
                    </a:cubicBezTo>
                    <a:cubicBezTo>
                      <a:pt x="311" y="6"/>
                      <a:pt x="112" y="22"/>
                      <a:pt x="11" y="44"/>
                    </a:cubicBezTo>
                    <a:cubicBezTo>
                      <a:pt x="11" y="44"/>
                      <a:pt x="0" y="52"/>
                      <a:pt x="5" y="94"/>
                    </a:cubicBezTo>
                    <a:close/>
                  </a:path>
                </a:pathLst>
              </a:custGeom>
              <a:solidFill>
                <a:srgbClr val="462F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93">
                <a:extLst>
                  <a:ext uri="{FF2B5EF4-FFF2-40B4-BE49-F238E27FC236}">
                    <a16:creationId xmlns:a16="http://schemas.microsoft.com/office/drawing/2014/main" id="{4FD3F198-275F-409A-A3F1-F30452C1C1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29877" y="4443122"/>
                <a:ext cx="1047750" cy="149225"/>
              </a:xfrm>
              <a:custGeom>
                <a:avLst/>
                <a:gdLst>
                  <a:gd name="T0" fmla="*/ 4 w 394"/>
                  <a:gd name="T1" fmla="*/ 7 h 56"/>
                  <a:gd name="T2" fmla="*/ 29 w 394"/>
                  <a:gd name="T3" fmla="*/ 54 h 56"/>
                  <a:gd name="T4" fmla="*/ 394 w 394"/>
                  <a:gd name="T5" fmla="*/ 13 h 56"/>
                  <a:gd name="T6" fmla="*/ 41 w 394"/>
                  <a:gd name="T7" fmla="*/ 43 h 56"/>
                  <a:gd name="T8" fmla="*/ 4 w 394"/>
                  <a:gd name="T9" fmla="*/ 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4" h="56">
                    <a:moveTo>
                      <a:pt x="4" y="7"/>
                    </a:moveTo>
                    <a:cubicBezTo>
                      <a:pt x="4" y="7"/>
                      <a:pt x="0" y="56"/>
                      <a:pt x="29" y="54"/>
                    </a:cubicBezTo>
                    <a:cubicBezTo>
                      <a:pt x="58" y="52"/>
                      <a:pt x="166" y="36"/>
                      <a:pt x="394" y="13"/>
                    </a:cubicBezTo>
                    <a:cubicBezTo>
                      <a:pt x="394" y="13"/>
                      <a:pt x="384" y="0"/>
                      <a:pt x="41" y="43"/>
                    </a:cubicBezTo>
                    <a:cubicBezTo>
                      <a:pt x="41" y="43"/>
                      <a:pt x="7" y="52"/>
                      <a:pt x="4" y="7"/>
                    </a:cubicBezTo>
                    <a:close/>
                  </a:path>
                </a:pathLst>
              </a:custGeom>
              <a:solidFill>
                <a:srgbClr val="462F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94">
                <a:extLst>
                  <a:ext uri="{FF2B5EF4-FFF2-40B4-BE49-F238E27FC236}">
                    <a16:creationId xmlns:a16="http://schemas.microsoft.com/office/drawing/2014/main" id="{F76C4657-4787-4DF5-8CBC-20A0D3DCA3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01277" y="5340060"/>
                <a:ext cx="323850" cy="214313"/>
              </a:xfrm>
              <a:custGeom>
                <a:avLst/>
                <a:gdLst>
                  <a:gd name="T0" fmla="*/ 0 w 122"/>
                  <a:gd name="T1" fmla="*/ 79 h 81"/>
                  <a:gd name="T2" fmla="*/ 31 w 122"/>
                  <a:gd name="T3" fmla="*/ 70 h 81"/>
                  <a:gd name="T4" fmla="*/ 88 w 122"/>
                  <a:gd name="T5" fmla="*/ 23 h 81"/>
                  <a:gd name="T6" fmla="*/ 122 w 122"/>
                  <a:gd name="T7" fmla="*/ 2 h 81"/>
                  <a:gd name="T8" fmla="*/ 33 w 122"/>
                  <a:gd name="T9" fmla="*/ 81 h 81"/>
                  <a:gd name="T10" fmla="*/ 0 w 122"/>
                  <a:gd name="T11" fmla="*/ 7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" h="81">
                    <a:moveTo>
                      <a:pt x="0" y="79"/>
                    </a:moveTo>
                    <a:cubicBezTo>
                      <a:pt x="0" y="79"/>
                      <a:pt x="20" y="76"/>
                      <a:pt x="31" y="70"/>
                    </a:cubicBezTo>
                    <a:cubicBezTo>
                      <a:pt x="42" y="64"/>
                      <a:pt x="72" y="38"/>
                      <a:pt x="88" y="23"/>
                    </a:cubicBezTo>
                    <a:cubicBezTo>
                      <a:pt x="104" y="8"/>
                      <a:pt x="113" y="0"/>
                      <a:pt x="122" y="2"/>
                    </a:cubicBezTo>
                    <a:cubicBezTo>
                      <a:pt x="122" y="2"/>
                      <a:pt x="76" y="57"/>
                      <a:pt x="33" y="81"/>
                    </a:cubicBezTo>
                    <a:lnTo>
                      <a:pt x="0" y="79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95">
                <a:extLst>
                  <a:ext uri="{FF2B5EF4-FFF2-40B4-BE49-F238E27FC236}">
                    <a16:creationId xmlns:a16="http://schemas.microsoft.com/office/drawing/2014/main" id="{53C31DEB-9DDD-477F-8DD4-B6201D44BB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8940" y="4624097"/>
                <a:ext cx="58738" cy="334963"/>
              </a:xfrm>
              <a:custGeom>
                <a:avLst/>
                <a:gdLst>
                  <a:gd name="T0" fmla="*/ 22 w 22"/>
                  <a:gd name="T1" fmla="*/ 5 h 126"/>
                  <a:gd name="T2" fmla="*/ 8 w 22"/>
                  <a:gd name="T3" fmla="*/ 97 h 126"/>
                  <a:gd name="T4" fmla="*/ 22 w 22"/>
                  <a:gd name="T5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126">
                    <a:moveTo>
                      <a:pt x="22" y="5"/>
                    </a:moveTo>
                    <a:cubicBezTo>
                      <a:pt x="22" y="5"/>
                      <a:pt x="10" y="68"/>
                      <a:pt x="8" y="97"/>
                    </a:cubicBezTo>
                    <a:cubicBezTo>
                      <a:pt x="6" y="126"/>
                      <a:pt x="0" y="0"/>
                      <a:pt x="22" y="5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96">
                <a:extLst>
                  <a:ext uri="{FF2B5EF4-FFF2-40B4-BE49-F238E27FC236}">
                    <a16:creationId xmlns:a16="http://schemas.microsoft.com/office/drawing/2014/main" id="{98D73670-5253-4EAF-8225-0F52D60BBE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56877" y="4589172"/>
                <a:ext cx="176213" cy="865188"/>
              </a:xfrm>
              <a:custGeom>
                <a:avLst/>
                <a:gdLst>
                  <a:gd name="T0" fmla="*/ 0 w 66"/>
                  <a:gd name="T1" fmla="*/ 325 h 325"/>
                  <a:gd name="T2" fmla="*/ 33 w 66"/>
                  <a:gd name="T3" fmla="*/ 279 h 325"/>
                  <a:gd name="T4" fmla="*/ 42 w 66"/>
                  <a:gd name="T5" fmla="*/ 233 h 325"/>
                  <a:gd name="T6" fmla="*/ 63 w 66"/>
                  <a:gd name="T7" fmla="*/ 126 h 325"/>
                  <a:gd name="T8" fmla="*/ 56 w 66"/>
                  <a:gd name="T9" fmla="*/ 14 h 325"/>
                  <a:gd name="T10" fmla="*/ 22 w 66"/>
                  <a:gd name="T11" fmla="*/ 98 h 325"/>
                  <a:gd name="T12" fmla="*/ 21 w 66"/>
                  <a:gd name="T13" fmla="*/ 221 h 325"/>
                  <a:gd name="T14" fmla="*/ 0 w 66"/>
                  <a:gd name="T15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325">
                    <a:moveTo>
                      <a:pt x="0" y="325"/>
                    </a:moveTo>
                    <a:cubicBezTo>
                      <a:pt x="0" y="325"/>
                      <a:pt x="34" y="296"/>
                      <a:pt x="33" y="279"/>
                    </a:cubicBezTo>
                    <a:cubicBezTo>
                      <a:pt x="33" y="279"/>
                      <a:pt x="42" y="255"/>
                      <a:pt x="42" y="233"/>
                    </a:cubicBezTo>
                    <a:cubicBezTo>
                      <a:pt x="42" y="211"/>
                      <a:pt x="60" y="159"/>
                      <a:pt x="63" y="126"/>
                    </a:cubicBezTo>
                    <a:cubicBezTo>
                      <a:pt x="66" y="93"/>
                      <a:pt x="66" y="18"/>
                      <a:pt x="56" y="14"/>
                    </a:cubicBezTo>
                    <a:cubicBezTo>
                      <a:pt x="56" y="14"/>
                      <a:pt x="36" y="0"/>
                      <a:pt x="22" y="98"/>
                    </a:cubicBezTo>
                    <a:cubicBezTo>
                      <a:pt x="22" y="98"/>
                      <a:pt x="23" y="212"/>
                      <a:pt x="21" y="221"/>
                    </a:cubicBezTo>
                    <a:cubicBezTo>
                      <a:pt x="19" y="230"/>
                      <a:pt x="22" y="269"/>
                      <a:pt x="0" y="325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97">
                <a:extLst>
                  <a:ext uri="{FF2B5EF4-FFF2-40B4-BE49-F238E27FC236}">
                    <a16:creationId xmlns:a16="http://schemas.microsoft.com/office/drawing/2014/main" id="{39B5024E-2AA8-44D3-993A-A361CAE960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23552" y="5336885"/>
                <a:ext cx="161925" cy="346075"/>
              </a:xfrm>
              <a:custGeom>
                <a:avLst/>
                <a:gdLst>
                  <a:gd name="T0" fmla="*/ 61 w 61"/>
                  <a:gd name="T1" fmla="*/ 17 h 130"/>
                  <a:gd name="T2" fmla="*/ 53 w 61"/>
                  <a:gd name="T3" fmla="*/ 3 h 130"/>
                  <a:gd name="T4" fmla="*/ 33 w 61"/>
                  <a:gd name="T5" fmla="*/ 60 h 130"/>
                  <a:gd name="T6" fmla="*/ 6 w 61"/>
                  <a:gd name="T7" fmla="*/ 122 h 130"/>
                  <a:gd name="T8" fmla="*/ 27 w 61"/>
                  <a:gd name="T9" fmla="*/ 108 h 130"/>
                  <a:gd name="T10" fmla="*/ 61 w 61"/>
                  <a:gd name="T11" fmla="*/ 17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130">
                    <a:moveTo>
                      <a:pt x="61" y="17"/>
                    </a:moveTo>
                    <a:cubicBezTo>
                      <a:pt x="61" y="17"/>
                      <a:pt x="53" y="6"/>
                      <a:pt x="53" y="3"/>
                    </a:cubicBezTo>
                    <a:cubicBezTo>
                      <a:pt x="53" y="0"/>
                      <a:pt x="38" y="36"/>
                      <a:pt x="33" y="60"/>
                    </a:cubicBezTo>
                    <a:cubicBezTo>
                      <a:pt x="28" y="84"/>
                      <a:pt x="12" y="122"/>
                      <a:pt x="6" y="122"/>
                    </a:cubicBezTo>
                    <a:cubicBezTo>
                      <a:pt x="0" y="122"/>
                      <a:pt x="20" y="130"/>
                      <a:pt x="27" y="108"/>
                    </a:cubicBezTo>
                    <a:cubicBezTo>
                      <a:pt x="34" y="86"/>
                      <a:pt x="61" y="17"/>
                      <a:pt x="61" y="1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98">
                <a:extLst>
                  <a:ext uri="{FF2B5EF4-FFF2-40B4-BE49-F238E27FC236}">
                    <a16:creationId xmlns:a16="http://schemas.microsoft.com/office/drawing/2014/main" id="{0CAF533A-AFFF-4101-A7AC-5DFDCA2167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94940" y="4454235"/>
                <a:ext cx="280988" cy="247650"/>
              </a:xfrm>
              <a:custGeom>
                <a:avLst/>
                <a:gdLst>
                  <a:gd name="T0" fmla="*/ 18 w 106"/>
                  <a:gd name="T1" fmla="*/ 0 h 93"/>
                  <a:gd name="T2" fmla="*/ 35 w 106"/>
                  <a:gd name="T3" fmla="*/ 65 h 93"/>
                  <a:gd name="T4" fmla="*/ 104 w 106"/>
                  <a:gd name="T5" fmla="*/ 68 h 93"/>
                  <a:gd name="T6" fmla="*/ 53 w 106"/>
                  <a:gd name="T7" fmla="*/ 83 h 93"/>
                  <a:gd name="T8" fmla="*/ 18 w 106"/>
                  <a:gd name="T9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93">
                    <a:moveTo>
                      <a:pt x="18" y="0"/>
                    </a:moveTo>
                    <a:cubicBezTo>
                      <a:pt x="18" y="0"/>
                      <a:pt x="17" y="57"/>
                      <a:pt x="35" y="65"/>
                    </a:cubicBezTo>
                    <a:cubicBezTo>
                      <a:pt x="53" y="73"/>
                      <a:pt x="104" y="68"/>
                      <a:pt x="104" y="68"/>
                    </a:cubicBezTo>
                    <a:cubicBezTo>
                      <a:pt x="104" y="68"/>
                      <a:pt x="106" y="93"/>
                      <a:pt x="53" y="83"/>
                    </a:cubicBezTo>
                    <a:cubicBezTo>
                      <a:pt x="0" y="73"/>
                      <a:pt x="19" y="13"/>
                      <a:pt x="18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99">
                <a:extLst>
                  <a:ext uri="{FF2B5EF4-FFF2-40B4-BE49-F238E27FC236}">
                    <a16:creationId xmlns:a16="http://schemas.microsoft.com/office/drawing/2014/main" id="{27C09EA2-AC41-416C-81A3-D239BD62B2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1509" y="3528722"/>
                <a:ext cx="201613" cy="66675"/>
              </a:xfrm>
              <a:custGeom>
                <a:avLst/>
                <a:gdLst>
                  <a:gd name="T0" fmla="*/ 1 w 76"/>
                  <a:gd name="T1" fmla="*/ 18 h 25"/>
                  <a:gd name="T2" fmla="*/ 24 w 76"/>
                  <a:gd name="T3" fmla="*/ 12 h 25"/>
                  <a:gd name="T4" fmla="*/ 56 w 76"/>
                  <a:gd name="T5" fmla="*/ 20 h 25"/>
                  <a:gd name="T6" fmla="*/ 70 w 76"/>
                  <a:gd name="T7" fmla="*/ 25 h 25"/>
                  <a:gd name="T8" fmla="*/ 54 w 76"/>
                  <a:gd name="T9" fmla="*/ 3 h 25"/>
                  <a:gd name="T10" fmla="*/ 4 w 76"/>
                  <a:gd name="T11" fmla="*/ 2 h 25"/>
                  <a:gd name="T12" fmla="*/ 1 w 76"/>
                  <a:gd name="T13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25">
                    <a:moveTo>
                      <a:pt x="1" y="18"/>
                    </a:moveTo>
                    <a:cubicBezTo>
                      <a:pt x="1" y="18"/>
                      <a:pt x="14" y="12"/>
                      <a:pt x="24" y="12"/>
                    </a:cubicBezTo>
                    <a:cubicBezTo>
                      <a:pt x="34" y="12"/>
                      <a:pt x="50" y="17"/>
                      <a:pt x="56" y="20"/>
                    </a:cubicBezTo>
                    <a:cubicBezTo>
                      <a:pt x="62" y="23"/>
                      <a:pt x="70" y="25"/>
                      <a:pt x="70" y="25"/>
                    </a:cubicBezTo>
                    <a:cubicBezTo>
                      <a:pt x="70" y="25"/>
                      <a:pt x="76" y="5"/>
                      <a:pt x="54" y="3"/>
                    </a:cubicBezTo>
                    <a:cubicBezTo>
                      <a:pt x="32" y="1"/>
                      <a:pt x="8" y="0"/>
                      <a:pt x="4" y="2"/>
                    </a:cubicBezTo>
                    <a:cubicBezTo>
                      <a:pt x="0" y="4"/>
                      <a:pt x="1" y="18"/>
                      <a:pt x="1" y="18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100">
                <a:extLst>
                  <a:ext uri="{FF2B5EF4-FFF2-40B4-BE49-F238E27FC236}">
                    <a16:creationId xmlns:a16="http://schemas.microsoft.com/office/drawing/2014/main" id="{5BD9D437-FB98-4B58-A6A6-DBDEE78973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69602" y="3608097"/>
                <a:ext cx="212725" cy="192088"/>
              </a:xfrm>
              <a:custGeom>
                <a:avLst/>
                <a:gdLst>
                  <a:gd name="T0" fmla="*/ 8 w 80"/>
                  <a:gd name="T1" fmla="*/ 7 h 72"/>
                  <a:gd name="T2" fmla="*/ 23 w 80"/>
                  <a:gd name="T3" fmla="*/ 13 h 72"/>
                  <a:gd name="T4" fmla="*/ 43 w 80"/>
                  <a:gd name="T5" fmla="*/ 10 h 72"/>
                  <a:gd name="T6" fmla="*/ 54 w 80"/>
                  <a:gd name="T7" fmla="*/ 8 h 72"/>
                  <a:gd name="T8" fmla="*/ 68 w 80"/>
                  <a:gd name="T9" fmla="*/ 13 h 72"/>
                  <a:gd name="T10" fmla="*/ 78 w 80"/>
                  <a:gd name="T11" fmla="*/ 9 h 72"/>
                  <a:gd name="T12" fmla="*/ 75 w 80"/>
                  <a:gd name="T13" fmla="*/ 35 h 72"/>
                  <a:gd name="T14" fmla="*/ 65 w 80"/>
                  <a:gd name="T15" fmla="*/ 38 h 72"/>
                  <a:gd name="T16" fmla="*/ 47 w 80"/>
                  <a:gd name="T17" fmla="*/ 37 h 72"/>
                  <a:gd name="T18" fmla="*/ 31 w 80"/>
                  <a:gd name="T19" fmla="*/ 36 h 72"/>
                  <a:gd name="T20" fmla="*/ 8 w 80"/>
                  <a:gd name="T21" fmla="*/ 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72">
                    <a:moveTo>
                      <a:pt x="8" y="7"/>
                    </a:moveTo>
                    <a:cubicBezTo>
                      <a:pt x="8" y="7"/>
                      <a:pt x="19" y="18"/>
                      <a:pt x="23" y="13"/>
                    </a:cubicBezTo>
                    <a:cubicBezTo>
                      <a:pt x="27" y="8"/>
                      <a:pt x="41" y="0"/>
                      <a:pt x="43" y="10"/>
                    </a:cubicBezTo>
                    <a:cubicBezTo>
                      <a:pt x="45" y="20"/>
                      <a:pt x="54" y="14"/>
                      <a:pt x="54" y="8"/>
                    </a:cubicBezTo>
                    <a:cubicBezTo>
                      <a:pt x="54" y="2"/>
                      <a:pt x="68" y="2"/>
                      <a:pt x="68" y="13"/>
                    </a:cubicBezTo>
                    <a:cubicBezTo>
                      <a:pt x="68" y="24"/>
                      <a:pt x="76" y="18"/>
                      <a:pt x="78" y="9"/>
                    </a:cubicBezTo>
                    <a:cubicBezTo>
                      <a:pt x="78" y="9"/>
                      <a:pt x="80" y="33"/>
                      <a:pt x="75" y="35"/>
                    </a:cubicBezTo>
                    <a:cubicBezTo>
                      <a:pt x="75" y="35"/>
                      <a:pt x="68" y="31"/>
                      <a:pt x="65" y="38"/>
                    </a:cubicBezTo>
                    <a:cubicBezTo>
                      <a:pt x="62" y="45"/>
                      <a:pt x="58" y="44"/>
                      <a:pt x="47" y="37"/>
                    </a:cubicBezTo>
                    <a:cubicBezTo>
                      <a:pt x="47" y="37"/>
                      <a:pt x="38" y="52"/>
                      <a:pt x="31" y="36"/>
                    </a:cubicBezTo>
                    <a:cubicBezTo>
                      <a:pt x="31" y="36"/>
                      <a:pt x="0" y="72"/>
                      <a:pt x="8" y="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101">
                <a:extLst>
                  <a:ext uri="{FF2B5EF4-FFF2-40B4-BE49-F238E27FC236}">
                    <a16:creationId xmlns:a16="http://schemas.microsoft.com/office/drawing/2014/main" id="{42373DCE-F23D-4DD6-B922-4504C32A4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40965" y="1766597"/>
                <a:ext cx="180975" cy="134938"/>
              </a:xfrm>
              <a:custGeom>
                <a:avLst/>
                <a:gdLst>
                  <a:gd name="T0" fmla="*/ 0 w 68"/>
                  <a:gd name="T1" fmla="*/ 44 h 51"/>
                  <a:gd name="T2" fmla="*/ 68 w 68"/>
                  <a:gd name="T3" fmla="*/ 0 h 51"/>
                  <a:gd name="T4" fmla="*/ 18 w 68"/>
                  <a:gd name="T5" fmla="*/ 51 h 51"/>
                  <a:gd name="T6" fmla="*/ 0 w 68"/>
                  <a:gd name="T7" fmla="*/ 4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51">
                    <a:moveTo>
                      <a:pt x="0" y="44"/>
                    </a:moveTo>
                    <a:cubicBezTo>
                      <a:pt x="0" y="44"/>
                      <a:pt x="24" y="46"/>
                      <a:pt x="68" y="0"/>
                    </a:cubicBezTo>
                    <a:cubicBezTo>
                      <a:pt x="68" y="0"/>
                      <a:pt x="54" y="36"/>
                      <a:pt x="18" y="51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102">
                <a:extLst>
                  <a:ext uri="{FF2B5EF4-FFF2-40B4-BE49-F238E27FC236}">
                    <a16:creationId xmlns:a16="http://schemas.microsoft.com/office/drawing/2014/main" id="{22AD4671-72C1-4854-9CAD-3D54214777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69225" y="1300237"/>
                <a:ext cx="241578" cy="210027"/>
              </a:xfrm>
              <a:custGeom>
                <a:avLst/>
                <a:gdLst>
                  <a:gd name="T0" fmla="*/ 56 w 120"/>
                  <a:gd name="T1" fmla="*/ 18 h 120"/>
                  <a:gd name="T2" fmla="*/ 80 w 120"/>
                  <a:gd name="T3" fmla="*/ 60 h 120"/>
                  <a:gd name="T4" fmla="*/ 102 w 120"/>
                  <a:gd name="T5" fmla="*/ 60 h 120"/>
                  <a:gd name="T6" fmla="*/ 117 w 120"/>
                  <a:gd name="T7" fmla="*/ 92 h 120"/>
                  <a:gd name="T8" fmla="*/ 90 w 120"/>
                  <a:gd name="T9" fmla="*/ 105 h 120"/>
                  <a:gd name="T10" fmla="*/ 46 w 120"/>
                  <a:gd name="T11" fmla="*/ 105 h 120"/>
                  <a:gd name="T12" fmla="*/ 8 w 120"/>
                  <a:gd name="T13" fmla="*/ 98 h 120"/>
                  <a:gd name="T14" fmla="*/ 16 w 120"/>
                  <a:gd name="T15" fmla="*/ 54 h 120"/>
                  <a:gd name="T16" fmla="*/ 40 w 120"/>
                  <a:gd name="T17" fmla="*/ 28 h 120"/>
                  <a:gd name="T18" fmla="*/ 56 w 120"/>
                  <a:gd name="T19" fmla="*/ 18 h 120"/>
                  <a:gd name="connsiteX0" fmla="*/ 3942 w 9043"/>
                  <a:gd name="connsiteY0" fmla="*/ 593 h 8211"/>
                  <a:gd name="connsiteX1" fmla="*/ 5942 w 9043"/>
                  <a:gd name="connsiteY1" fmla="*/ 4093 h 8211"/>
                  <a:gd name="connsiteX2" fmla="*/ 7775 w 9043"/>
                  <a:gd name="connsiteY2" fmla="*/ 4093 h 8211"/>
                  <a:gd name="connsiteX3" fmla="*/ 9025 w 9043"/>
                  <a:gd name="connsiteY3" fmla="*/ 6760 h 8211"/>
                  <a:gd name="connsiteX4" fmla="*/ 6775 w 9043"/>
                  <a:gd name="connsiteY4" fmla="*/ 7843 h 8211"/>
                  <a:gd name="connsiteX5" fmla="*/ 3108 w 9043"/>
                  <a:gd name="connsiteY5" fmla="*/ 7843 h 8211"/>
                  <a:gd name="connsiteX6" fmla="*/ 838 w 9043"/>
                  <a:gd name="connsiteY6" fmla="*/ 6066 h 8211"/>
                  <a:gd name="connsiteX7" fmla="*/ 608 w 9043"/>
                  <a:gd name="connsiteY7" fmla="*/ 3593 h 8211"/>
                  <a:gd name="connsiteX8" fmla="*/ 2608 w 9043"/>
                  <a:gd name="connsiteY8" fmla="*/ 1426 h 8211"/>
                  <a:gd name="connsiteX9" fmla="*/ 3942 w 9043"/>
                  <a:gd name="connsiteY9" fmla="*/ 593 h 8211"/>
                  <a:gd name="connsiteX0" fmla="*/ 4443 w 10084"/>
                  <a:gd name="connsiteY0" fmla="*/ 722 h 9555"/>
                  <a:gd name="connsiteX1" fmla="*/ 6655 w 10084"/>
                  <a:gd name="connsiteY1" fmla="*/ 4985 h 9555"/>
                  <a:gd name="connsiteX2" fmla="*/ 8682 w 10084"/>
                  <a:gd name="connsiteY2" fmla="*/ 4985 h 9555"/>
                  <a:gd name="connsiteX3" fmla="*/ 10064 w 10084"/>
                  <a:gd name="connsiteY3" fmla="*/ 8233 h 9555"/>
                  <a:gd name="connsiteX4" fmla="*/ 7576 w 10084"/>
                  <a:gd name="connsiteY4" fmla="*/ 9552 h 9555"/>
                  <a:gd name="connsiteX5" fmla="*/ 5061 w 10084"/>
                  <a:gd name="connsiteY5" fmla="*/ 7734 h 9555"/>
                  <a:gd name="connsiteX6" fmla="*/ 1011 w 10084"/>
                  <a:gd name="connsiteY6" fmla="*/ 7388 h 9555"/>
                  <a:gd name="connsiteX7" fmla="*/ 756 w 10084"/>
                  <a:gd name="connsiteY7" fmla="*/ 4376 h 9555"/>
                  <a:gd name="connsiteX8" fmla="*/ 2968 w 10084"/>
                  <a:gd name="connsiteY8" fmla="*/ 1737 h 9555"/>
                  <a:gd name="connsiteX9" fmla="*/ 4443 w 10084"/>
                  <a:gd name="connsiteY9" fmla="*/ 722 h 9555"/>
                  <a:gd name="connsiteX0" fmla="*/ 4147 w 9741"/>
                  <a:gd name="connsiteY0" fmla="*/ 756 h 10000"/>
                  <a:gd name="connsiteX1" fmla="*/ 6341 w 9741"/>
                  <a:gd name="connsiteY1" fmla="*/ 5217 h 10000"/>
                  <a:gd name="connsiteX2" fmla="*/ 8351 w 9741"/>
                  <a:gd name="connsiteY2" fmla="*/ 5217 h 10000"/>
                  <a:gd name="connsiteX3" fmla="*/ 9721 w 9741"/>
                  <a:gd name="connsiteY3" fmla="*/ 8616 h 10000"/>
                  <a:gd name="connsiteX4" fmla="*/ 7254 w 9741"/>
                  <a:gd name="connsiteY4" fmla="*/ 9997 h 10000"/>
                  <a:gd name="connsiteX5" fmla="*/ 4760 w 9741"/>
                  <a:gd name="connsiteY5" fmla="*/ 8094 h 10000"/>
                  <a:gd name="connsiteX6" fmla="*/ 1944 w 9741"/>
                  <a:gd name="connsiteY6" fmla="*/ 6337 h 10000"/>
                  <a:gd name="connsiteX7" fmla="*/ 491 w 9741"/>
                  <a:gd name="connsiteY7" fmla="*/ 4580 h 10000"/>
                  <a:gd name="connsiteX8" fmla="*/ 2684 w 9741"/>
                  <a:gd name="connsiteY8" fmla="*/ 1818 h 10000"/>
                  <a:gd name="connsiteX9" fmla="*/ 4147 w 9741"/>
                  <a:gd name="connsiteY9" fmla="*/ 756 h 10000"/>
                  <a:gd name="connsiteX0" fmla="*/ 4226 w 9969"/>
                  <a:gd name="connsiteY0" fmla="*/ 756 h 10000"/>
                  <a:gd name="connsiteX1" fmla="*/ 6479 w 9969"/>
                  <a:gd name="connsiteY1" fmla="*/ 5217 h 10000"/>
                  <a:gd name="connsiteX2" fmla="*/ 8542 w 9969"/>
                  <a:gd name="connsiteY2" fmla="*/ 5217 h 10000"/>
                  <a:gd name="connsiteX3" fmla="*/ 9948 w 9969"/>
                  <a:gd name="connsiteY3" fmla="*/ 8616 h 10000"/>
                  <a:gd name="connsiteX4" fmla="*/ 7416 w 9969"/>
                  <a:gd name="connsiteY4" fmla="*/ 9997 h 10000"/>
                  <a:gd name="connsiteX5" fmla="*/ 4856 w 9969"/>
                  <a:gd name="connsiteY5" fmla="*/ 8094 h 10000"/>
                  <a:gd name="connsiteX6" fmla="*/ 2189 w 9969"/>
                  <a:gd name="connsiteY6" fmla="*/ 6971 h 10000"/>
                  <a:gd name="connsiteX7" fmla="*/ 473 w 9969"/>
                  <a:gd name="connsiteY7" fmla="*/ 4580 h 10000"/>
                  <a:gd name="connsiteX8" fmla="*/ 2724 w 9969"/>
                  <a:gd name="connsiteY8" fmla="*/ 1818 h 10000"/>
                  <a:gd name="connsiteX9" fmla="*/ 4226 w 9969"/>
                  <a:gd name="connsiteY9" fmla="*/ 756 h 10000"/>
                  <a:gd name="connsiteX0" fmla="*/ 4281 w 10042"/>
                  <a:gd name="connsiteY0" fmla="*/ 756 h 10000"/>
                  <a:gd name="connsiteX1" fmla="*/ 6541 w 10042"/>
                  <a:gd name="connsiteY1" fmla="*/ 5217 h 10000"/>
                  <a:gd name="connsiteX2" fmla="*/ 8611 w 10042"/>
                  <a:gd name="connsiteY2" fmla="*/ 5217 h 10000"/>
                  <a:gd name="connsiteX3" fmla="*/ 10021 w 10042"/>
                  <a:gd name="connsiteY3" fmla="*/ 8616 h 10000"/>
                  <a:gd name="connsiteX4" fmla="*/ 7481 w 10042"/>
                  <a:gd name="connsiteY4" fmla="*/ 9997 h 10000"/>
                  <a:gd name="connsiteX5" fmla="*/ 4913 w 10042"/>
                  <a:gd name="connsiteY5" fmla="*/ 8094 h 10000"/>
                  <a:gd name="connsiteX6" fmla="*/ 2238 w 10042"/>
                  <a:gd name="connsiteY6" fmla="*/ 6971 h 10000"/>
                  <a:gd name="connsiteX7" fmla="*/ 516 w 10042"/>
                  <a:gd name="connsiteY7" fmla="*/ 4580 h 10000"/>
                  <a:gd name="connsiteX8" fmla="*/ 2774 w 10042"/>
                  <a:gd name="connsiteY8" fmla="*/ 1818 h 10000"/>
                  <a:gd name="connsiteX9" fmla="*/ 4281 w 10042"/>
                  <a:gd name="connsiteY9" fmla="*/ 756 h 10000"/>
                  <a:gd name="connsiteX0" fmla="*/ 3942 w 9703"/>
                  <a:gd name="connsiteY0" fmla="*/ 756 h 10000"/>
                  <a:gd name="connsiteX1" fmla="*/ 6202 w 9703"/>
                  <a:gd name="connsiteY1" fmla="*/ 5217 h 10000"/>
                  <a:gd name="connsiteX2" fmla="*/ 8272 w 9703"/>
                  <a:gd name="connsiteY2" fmla="*/ 5217 h 10000"/>
                  <a:gd name="connsiteX3" fmla="*/ 9682 w 9703"/>
                  <a:gd name="connsiteY3" fmla="*/ 8616 h 10000"/>
                  <a:gd name="connsiteX4" fmla="*/ 7142 w 9703"/>
                  <a:gd name="connsiteY4" fmla="*/ 9997 h 10000"/>
                  <a:gd name="connsiteX5" fmla="*/ 4574 w 9703"/>
                  <a:gd name="connsiteY5" fmla="*/ 8094 h 10000"/>
                  <a:gd name="connsiteX6" fmla="*/ 1899 w 9703"/>
                  <a:gd name="connsiteY6" fmla="*/ 6971 h 10000"/>
                  <a:gd name="connsiteX7" fmla="*/ 514 w 9703"/>
                  <a:gd name="connsiteY7" fmla="*/ 3692 h 10000"/>
                  <a:gd name="connsiteX8" fmla="*/ 2435 w 9703"/>
                  <a:gd name="connsiteY8" fmla="*/ 1818 h 10000"/>
                  <a:gd name="connsiteX9" fmla="*/ 3942 w 9703"/>
                  <a:gd name="connsiteY9" fmla="*/ 756 h 10000"/>
                  <a:gd name="connsiteX0" fmla="*/ 3533 w 9470"/>
                  <a:gd name="connsiteY0" fmla="*/ 756 h 10000"/>
                  <a:gd name="connsiteX1" fmla="*/ 5862 w 9470"/>
                  <a:gd name="connsiteY1" fmla="*/ 5217 h 10000"/>
                  <a:gd name="connsiteX2" fmla="*/ 7995 w 9470"/>
                  <a:gd name="connsiteY2" fmla="*/ 5217 h 10000"/>
                  <a:gd name="connsiteX3" fmla="*/ 9448 w 9470"/>
                  <a:gd name="connsiteY3" fmla="*/ 8616 h 10000"/>
                  <a:gd name="connsiteX4" fmla="*/ 6831 w 9470"/>
                  <a:gd name="connsiteY4" fmla="*/ 9997 h 10000"/>
                  <a:gd name="connsiteX5" fmla="*/ 4184 w 9470"/>
                  <a:gd name="connsiteY5" fmla="*/ 8094 h 10000"/>
                  <a:gd name="connsiteX6" fmla="*/ 0 w 9470"/>
                  <a:gd name="connsiteY6" fmla="*/ 3692 h 10000"/>
                  <a:gd name="connsiteX7" fmla="*/ 1980 w 9470"/>
                  <a:gd name="connsiteY7" fmla="*/ 1818 h 10000"/>
                  <a:gd name="connsiteX8" fmla="*/ 3533 w 9470"/>
                  <a:gd name="connsiteY8" fmla="*/ 756 h 10000"/>
                  <a:gd name="connsiteX0" fmla="*/ 3731 w 10000"/>
                  <a:gd name="connsiteY0" fmla="*/ 756 h 10020"/>
                  <a:gd name="connsiteX1" fmla="*/ 6190 w 10000"/>
                  <a:gd name="connsiteY1" fmla="*/ 5217 h 10020"/>
                  <a:gd name="connsiteX2" fmla="*/ 8442 w 10000"/>
                  <a:gd name="connsiteY2" fmla="*/ 5217 h 10020"/>
                  <a:gd name="connsiteX3" fmla="*/ 9977 w 10000"/>
                  <a:gd name="connsiteY3" fmla="*/ 8616 h 10020"/>
                  <a:gd name="connsiteX4" fmla="*/ 7213 w 10000"/>
                  <a:gd name="connsiteY4" fmla="*/ 9997 h 10020"/>
                  <a:gd name="connsiteX5" fmla="*/ 3317 w 10000"/>
                  <a:gd name="connsiteY5" fmla="*/ 7206 h 10020"/>
                  <a:gd name="connsiteX6" fmla="*/ 0 w 10000"/>
                  <a:gd name="connsiteY6" fmla="*/ 3692 h 10020"/>
                  <a:gd name="connsiteX7" fmla="*/ 2091 w 10000"/>
                  <a:gd name="connsiteY7" fmla="*/ 1818 h 10020"/>
                  <a:gd name="connsiteX8" fmla="*/ 3731 w 10000"/>
                  <a:gd name="connsiteY8" fmla="*/ 756 h 10020"/>
                  <a:gd name="connsiteX0" fmla="*/ 3731 w 10000"/>
                  <a:gd name="connsiteY0" fmla="*/ 756 h 10020"/>
                  <a:gd name="connsiteX1" fmla="*/ 6190 w 10000"/>
                  <a:gd name="connsiteY1" fmla="*/ 5217 h 10020"/>
                  <a:gd name="connsiteX2" fmla="*/ 8442 w 10000"/>
                  <a:gd name="connsiteY2" fmla="*/ 5217 h 10020"/>
                  <a:gd name="connsiteX3" fmla="*/ 9977 w 10000"/>
                  <a:gd name="connsiteY3" fmla="*/ 8616 h 10020"/>
                  <a:gd name="connsiteX4" fmla="*/ 7213 w 10000"/>
                  <a:gd name="connsiteY4" fmla="*/ 9997 h 10020"/>
                  <a:gd name="connsiteX5" fmla="*/ 3317 w 10000"/>
                  <a:gd name="connsiteY5" fmla="*/ 7206 h 10020"/>
                  <a:gd name="connsiteX6" fmla="*/ 0 w 10000"/>
                  <a:gd name="connsiteY6" fmla="*/ 3692 h 10020"/>
                  <a:gd name="connsiteX7" fmla="*/ 2091 w 10000"/>
                  <a:gd name="connsiteY7" fmla="*/ 1818 h 10020"/>
                  <a:gd name="connsiteX8" fmla="*/ 3731 w 10000"/>
                  <a:gd name="connsiteY8" fmla="*/ 756 h 10020"/>
                  <a:gd name="connsiteX0" fmla="*/ 3731 w 10008"/>
                  <a:gd name="connsiteY0" fmla="*/ 756 h 8832"/>
                  <a:gd name="connsiteX1" fmla="*/ 6190 w 10008"/>
                  <a:gd name="connsiteY1" fmla="*/ 5217 h 8832"/>
                  <a:gd name="connsiteX2" fmla="*/ 8442 w 10008"/>
                  <a:gd name="connsiteY2" fmla="*/ 5217 h 8832"/>
                  <a:gd name="connsiteX3" fmla="*/ 9977 w 10008"/>
                  <a:gd name="connsiteY3" fmla="*/ 8616 h 8832"/>
                  <a:gd name="connsiteX4" fmla="*/ 6968 w 10008"/>
                  <a:gd name="connsiteY4" fmla="*/ 8348 h 8832"/>
                  <a:gd name="connsiteX5" fmla="*/ 3317 w 10008"/>
                  <a:gd name="connsiteY5" fmla="*/ 7206 h 8832"/>
                  <a:gd name="connsiteX6" fmla="*/ 0 w 10008"/>
                  <a:gd name="connsiteY6" fmla="*/ 3692 h 8832"/>
                  <a:gd name="connsiteX7" fmla="*/ 2091 w 10008"/>
                  <a:gd name="connsiteY7" fmla="*/ 1818 h 8832"/>
                  <a:gd name="connsiteX8" fmla="*/ 3731 w 10008"/>
                  <a:gd name="connsiteY8" fmla="*/ 756 h 8832"/>
                  <a:gd name="connsiteX0" fmla="*/ 3728 w 9297"/>
                  <a:gd name="connsiteY0" fmla="*/ 856 h 9499"/>
                  <a:gd name="connsiteX1" fmla="*/ 6185 w 9297"/>
                  <a:gd name="connsiteY1" fmla="*/ 5907 h 9499"/>
                  <a:gd name="connsiteX2" fmla="*/ 8435 w 9297"/>
                  <a:gd name="connsiteY2" fmla="*/ 5907 h 9499"/>
                  <a:gd name="connsiteX3" fmla="*/ 9236 w 9297"/>
                  <a:gd name="connsiteY3" fmla="*/ 8893 h 9499"/>
                  <a:gd name="connsiteX4" fmla="*/ 6962 w 9297"/>
                  <a:gd name="connsiteY4" fmla="*/ 9452 h 9499"/>
                  <a:gd name="connsiteX5" fmla="*/ 3314 w 9297"/>
                  <a:gd name="connsiteY5" fmla="*/ 8159 h 9499"/>
                  <a:gd name="connsiteX6" fmla="*/ 0 w 9297"/>
                  <a:gd name="connsiteY6" fmla="*/ 4180 h 9499"/>
                  <a:gd name="connsiteX7" fmla="*/ 2089 w 9297"/>
                  <a:gd name="connsiteY7" fmla="*/ 2058 h 9499"/>
                  <a:gd name="connsiteX8" fmla="*/ 3728 w 9297"/>
                  <a:gd name="connsiteY8" fmla="*/ 856 h 9499"/>
                  <a:gd name="connsiteX0" fmla="*/ 4010 w 10000"/>
                  <a:gd name="connsiteY0" fmla="*/ 901 h 10000"/>
                  <a:gd name="connsiteX1" fmla="*/ 5733 w 10000"/>
                  <a:gd name="connsiteY1" fmla="*/ 5312 h 10000"/>
                  <a:gd name="connsiteX2" fmla="*/ 9073 w 10000"/>
                  <a:gd name="connsiteY2" fmla="*/ 6219 h 10000"/>
                  <a:gd name="connsiteX3" fmla="*/ 9934 w 10000"/>
                  <a:gd name="connsiteY3" fmla="*/ 9362 h 10000"/>
                  <a:gd name="connsiteX4" fmla="*/ 7488 w 10000"/>
                  <a:gd name="connsiteY4" fmla="*/ 9951 h 10000"/>
                  <a:gd name="connsiteX5" fmla="*/ 3565 w 10000"/>
                  <a:gd name="connsiteY5" fmla="*/ 8589 h 10000"/>
                  <a:gd name="connsiteX6" fmla="*/ 0 w 10000"/>
                  <a:gd name="connsiteY6" fmla="*/ 4400 h 10000"/>
                  <a:gd name="connsiteX7" fmla="*/ 2247 w 10000"/>
                  <a:gd name="connsiteY7" fmla="*/ 2167 h 10000"/>
                  <a:gd name="connsiteX8" fmla="*/ 4010 w 10000"/>
                  <a:gd name="connsiteY8" fmla="*/ 90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0" h="10000">
                    <a:moveTo>
                      <a:pt x="4010" y="901"/>
                    </a:moveTo>
                    <a:cubicBezTo>
                      <a:pt x="4010" y="901"/>
                      <a:pt x="4630" y="4553"/>
                      <a:pt x="5733" y="5312"/>
                    </a:cubicBezTo>
                    <a:cubicBezTo>
                      <a:pt x="6722" y="5945"/>
                      <a:pt x="8412" y="5333"/>
                      <a:pt x="9073" y="6219"/>
                    </a:cubicBezTo>
                    <a:cubicBezTo>
                      <a:pt x="9625" y="6979"/>
                      <a:pt x="10199" y="8740"/>
                      <a:pt x="9934" y="9362"/>
                    </a:cubicBezTo>
                    <a:cubicBezTo>
                      <a:pt x="9670" y="9984"/>
                      <a:pt x="8550" y="10079"/>
                      <a:pt x="7488" y="9951"/>
                    </a:cubicBezTo>
                    <a:cubicBezTo>
                      <a:pt x="6427" y="9822"/>
                      <a:pt x="5546" y="7195"/>
                      <a:pt x="3565" y="8589"/>
                    </a:cubicBezTo>
                    <a:cubicBezTo>
                      <a:pt x="1222" y="7488"/>
                      <a:pt x="417" y="5648"/>
                      <a:pt x="0" y="4400"/>
                    </a:cubicBezTo>
                    <a:cubicBezTo>
                      <a:pt x="1872" y="3260"/>
                      <a:pt x="2137" y="2927"/>
                      <a:pt x="2247" y="2167"/>
                    </a:cubicBezTo>
                    <a:cubicBezTo>
                      <a:pt x="2247" y="1281"/>
                      <a:pt x="2799" y="-1378"/>
                      <a:pt x="4010" y="901"/>
                    </a:cubicBezTo>
                    <a:close/>
                  </a:path>
                </a:pathLst>
              </a:custGeom>
              <a:solidFill>
                <a:srgbClr val="998675">
                  <a:alpha val="20000"/>
                </a:srgb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103">
                <a:extLst>
                  <a:ext uri="{FF2B5EF4-FFF2-40B4-BE49-F238E27FC236}">
                    <a16:creationId xmlns:a16="http://schemas.microsoft.com/office/drawing/2014/main" id="{65F61CF2-0691-4FB6-8691-146B771B7E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0327" y="1399885"/>
                <a:ext cx="147638" cy="147638"/>
              </a:xfrm>
              <a:custGeom>
                <a:avLst/>
                <a:gdLst>
                  <a:gd name="T0" fmla="*/ 2 w 56"/>
                  <a:gd name="T1" fmla="*/ 6 h 56"/>
                  <a:gd name="T2" fmla="*/ 21 w 56"/>
                  <a:gd name="T3" fmla="*/ 34 h 56"/>
                  <a:gd name="T4" fmla="*/ 21 w 56"/>
                  <a:gd name="T5" fmla="*/ 20 h 56"/>
                  <a:gd name="T6" fmla="*/ 42 w 56"/>
                  <a:gd name="T7" fmla="*/ 49 h 56"/>
                  <a:gd name="T8" fmla="*/ 56 w 56"/>
                  <a:gd name="T9" fmla="*/ 56 h 56"/>
                  <a:gd name="T10" fmla="*/ 50 w 56"/>
                  <a:gd name="T11" fmla="*/ 29 h 56"/>
                  <a:gd name="T12" fmla="*/ 40 w 56"/>
                  <a:gd name="T13" fmla="*/ 14 h 56"/>
                  <a:gd name="T14" fmla="*/ 30 w 56"/>
                  <a:gd name="T15" fmla="*/ 15 h 56"/>
                  <a:gd name="T16" fmla="*/ 10 w 56"/>
                  <a:gd name="T17" fmla="*/ 0 h 56"/>
                  <a:gd name="T18" fmla="*/ 2 w 56"/>
                  <a:gd name="T19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" y="6"/>
                    </a:moveTo>
                    <a:cubicBezTo>
                      <a:pt x="2" y="6"/>
                      <a:pt x="0" y="30"/>
                      <a:pt x="21" y="34"/>
                    </a:cubicBezTo>
                    <a:cubicBezTo>
                      <a:pt x="21" y="34"/>
                      <a:pt x="14" y="20"/>
                      <a:pt x="21" y="20"/>
                    </a:cubicBezTo>
                    <a:cubicBezTo>
                      <a:pt x="28" y="20"/>
                      <a:pt x="30" y="27"/>
                      <a:pt x="42" y="49"/>
                    </a:cubicBezTo>
                    <a:cubicBezTo>
                      <a:pt x="42" y="49"/>
                      <a:pt x="44" y="55"/>
                      <a:pt x="56" y="56"/>
                    </a:cubicBezTo>
                    <a:cubicBezTo>
                      <a:pt x="56" y="56"/>
                      <a:pt x="40" y="36"/>
                      <a:pt x="50" y="29"/>
                    </a:cubicBezTo>
                    <a:cubicBezTo>
                      <a:pt x="50" y="29"/>
                      <a:pt x="47" y="16"/>
                      <a:pt x="40" y="14"/>
                    </a:cubicBezTo>
                    <a:cubicBezTo>
                      <a:pt x="34" y="11"/>
                      <a:pt x="36" y="18"/>
                      <a:pt x="30" y="15"/>
                    </a:cubicBezTo>
                    <a:cubicBezTo>
                      <a:pt x="24" y="12"/>
                      <a:pt x="14" y="0"/>
                      <a:pt x="10" y="0"/>
                    </a:cubicBezTo>
                    <a:cubicBezTo>
                      <a:pt x="5" y="0"/>
                      <a:pt x="3" y="2"/>
                      <a:pt x="2" y="6"/>
                    </a:cubicBezTo>
                    <a:close/>
                  </a:path>
                </a:pathLst>
              </a:custGeom>
              <a:solidFill>
                <a:srgbClr val="D2B48C">
                  <a:alpha val="20000"/>
                </a:srgb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104">
                <a:extLst>
                  <a:ext uri="{FF2B5EF4-FFF2-40B4-BE49-F238E27FC236}">
                    <a16:creationId xmlns:a16="http://schemas.microsoft.com/office/drawing/2014/main" id="{7840C962-E012-432B-9084-5A79B2AD1B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552" y="2220622"/>
                <a:ext cx="85725" cy="200025"/>
              </a:xfrm>
              <a:custGeom>
                <a:avLst/>
                <a:gdLst>
                  <a:gd name="T0" fmla="*/ 32 w 32"/>
                  <a:gd name="T1" fmla="*/ 0 h 75"/>
                  <a:gd name="T2" fmla="*/ 1 w 32"/>
                  <a:gd name="T3" fmla="*/ 59 h 75"/>
                  <a:gd name="T4" fmla="*/ 0 w 32"/>
                  <a:gd name="T5" fmla="*/ 75 h 75"/>
                  <a:gd name="T6" fmla="*/ 32 w 32"/>
                  <a:gd name="T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75">
                    <a:moveTo>
                      <a:pt x="32" y="0"/>
                    </a:moveTo>
                    <a:cubicBezTo>
                      <a:pt x="32" y="0"/>
                      <a:pt x="1" y="55"/>
                      <a:pt x="1" y="59"/>
                    </a:cubicBezTo>
                    <a:cubicBezTo>
                      <a:pt x="1" y="63"/>
                      <a:pt x="0" y="75"/>
                      <a:pt x="0" y="75"/>
                    </a:cubicBezTo>
                    <a:cubicBezTo>
                      <a:pt x="0" y="75"/>
                      <a:pt x="30" y="33"/>
                      <a:pt x="32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105">
                <a:extLst>
                  <a:ext uri="{FF2B5EF4-FFF2-40B4-BE49-F238E27FC236}">
                    <a16:creationId xmlns:a16="http://schemas.microsoft.com/office/drawing/2014/main" id="{A117E76B-6C60-4E09-967C-0AF9BC5882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94777" y="2819110"/>
                <a:ext cx="50800" cy="681038"/>
              </a:xfrm>
              <a:custGeom>
                <a:avLst/>
                <a:gdLst>
                  <a:gd name="T0" fmla="*/ 6 w 19"/>
                  <a:gd name="T1" fmla="*/ 256 h 256"/>
                  <a:gd name="T2" fmla="*/ 16 w 19"/>
                  <a:gd name="T3" fmla="*/ 70 h 256"/>
                  <a:gd name="T4" fmla="*/ 3 w 19"/>
                  <a:gd name="T5" fmla="*/ 0 h 256"/>
                  <a:gd name="T6" fmla="*/ 6 w 19"/>
                  <a:gd name="T7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56">
                    <a:moveTo>
                      <a:pt x="6" y="256"/>
                    </a:moveTo>
                    <a:cubicBezTo>
                      <a:pt x="6" y="256"/>
                      <a:pt x="13" y="95"/>
                      <a:pt x="16" y="70"/>
                    </a:cubicBezTo>
                    <a:cubicBezTo>
                      <a:pt x="19" y="45"/>
                      <a:pt x="17" y="3"/>
                      <a:pt x="3" y="0"/>
                    </a:cubicBezTo>
                    <a:cubicBezTo>
                      <a:pt x="3" y="0"/>
                      <a:pt x="0" y="227"/>
                      <a:pt x="6" y="256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106">
                <a:extLst>
                  <a:ext uri="{FF2B5EF4-FFF2-40B4-BE49-F238E27FC236}">
                    <a16:creationId xmlns:a16="http://schemas.microsoft.com/office/drawing/2014/main" id="{5B7D19A4-0DBE-4F45-BEE8-703640DC66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51827" y="2550822"/>
                <a:ext cx="123825" cy="174625"/>
              </a:xfrm>
              <a:custGeom>
                <a:avLst/>
                <a:gdLst>
                  <a:gd name="T0" fmla="*/ 0 w 46"/>
                  <a:gd name="T1" fmla="*/ 0 h 66"/>
                  <a:gd name="T2" fmla="*/ 28 w 46"/>
                  <a:gd name="T3" fmla="*/ 11 h 66"/>
                  <a:gd name="T4" fmla="*/ 33 w 46"/>
                  <a:gd name="T5" fmla="*/ 30 h 66"/>
                  <a:gd name="T6" fmla="*/ 15 w 46"/>
                  <a:gd name="T7" fmla="*/ 66 h 66"/>
                  <a:gd name="T8" fmla="*/ 0 w 46"/>
                  <a:gd name="T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0" y="0"/>
                    </a:moveTo>
                    <a:cubicBezTo>
                      <a:pt x="0" y="0"/>
                      <a:pt x="10" y="11"/>
                      <a:pt x="28" y="11"/>
                    </a:cubicBezTo>
                    <a:cubicBezTo>
                      <a:pt x="46" y="11"/>
                      <a:pt x="35" y="15"/>
                      <a:pt x="33" y="30"/>
                    </a:cubicBezTo>
                    <a:cubicBezTo>
                      <a:pt x="31" y="45"/>
                      <a:pt x="15" y="66"/>
                      <a:pt x="15" y="66"/>
                    </a:cubicBezTo>
                    <a:cubicBezTo>
                      <a:pt x="15" y="66"/>
                      <a:pt x="7" y="14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201">
                <a:extLst>
                  <a:ext uri="{FF2B5EF4-FFF2-40B4-BE49-F238E27FC236}">
                    <a16:creationId xmlns:a16="http://schemas.microsoft.com/office/drawing/2014/main" id="{D52DA5F7-752C-46EA-B8B4-B9A524E687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02708" y="3346160"/>
                <a:ext cx="608013" cy="73025"/>
              </a:xfrm>
              <a:custGeom>
                <a:avLst/>
                <a:gdLst>
                  <a:gd name="T0" fmla="*/ 228 w 230"/>
                  <a:gd name="T1" fmla="*/ 7 h 28"/>
                  <a:gd name="T2" fmla="*/ 197 w 230"/>
                  <a:gd name="T3" fmla="*/ 18 h 28"/>
                  <a:gd name="T4" fmla="*/ 153 w 230"/>
                  <a:gd name="T5" fmla="*/ 26 h 28"/>
                  <a:gd name="T6" fmla="*/ 98 w 230"/>
                  <a:gd name="T7" fmla="*/ 22 h 28"/>
                  <a:gd name="T8" fmla="*/ 0 w 230"/>
                  <a:gd name="T9" fmla="*/ 9 h 28"/>
                  <a:gd name="T10" fmla="*/ 52 w 230"/>
                  <a:gd name="T11" fmla="*/ 5 h 28"/>
                  <a:gd name="T12" fmla="*/ 81 w 230"/>
                  <a:gd name="T13" fmla="*/ 10 h 28"/>
                  <a:gd name="T14" fmla="*/ 230 w 230"/>
                  <a:gd name="T15" fmla="*/ 0 h 28"/>
                  <a:gd name="T16" fmla="*/ 228 w 230"/>
                  <a:gd name="T1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28">
                    <a:moveTo>
                      <a:pt x="228" y="7"/>
                    </a:moveTo>
                    <a:cubicBezTo>
                      <a:pt x="228" y="7"/>
                      <a:pt x="208" y="11"/>
                      <a:pt x="197" y="18"/>
                    </a:cubicBezTo>
                    <a:cubicBezTo>
                      <a:pt x="186" y="25"/>
                      <a:pt x="170" y="24"/>
                      <a:pt x="153" y="26"/>
                    </a:cubicBezTo>
                    <a:cubicBezTo>
                      <a:pt x="136" y="28"/>
                      <a:pt x="114" y="27"/>
                      <a:pt x="98" y="22"/>
                    </a:cubicBezTo>
                    <a:cubicBezTo>
                      <a:pt x="98" y="22"/>
                      <a:pt x="21" y="23"/>
                      <a:pt x="0" y="9"/>
                    </a:cubicBezTo>
                    <a:cubicBezTo>
                      <a:pt x="0" y="9"/>
                      <a:pt x="34" y="13"/>
                      <a:pt x="52" y="5"/>
                    </a:cubicBezTo>
                    <a:cubicBezTo>
                      <a:pt x="52" y="5"/>
                      <a:pt x="66" y="11"/>
                      <a:pt x="81" y="10"/>
                    </a:cubicBezTo>
                    <a:cubicBezTo>
                      <a:pt x="96" y="9"/>
                      <a:pt x="217" y="1"/>
                      <a:pt x="230" y="0"/>
                    </a:cubicBezTo>
                    <a:lnTo>
                      <a:pt x="228" y="7"/>
                    </a:ln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203">
                <a:extLst>
                  <a:ext uri="{FF2B5EF4-FFF2-40B4-BE49-F238E27FC236}">
                    <a16:creationId xmlns:a16="http://schemas.microsoft.com/office/drawing/2014/main" id="{77E6101E-2156-477F-8BAA-D5F5DD970E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50320" y="3419185"/>
                <a:ext cx="131763" cy="671513"/>
              </a:xfrm>
              <a:custGeom>
                <a:avLst/>
                <a:gdLst>
                  <a:gd name="T0" fmla="*/ 10 w 50"/>
                  <a:gd name="T1" fmla="*/ 0 h 254"/>
                  <a:gd name="T2" fmla="*/ 32 w 50"/>
                  <a:gd name="T3" fmla="*/ 31 h 254"/>
                  <a:gd name="T4" fmla="*/ 49 w 50"/>
                  <a:gd name="T5" fmla="*/ 107 h 254"/>
                  <a:gd name="T6" fmla="*/ 43 w 50"/>
                  <a:gd name="T7" fmla="*/ 188 h 254"/>
                  <a:gd name="T8" fmla="*/ 43 w 50"/>
                  <a:gd name="T9" fmla="*/ 254 h 254"/>
                  <a:gd name="T10" fmla="*/ 10 w 50"/>
                  <a:gd name="T11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254">
                    <a:moveTo>
                      <a:pt x="10" y="0"/>
                    </a:moveTo>
                    <a:cubicBezTo>
                      <a:pt x="10" y="0"/>
                      <a:pt x="26" y="4"/>
                      <a:pt x="32" y="31"/>
                    </a:cubicBezTo>
                    <a:cubicBezTo>
                      <a:pt x="36" y="53"/>
                      <a:pt x="50" y="91"/>
                      <a:pt x="49" y="107"/>
                    </a:cubicBezTo>
                    <a:cubicBezTo>
                      <a:pt x="48" y="123"/>
                      <a:pt x="44" y="173"/>
                      <a:pt x="43" y="188"/>
                    </a:cubicBezTo>
                    <a:cubicBezTo>
                      <a:pt x="42" y="203"/>
                      <a:pt x="43" y="254"/>
                      <a:pt x="43" y="254"/>
                    </a:cubicBezTo>
                    <a:cubicBezTo>
                      <a:pt x="43" y="254"/>
                      <a:pt x="0" y="59"/>
                      <a:pt x="10" y="0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223">
                <a:extLst>
                  <a:ext uri="{FF2B5EF4-FFF2-40B4-BE49-F238E27FC236}">
                    <a16:creationId xmlns:a16="http://schemas.microsoft.com/office/drawing/2014/main" id="{8E5B45A1-4AFD-4A5B-AA15-039C4873FE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80508" y="2665849"/>
                <a:ext cx="376574" cy="336859"/>
              </a:xfrm>
              <a:custGeom>
                <a:avLst/>
                <a:gdLst>
                  <a:gd name="T0" fmla="*/ 13 w 149"/>
                  <a:gd name="T1" fmla="*/ 140 h 147"/>
                  <a:gd name="T2" fmla="*/ 57 w 149"/>
                  <a:gd name="T3" fmla="*/ 132 h 147"/>
                  <a:gd name="T4" fmla="*/ 88 w 149"/>
                  <a:gd name="T5" fmla="*/ 139 h 147"/>
                  <a:gd name="T6" fmla="*/ 123 w 149"/>
                  <a:gd name="T7" fmla="*/ 146 h 147"/>
                  <a:gd name="T8" fmla="*/ 91 w 149"/>
                  <a:gd name="T9" fmla="*/ 124 h 147"/>
                  <a:gd name="T10" fmla="*/ 61 w 149"/>
                  <a:gd name="T11" fmla="*/ 110 h 147"/>
                  <a:gd name="T12" fmla="*/ 51 w 149"/>
                  <a:gd name="T13" fmla="*/ 82 h 147"/>
                  <a:gd name="T14" fmla="*/ 97 w 149"/>
                  <a:gd name="T15" fmla="*/ 95 h 147"/>
                  <a:gd name="T16" fmla="*/ 139 w 149"/>
                  <a:gd name="T17" fmla="*/ 90 h 147"/>
                  <a:gd name="T18" fmla="*/ 92 w 149"/>
                  <a:gd name="T19" fmla="*/ 72 h 147"/>
                  <a:gd name="T20" fmla="*/ 31 w 149"/>
                  <a:gd name="T21" fmla="*/ 46 h 147"/>
                  <a:gd name="T22" fmla="*/ 25 w 149"/>
                  <a:gd name="T23" fmla="*/ 26 h 147"/>
                  <a:gd name="T24" fmla="*/ 41 w 149"/>
                  <a:gd name="T25" fmla="*/ 28 h 147"/>
                  <a:gd name="T26" fmla="*/ 0 w 149"/>
                  <a:gd name="T27" fmla="*/ 34 h 147"/>
                  <a:gd name="T28" fmla="*/ 13 w 149"/>
                  <a:gd name="T29" fmla="*/ 140 h 147"/>
                  <a:gd name="connsiteX0" fmla="*/ 872 w 9565"/>
                  <a:gd name="connsiteY0" fmla="*/ 8240 h 8661"/>
                  <a:gd name="connsiteX1" fmla="*/ 3826 w 9565"/>
                  <a:gd name="connsiteY1" fmla="*/ 7696 h 8661"/>
                  <a:gd name="connsiteX2" fmla="*/ 5906 w 9565"/>
                  <a:gd name="connsiteY2" fmla="*/ 8172 h 8661"/>
                  <a:gd name="connsiteX3" fmla="*/ 8255 w 9565"/>
                  <a:gd name="connsiteY3" fmla="*/ 8648 h 8661"/>
                  <a:gd name="connsiteX4" fmla="*/ 6107 w 9565"/>
                  <a:gd name="connsiteY4" fmla="*/ 7151 h 8661"/>
                  <a:gd name="connsiteX5" fmla="*/ 4094 w 9565"/>
                  <a:gd name="connsiteY5" fmla="*/ 6199 h 8661"/>
                  <a:gd name="connsiteX6" fmla="*/ 2133 w 9565"/>
                  <a:gd name="connsiteY6" fmla="*/ 3151 h 8661"/>
                  <a:gd name="connsiteX7" fmla="*/ 6510 w 9565"/>
                  <a:gd name="connsiteY7" fmla="*/ 5179 h 8661"/>
                  <a:gd name="connsiteX8" fmla="*/ 9329 w 9565"/>
                  <a:gd name="connsiteY8" fmla="*/ 4838 h 8661"/>
                  <a:gd name="connsiteX9" fmla="*/ 6174 w 9565"/>
                  <a:gd name="connsiteY9" fmla="*/ 3614 h 8661"/>
                  <a:gd name="connsiteX10" fmla="*/ 2081 w 9565"/>
                  <a:gd name="connsiteY10" fmla="*/ 1845 h 8661"/>
                  <a:gd name="connsiteX11" fmla="*/ 1678 w 9565"/>
                  <a:gd name="connsiteY11" fmla="*/ 485 h 8661"/>
                  <a:gd name="connsiteX12" fmla="*/ 2752 w 9565"/>
                  <a:gd name="connsiteY12" fmla="*/ 621 h 8661"/>
                  <a:gd name="connsiteX13" fmla="*/ 0 w 9565"/>
                  <a:gd name="connsiteY13" fmla="*/ 1029 h 8661"/>
                  <a:gd name="connsiteX14" fmla="*/ 872 w 9565"/>
                  <a:gd name="connsiteY14" fmla="*/ 8240 h 8661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230 w 10000"/>
                  <a:gd name="connsiteY6" fmla="*/ 3638 h 10000"/>
                  <a:gd name="connsiteX7" fmla="*/ 6806 w 10000"/>
                  <a:gd name="connsiteY7" fmla="*/ 5226 h 10000"/>
                  <a:gd name="connsiteX8" fmla="*/ 9753 w 10000"/>
                  <a:gd name="connsiteY8" fmla="*/ 5586 h 10000"/>
                  <a:gd name="connsiteX9" fmla="*/ 6455 w 10000"/>
                  <a:gd name="connsiteY9" fmla="*/ 4173 h 10000"/>
                  <a:gd name="connsiteX10" fmla="*/ 2176 w 10000"/>
                  <a:gd name="connsiteY10" fmla="*/ 2130 h 10000"/>
                  <a:gd name="connsiteX11" fmla="*/ 1754 w 10000"/>
                  <a:gd name="connsiteY11" fmla="*/ 560 h 10000"/>
                  <a:gd name="connsiteX12" fmla="*/ 2877 w 10000"/>
                  <a:gd name="connsiteY12" fmla="*/ 717 h 10000"/>
                  <a:gd name="connsiteX13" fmla="*/ 0 w 10000"/>
                  <a:gd name="connsiteY13" fmla="*/ 1188 h 10000"/>
                  <a:gd name="connsiteX14" fmla="*/ 912 w 10000"/>
                  <a:gd name="connsiteY14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1893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1893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000">
                    <a:moveTo>
                      <a:pt x="912" y="9514"/>
                    </a:moveTo>
                    <a:cubicBezTo>
                      <a:pt x="912" y="9514"/>
                      <a:pt x="2807" y="9357"/>
                      <a:pt x="4000" y="8886"/>
                    </a:cubicBezTo>
                    <a:cubicBezTo>
                      <a:pt x="5263" y="8492"/>
                      <a:pt x="5613" y="9043"/>
                      <a:pt x="6175" y="9435"/>
                    </a:cubicBezTo>
                    <a:cubicBezTo>
                      <a:pt x="6736" y="9828"/>
                      <a:pt x="8139" y="10064"/>
                      <a:pt x="8630" y="9985"/>
                    </a:cubicBezTo>
                    <a:cubicBezTo>
                      <a:pt x="9052" y="9828"/>
                      <a:pt x="7016" y="9121"/>
                      <a:pt x="6385" y="8257"/>
                    </a:cubicBezTo>
                    <a:cubicBezTo>
                      <a:pt x="5683" y="7471"/>
                      <a:pt x="4560" y="8257"/>
                      <a:pt x="3437" y="7157"/>
                    </a:cubicBezTo>
                    <a:cubicBezTo>
                      <a:pt x="2957" y="6881"/>
                      <a:pt x="2837" y="5866"/>
                      <a:pt x="2158" y="6223"/>
                    </a:cubicBezTo>
                    <a:cubicBezTo>
                      <a:pt x="1816" y="5637"/>
                      <a:pt x="1343" y="3867"/>
                      <a:pt x="1893" y="3638"/>
                    </a:cubicBezTo>
                    <a:cubicBezTo>
                      <a:pt x="2173" y="3403"/>
                      <a:pt x="5496" y="4901"/>
                      <a:pt x="6806" y="5226"/>
                    </a:cubicBezTo>
                    <a:cubicBezTo>
                      <a:pt x="8116" y="5551"/>
                      <a:pt x="8982" y="5901"/>
                      <a:pt x="9753" y="5586"/>
                    </a:cubicBezTo>
                    <a:cubicBezTo>
                      <a:pt x="10455" y="5272"/>
                      <a:pt x="9753" y="5901"/>
                      <a:pt x="6455" y="4173"/>
                    </a:cubicBezTo>
                    <a:cubicBezTo>
                      <a:pt x="3157" y="2523"/>
                      <a:pt x="2877" y="2209"/>
                      <a:pt x="2176" y="2130"/>
                    </a:cubicBezTo>
                    <a:cubicBezTo>
                      <a:pt x="1403" y="1973"/>
                      <a:pt x="280" y="1581"/>
                      <a:pt x="1754" y="560"/>
                    </a:cubicBezTo>
                    <a:cubicBezTo>
                      <a:pt x="1754" y="560"/>
                      <a:pt x="2246" y="246"/>
                      <a:pt x="2877" y="717"/>
                    </a:cubicBezTo>
                    <a:cubicBezTo>
                      <a:pt x="3579" y="1267"/>
                      <a:pt x="1193" y="-1483"/>
                      <a:pt x="0" y="1188"/>
                    </a:cubicBezTo>
                    <a:cubicBezTo>
                      <a:pt x="0" y="1188"/>
                      <a:pt x="772" y="8257"/>
                      <a:pt x="912" y="9514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225">
                <a:extLst>
                  <a:ext uri="{FF2B5EF4-FFF2-40B4-BE49-F238E27FC236}">
                    <a16:creationId xmlns:a16="http://schemas.microsoft.com/office/drawing/2014/main" id="{95B14EF4-A39F-45D7-82BA-C93AFF460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6195" y="2738148"/>
                <a:ext cx="122238" cy="482600"/>
              </a:xfrm>
              <a:custGeom>
                <a:avLst/>
                <a:gdLst>
                  <a:gd name="T0" fmla="*/ 0 w 46"/>
                  <a:gd name="T1" fmla="*/ 183 h 183"/>
                  <a:gd name="T2" fmla="*/ 30 w 46"/>
                  <a:gd name="T3" fmla="*/ 104 h 183"/>
                  <a:gd name="T4" fmla="*/ 46 w 46"/>
                  <a:gd name="T5" fmla="*/ 51 h 183"/>
                  <a:gd name="T6" fmla="*/ 42 w 46"/>
                  <a:gd name="T7" fmla="*/ 9 h 183"/>
                  <a:gd name="T8" fmla="*/ 19 w 46"/>
                  <a:gd name="T9" fmla="*/ 77 h 183"/>
                  <a:gd name="T10" fmla="*/ 0 w 46"/>
                  <a:gd name="T11" fmla="*/ 18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83">
                    <a:moveTo>
                      <a:pt x="0" y="183"/>
                    </a:moveTo>
                    <a:cubicBezTo>
                      <a:pt x="0" y="183"/>
                      <a:pt x="14" y="124"/>
                      <a:pt x="30" y="104"/>
                    </a:cubicBezTo>
                    <a:cubicBezTo>
                      <a:pt x="46" y="84"/>
                      <a:pt x="46" y="63"/>
                      <a:pt x="46" y="51"/>
                    </a:cubicBezTo>
                    <a:cubicBezTo>
                      <a:pt x="46" y="39"/>
                      <a:pt x="44" y="19"/>
                      <a:pt x="42" y="9"/>
                    </a:cubicBezTo>
                    <a:cubicBezTo>
                      <a:pt x="39" y="0"/>
                      <a:pt x="32" y="53"/>
                      <a:pt x="19" y="77"/>
                    </a:cubicBezTo>
                    <a:cubicBezTo>
                      <a:pt x="6" y="101"/>
                      <a:pt x="3" y="95"/>
                      <a:pt x="0" y="183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226">
                <a:extLst>
                  <a:ext uri="{FF2B5EF4-FFF2-40B4-BE49-F238E27FC236}">
                    <a16:creationId xmlns:a16="http://schemas.microsoft.com/office/drawing/2014/main" id="{3D6B2CD8-D77D-433B-9A80-631357606C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8120" y="3034009"/>
                <a:ext cx="126996" cy="324852"/>
              </a:xfrm>
              <a:custGeom>
                <a:avLst/>
                <a:gdLst>
                  <a:gd name="T0" fmla="*/ 0 w 81"/>
                  <a:gd name="T1" fmla="*/ 138 h 138"/>
                  <a:gd name="T2" fmla="*/ 36 w 81"/>
                  <a:gd name="T3" fmla="*/ 99 h 138"/>
                  <a:gd name="T4" fmla="*/ 81 w 81"/>
                  <a:gd name="T5" fmla="*/ 63 h 138"/>
                  <a:gd name="T6" fmla="*/ 60 w 81"/>
                  <a:gd name="T7" fmla="*/ 44 h 138"/>
                  <a:gd name="T8" fmla="*/ 38 w 81"/>
                  <a:gd name="T9" fmla="*/ 20 h 138"/>
                  <a:gd name="T10" fmla="*/ 0 w 81"/>
                  <a:gd name="T11" fmla="*/ 138 h 138"/>
                  <a:gd name="connsiteX0" fmla="*/ 0 w 10079"/>
                  <a:gd name="connsiteY0" fmla="*/ 8897 h 8897"/>
                  <a:gd name="connsiteX1" fmla="*/ 4148 w 10079"/>
                  <a:gd name="connsiteY1" fmla="*/ 4680 h 8897"/>
                  <a:gd name="connsiteX2" fmla="*/ 10000 w 10079"/>
                  <a:gd name="connsiteY2" fmla="*/ 3462 h 8897"/>
                  <a:gd name="connsiteX3" fmla="*/ 7407 w 10079"/>
                  <a:gd name="connsiteY3" fmla="*/ 2085 h 8897"/>
                  <a:gd name="connsiteX4" fmla="*/ 4691 w 10079"/>
                  <a:gd name="connsiteY4" fmla="*/ 346 h 8897"/>
                  <a:gd name="connsiteX5" fmla="*/ 0 w 10079"/>
                  <a:gd name="connsiteY5" fmla="*/ 8897 h 8897"/>
                  <a:gd name="connsiteX0" fmla="*/ 0 w 7507"/>
                  <a:gd name="connsiteY0" fmla="*/ 10000 h 10000"/>
                  <a:gd name="connsiteX1" fmla="*/ 4115 w 7507"/>
                  <a:gd name="connsiteY1" fmla="*/ 5260 h 10000"/>
                  <a:gd name="connsiteX2" fmla="*/ 5512 w 7507"/>
                  <a:gd name="connsiteY2" fmla="*/ 3696 h 10000"/>
                  <a:gd name="connsiteX3" fmla="*/ 7349 w 7507"/>
                  <a:gd name="connsiteY3" fmla="*/ 2343 h 10000"/>
                  <a:gd name="connsiteX4" fmla="*/ 4654 w 7507"/>
                  <a:gd name="connsiteY4" fmla="*/ 389 h 10000"/>
                  <a:gd name="connsiteX5" fmla="*/ 0 w 7507"/>
                  <a:gd name="connsiteY5" fmla="*/ 10000 h 10000"/>
                  <a:gd name="connsiteX0" fmla="*/ 0 w 9790"/>
                  <a:gd name="connsiteY0" fmla="*/ 10000 h 10000"/>
                  <a:gd name="connsiteX1" fmla="*/ 5482 w 9790"/>
                  <a:gd name="connsiteY1" fmla="*/ 5260 h 10000"/>
                  <a:gd name="connsiteX2" fmla="*/ 9790 w 9790"/>
                  <a:gd name="connsiteY2" fmla="*/ 2343 h 10000"/>
                  <a:gd name="connsiteX3" fmla="*/ 6200 w 9790"/>
                  <a:gd name="connsiteY3" fmla="*/ 389 h 10000"/>
                  <a:gd name="connsiteX4" fmla="*/ 0 w 9790"/>
                  <a:gd name="connsiteY4" fmla="*/ 10000 h 10000"/>
                  <a:gd name="connsiteX0" fmla="*/ 0 w 9600"/>
                  <a:gd name="connsiteY0" fmla="*/ 10000 h 10000"/>
                  <a:gd name="connsiteX1" fmla="*/ 5600 w 9600"/>
                  <a:gd name="connsiteY1" fmla="*/ 5260 h 10000"/>
                  <a:gd name="connsiteX2" fmla="*/ 9600 w 9600"/>
                  <a:gd name="connsiteY2" fmla="*/ 2343 h 10000"/>
                  <a:gd name="connsiteX3" fmla="*/ 6333 w 9600"/>
                  <a:gd name="connsiteY3" fmla="*/ 389 h 10000"/>
                  <a:gd name="connsiteX4" fmla="*/ 0 w 9600"/>
                  <a:gd name="connsiteY4" fmla="*/ 10000 h 10000"/>
                  <a:gd name="connsiteX0" fmla="*/ 0 w 10000"/>
                  <a:gd name="connsiteY0" fmla="*/ 10000 h 10000"/>
                  <a:gd name="connsiteX1" fmla="*/ 5833 w 10000"/>
                  <a:gd name="connsiteY1" fmla="*/ 4283 h 10000"/>
                  <a:gd name="connsiteX2" fmla="*/ 10000 w 10000"/>
                  <a:gd name="connsiteY2" fmla="*/ 2343 h 10000"/>
                  <a:gd name="connsiteX3" fmla="*/ 6597 w 10000"/>
                  <a:gd name="connsiteY3" fmla="*/ 389 h 10000"/>
                  <a:gd name="connsiteX4" fmla="*/ 0 w 10000"/>
                  <a:gd name="connsiteY4" fmla="*/ 10000 h 10000"/>
                  <a:gd name="connsiteX0" fmla="*/ 0 w 8333"/>
                  <a:gd name="connsiteY0" fmla="*/ 10000 h 10000"/>
                  <a:gd name="connsiteX1" fmla="*/ 5833 w 8333"/>
                  <a:gd name="connsiteY1" fmla="*/ 4283 h 10000"/>
                  <a:gd name="connsiteX2" fmla="*/ 8333 w 8333"/>
                  <a:gd name="connsiteY2" fmla="*/ 2734 h 10000"/>
                  <a:gd name="connsiteX3" fmla="*/ 6597 w 8333"/>
                  <a:gd name="connsiteY3" fmla="*/ 389 h 10000"/>
                  <a:gd name="connsiteX4" fmla="*/ 0 w 8333"/>
                  <a:gd name="connsiteY4" fmla="*/ 10000 h 10000"/>
                  <a:gd name="connsiteX0" fmla="*/ 0 w 10000"/>
                  <a:gd name="connsiteY0" fmla="*/ 10000 h 10000"/>
                  <a:gd name="connsiteX1" fmla="*/ 6500 w 10000"/>
                  <a:gd name="connsiteY1" fmla="*/ 3306 h 10000"/>
                  <a:gd name="connsiteX2" fmla="*/ 10000 w 10000"/>
                  <a:gd name="connsiteY2" fmla="*/ 2734 h 10000"/>
                  <a:gd name="connsiteX3" fmla="*/ 7917 w 10000"/>
                  <a:gd name="connsiteY3" fmla="*/ 389 h 10000"/>
                  <a:gd name="connsiteX4" fmla="*/ 0 w 10000"/>
                  <a:gd name="connsiteY4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0" y="10000"/>
                    </a:moveTo>
                    <a:cubicBezTo>
                      <a:pt x="2334" y="8420"/>
                      <a:pt x="4833" y="4517"/>
                      <a:pt x="6500" y="3306"/>
                    </a:cubicBezTo>
                    <a:cubicBezTo>
                      <a:pt x="8167" y="2095"/>
                      <a:pt x="9846" y="3546"/>
                      <a:pt x="10000" y="2734"/>
                    </a:cubicBezTo>
                    <a:cubicBezTo>
                      <a:pt x="8542" y="1595"/>
                      <a:pt x="8750" y="1204"/>
                      <a:pt x="7917" y="389"/>
                    </a:cubicBezTo>
                    <a:cubicBezTo>
                      <a:pt x="7084" y="-344"/>
                      <a:pt x="4584" y="-1240"/>
                      <a:pt x="0" y="10000"/>
                    </a:cubicBezTo>
                    <a:close/>
                  </a:path>
                </a:pathLst>
              </a:custGeom>
              <a:solidFill>
                <a:srgbClr val="5E82A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228">
                <a:extLst>
                  <a:ext uri="{FF2B5EF4-FFF2-40B4-BE49-F238E27FC236}">
                    <a16:creationId xmlns:a16="http://schemas.microsoft.com/office/drawing/2014/main" id="{2007039E-03B2-4A50-95A7-29220F14CB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2048" y="5574545"/>
                <a:ext cx="230188" cy="49213"/>
              </a:xfrm>
              <a:custGeom>
                <a:avLst/>
                <a:gdLst>
                  <a:gd name="T0" fmla="*/ 21 w 87"/>
                  <a:gd name="T1" fmla="*/ 12 h 19"/>
                  <a:gd name="T2" fmla="*/ 77 w 87"/>
                  <a:gd name="T3" fmla="*/ 9 h 19"/>
                  <a:gd name="T4" fmla="*/ 72 w 87"/>
                  <a:gd name="T5" fmla="*/ 1 h 19"/>
                  <a:gd name="T6" fmla="*/ 21 w 87"/>
                  <a:gd name="T7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7" h="19">
                    <a:moveTo>
                      <a:pt x="21" y="12"/>
                    </a:moveTo>
                    <a:cubicBezTo>
                      <a:pt x="21" y="12"/>
                      <a:pt x="68" y="19"/>
                      <a:pt x="77" y="9"/>
                    </a:cubicBezTo>
                    <a:cubicBezTo>
                      <a:pt x="87" y="0"/>
                      <a:pt x="72" y="1"/>
                      <a:pt x="72" y="1"/>
                    </a:cubicBezTo>
                    <a:cubicBezTo>
                      <a:pt x="72" y="1"/>
                      <a:pt x="0" y="5"/>
                      <a:pt x="21" y="1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229">
                <a:extLst>
                  <a:ext uri="{FF2B5EF4-FFF2-40B4-BE49-F238E27FC236}">
                    <a16:creationId xmlns:a16="http://schemas.microsoft.com/office/drawing/2014/main" id="{359C1B67-D2A9-4D78-B682-6E5CA8351B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67820" y="5655973"/>
                <a:ext cx="92075" cy="106363"/>
              </a:xfrm>
              <a:custGeom>
                <a:avLst/>
                <a:gdLst>
                  <a:gd name="T0" fmla="*/ 0 w 35"/>
                  <a:gd name="T1" fmla="*/ 30 h 40"/>
                  <a:gd name="T2" fmla="*/ 28 w 35"/>
                  <a:gd name="T3" fmla="*/ 32 h 40"/>
                  <a:gd name="T4" fmla="*/ 31 w 35"/>
                  <a:gd name="T5" fmla="*/ 16 h 40"/>
                  <a:gd name="T6" fmla="*/ 28 w 35"/>
                  <a:gd name="T7" fmla="*/ 0 h 40"/>
                  <a:gd name="T8" fmla="*/ 0 w 35"/>
                  <a:gd name="T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40">
                    <a:moveTo>
                      <a:pt x="0" y="30"/>
                    </a:moveTo>
                    <a:cubicBezTo>
                      <a:pt x="0" y="30"/>
                      <a:pt x="27" y="40"/>
                      <a:pt x="28" y="32"/>
                    </a:cubicBezTo>
                    <a:cubicBezTo>
                      <a:pt x="29" y="24"/>
                      <a:pt x="27" y="21"/>
                      <a:pt x="31" y="16"/>
                    </a:cubicBezTo>
                    <a:cubicBezTo>
                      <a:pt x="35" y="10"/>
                      <a:pt x="28" y="0"/>
                      <a:pt x="28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6">
                <a:extLst>
                  <a:ext uri="{FF2B5EF4-FFF2-40B4-BE49-F238E27FC236}">
                    <a16:creationId xmlns:a16="http://schemas.microsoft.com/office/drawing/2014/main" id="{2A3C334E-993B-4DC1-874B-E66339E1F7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86655" y="984288"/>
                <a:ext cx="575461" cy="467210"/>
              </a:xfrm>
              <a:custGeom>
                <a:avLst/>
                <a:gdLst>
                  <a:gd name="T0" fmla="*/ 59 w 228"/>
                  <a:gd name="T1" fmla="*/ 110 h 211"/>
                  <a:gd name="T2" fmla="*/ 122 w 228"/>
                  <a:gd name="T3" fmla="*/ 111 h 211"/>
                  <a:gd name="T4" fmla="*/ 179 w 228"/>
                  <a:gd name="T5" fmla="*/ 88 h 211"/>
                  <a:gd name="T6" fmla="*/ 216 w 228"/>
                  <a:gd name="T7" fmla="*/ 97 h 211"/>
                  <a:gd name="T8" fmla="*/ 228 w 228"/>
                  <a:gd name="T9" fmla="*/ 94 h 211"/>
                  <a:gd name="T10" fmla="*/ 212 w 228"/>
                  <a:gd name="T11" fmla="*/ 75 h 211"/>
                  <a:gd name="T12" fmla="*/ 190 w 228"/>
                  <a:gd name="T13" fmla="*/ 50 h 211"/>
                  <a:gd name="T14" fmla="*/ 212 w 228"/>
                  <a:gd name="T15" fmla="*/ 66 h 211"/>
                  <a:gd name="T16" fmla="*/ 141 w 228"/>
                  <a:gd name="T17" fmla="*/ 20 h 211"/>
                  <a:gd name="T18" fmla="*/ 32 w 228"/>
                  <a:gd name="T19" fmla="*/ 48 h 211"/>
                  <a:gd name="T20" fmla="*/ 3 w 228"/>
                  <a:gd name="T21" fmla="*/ 121 h 211"/>
                  <a:gd name="T22" fmla="*/ 3 w 228"/>
                  <a:gd name="T23" fmla="*/ 160 h 211"/>
                  <a:gd name="T24" fmla="*/ 10 w 228"/>
                  <a:gd name="T25" fmla="*/ 147 h 211"/>
                  <a:gd name="T26" fmla="*/ 14 w 228"/>
                  <a:gd name="T27" fmla="*/ 191 h 211"/>
                  <a:gd name="T28" fmla="*/ 38 w 228"/>
                  <a:gd name="T29" fmla="*/ 174 h 211"/>
                  <a:gd name="T30" fmla="*/ 59 w 228"/>
                  <a:gd name="T31" fmla="*/ 110 h 211"/>
                  <a:gd name="connsiteX0" fmla="*/ 2465 w 9877"/>
                  <a:gd name="connsiteY0" fmla="*/ 4579 h 8673"/>
                  <a:gd name="connsiteX1" fmla="*/ 5228 w 9877"/>
                  <a:gd name="connsiteY1" fmla="*/ 4627 h 8673"/>
                  <a:gd name="connsiteX2" fmla="*/ 7728 w 9877"/>
                  <a:gd name="connsiteY2" fmla="*/ 3537 h 8673"/>
                  <a:gd name="connsiteX3" fmla="*/ 9351 w 9877"/>
                  <a:gd name="connsiteY3" fmla="*/ 3963 h 8673"/>
                  <a:gd name="connsiteX4" fmla="*/ 9877 w 9877"/>
                  <a:gd name="connsiteY4" fmla="*/ 3821 h 8673"/>
                  <a:gd name="connsiteX5" fmla="*/ 9175 w 9877"/>
                  <a:gd name="connsiteY5" fmla="*/ 2921 h 8673"/>
                  <a:gd name="connsiteX6" fmla="*/ 8210 w 9877"/>
                  <a:gd name="connsiteY6" fmla="*/ 1736 h 8673"/>
                  <a:gd name="connsiteX7" fmla="*/ 9175 w 9877"/>
                  <a:gd name="connsiteY7" fmla="*/ 2494 h 8673"/>
                  <a:gd name="connsiteX8" fmla="*/ 6061 w 9877"/>
                  <a:gd name="connsiteY8" fmla="*/ 314 h 8673"/>
                  <a:gd name="connsiteX9" fmla="*/ 1281 w 9877"/>
                  <a:gd name="connsiteY9" fmla="*/ 1641 h 8673"/>
                  <a:gd name="connsiteX10" fmla="*/ 9 w 9877"/>
                  <a:gd name="connsiteY10" fmla="*/ 5101 h 8673"/>
                  <a:gd name="connsiteX11" fmla="*/ 9 w 9877"/>
                  <a:gd name="connsiteY11" fmla="*/ 6949 h 8673"/>
                  <a:gd name="connsiteX12" fmla="*/ 316 w 9877"/>
                  <a:gd name="connsiteY12" fmla="*/ 6333 h 8673"/>
                  <a:gd name="connsiteX13" fmla="*/ 491 w 9877"/>
                  <a:gd name="connsiteY13" fmla="*/ 8418 h 8673"/>
                  <a:gd name="connsiteX14" fmla="*/ 1544 w 9877"/>
                  <a:gd name="connsiteY14" fmla="*/ 7612 h 8673"/>
                  <a:gd name="connsiteX15" fmla="*/ 2465 w 9877"/>
                  <a:gd name="connsiteY15" fmla="*/ 4579 h 8673"/>
                  <a:gd name="connsiteX0" fmla="*/ 2496 w 10000"/>
                  <a:gd name="connsiteY0" fmla="*/ 5285 h 10005"/>
                  <a:gd name="connsiteX1" fmla="*/ 5293 w 10000"/>
                  <a:gd name="connsiteY1" fmla="*/ 5340 h 10005"/>
                  <a:gd name="connsiteX2" fmla="*/ 7824 w 10000"/>
                  <a:gd name="connsiteY2" fmla="*/ 4083 h 10005"/>
                  <a:gd name="connsiteX3" fmla="*/ 9467 w 10000"/>
                  <a:gd name="connsiteY3" fmla="*/ 4574 h 10005"/>
                  <a:gd name="connsiteX4" fmla="*/ 10000 w 10000"/>
                  <a:gd name="connsiteY4" fmla="*/ 4411 h 10005"/>
                  <a:gd name="connsiteX5" fmla="*/ 9289 w 10000"/>
                  <a:gd name="connsiteY5" fmla="*/ 3373 h 10005"/>
                  <a:gd name="connsiteX6" fmla="*/ 8312 w 10000"/>
                  <a:gd name="connsiteY6" fmla="*/ 2007 h 10005"/>
                  <a:gd name="connsiteX7" fmla="*/ 9289 w 10000"/>
                  <a:gd name="connsiteY7" fmla="*/ 2881 h 10005"/>
                  <a:gd name="connsiteX8" fmla="*/ 6136 w 10000"/>
                  <a:gd name="connsiteY8" fmla="*/ 367 h 10005"/>
                  <a:gd name="connsiteX9" fmla="*/ 1257 w 10000"/>
                  <a:gd name="connsiteY9" fmla="*/ 1749 h 10005"/>
                  <a:gd name="connsiteX10" fmla="*/ 9 w 10000"/>
                  <a:gd name="connsiteY10" fmla="*/ 5886 h 10005"/>
                  <a:gd name="connsiteX11" fmla="*/ 9 w 10000"/>
                  <a:gd name="connsiteY11" fmla="*/ 8017 h 10005"/>
                  <a:gd name="connsiteX12" fmla="*/ 320 w 10000"/>
                  <a:gd name="connsiteY12" fmla="*/ 7307 h 10005"/>
                  <a:gd name="connsiteX13" fmla="*/ 497 w 10000"/>
                  <a:gd name="connsiteY13" fmla="*/ 9711 h 10005"/>
                  <a:gd name="connsiteX14" fmla="*/ 1563 w 10000"/>
                  <a:gd name="connsiteY14" fmla="*/ 8782 h 10005"/>
                  <a:gd name="connsiteX15" fmla="*/ 2496 w 10000"/>
                  <a:gd name="connsiteY15" fmla="*/ 5285 h 10005"/>
                  <a:gd name="connsiteX0" fmla="*/ 2496 w 10000"/>
                  <a:gd name="connsiteY0" fmla="*/ 5269 h 9989"/>
                  <a:gd name="connsiteX1" fmla="*/ 5293 w 10000"/>
                  <a:gd name="connsiteY1" fmla="*/ 5324 h 9989"/>
                  <a:gd name="connsiteX2" fmla="*/ 7824 w 10000"/>
                  <a:gd name="connsiteY2" fmla="*/ 4067 h 9989"/>
                  <a:gd name="connsiteX3" fmla="*/ 9467 w 10000"/>
                  <a:gd name="connsiteY3" fmla="*/ 4558 h 9989"/>
                  <a:gd name="connsiteX4" fmla="*/ 10000 w 10000"/>
                  <a:gd name="connsiteY4" fmla="*/ 4395 h 9989"/>
                  <a:gd name="connsiteX5" fmla="*/ 9289 w 10000"/>
                  <a:gd name="connsiteY5" fmla="*/ 3357 h 9989"/>
                  <a:gd name="connsiteX6" fmla="*/ 8312 w 10000"/>
                  <a:gd name="connsiteY6" fmla="*/ 1991 h 9989"/>
                  <a:gd name="connsiteX7" fmla="*/ 9289 w 10000"/>
                  <a:gd name="connsiteY7" fmla="*/ 2865 h 9989"/>
                  <a:gd name="connsiteX8" fmla="*/ 6136 w 10000"/>
                  <a:gd name="connsiteY8" fmla="*/ 351 h 9989"/>
                  <a:gd name="connsiteX9" fmla="*/ 1257 w 10000"/>
                  <a:gd name="connsiteY9" fmla="*/ 1733 h 9989"/>
                  <a:gd name="connsiteX10" fmla="*/ 9 w 10000"/>
                  <a:gd name="connsiteY10" fmla="*/ 5870 h 9989"/>
                  <a:gd name="connsiteX11" fmla="*/ 9 w 10000"/>
                  <a:gd name="connsiteY11" fmla="*/ 8001 h 9989"/>
                  <a:gd name="connsiteX12" fmla="*/ 320 w 10000"/>
                  <a:gd name="connsiteY12" fmla="*/ 7291 h 9989"/>
                  <a:gd name="connsiteX13" fmla="*/ 497 w 10000"/>
                  <a:gd name="connsiteY13" fmla="*/ 9695 h 9989"/>
                  <a:gd name="connsiteX14" fmla="*/ 1563 w 10000"/>
                  <a:gd name="connsiteY14" fmla="*/ 8766 h 9989"/>
                  <a:gd name="connsiteX15" fmla="*/ 2496 w 10000"/>
                  <a:gd name="connsiteY15" fmla="*/ 5269 h 9989"/>
                  <a:gd name="connsiteX0" fmla="*/ 2496 w 10000"/>
                  <a:gd name="connsiteY0" fmla="*/ 5275 h 10001"/>
                  <a:gd name="connsiteX1" fmla="*/ 4407 w 10000"/>
                  <a:gd name="connsiteY1" fmla="*/ 5528 h 10001"/>
                  <a:gd name="connsiteX2" fmla="*/ 7824 w 10000"/>
                  <a:gd name="connsiteY2" fmla="*/ 4071 h 10001"/>
                  <a:gd name="connsiteX3" fmla="*/ 9467 w 10000"/>
                  <a:gd name="connsiteY3" fmla="*/ 4563 h 10001"/>
                  <a:gd name="connsiteX4" fmla="*/ 10000 w 10000"/>
                  <a:gd name="connsiteY4" fmla="*/ 4400 h 10001"/>
                  <a:gd name="connsiteX5" fmla="*/ 9289 w 10000"/>
                  <a:gd name="connsiteY5" fmla="*/ 3361 h 10001"/>
                  <a:gd name="connsiteX6" fmla="*/ 8312 w 10000"/>
                  <a:gd name="connsiteY6" fmla="*/ 1993 h 10001"/>
                  <a:gd name="connsiteX7" fmla="*/ 9289 w 10000"/>
                  <a:gd name="connsiteY7" fmla="*/ 2868 h 10001"/>
                  <a:gd name="connsiteX8" fmla="*/ 6136 w 10000"/>
                  <a:gd name="connsiteY8" fmla="*/ 351 h 10001"/>
                  <a:gd name="connsiteX9" fmla="*/ 1257 w 10000"/>
                  <a:gd name="connsiteY9" fmla="*/ 1735 h 10001"/>
                  <a:gd name="connsiteX10" fmla="*/ 9 w 10000"/>
                  <a:gd name="connsiteY10" fmla="*/ 5876 h 10001"/>
                  <a:gd name="connsiteX11" fmla="*/ 9 w 10000"/>
                  <a:gd name="connsiteY11" fmla="*/ 8010 h 10001"/>
                  <a:gd name="connsiteX12" fmla="*/ 320 w 10000"/>
                  <a:gd name="connsiteY12" fmla="*/ 7299 h 10001"/>
                  <a:gd name="connsiteX13" fmla="*/ 497 w 10000"/>
                  <a:gd name="connsiteY13" fmla="*/ 9706 h 10001"/>
                  <a:gd name="connsiteX14" fmla="*/ 1563 w 10000"/>
                  <a:gd name="connsiteY14" fmla="*/ 8776 h 10001"/>
                  <a:gd name="connsiteX15" fmla="*/ 2496 w 10000"/>
                  <a:gd name="connsiteY15" fmla="*/ 5275 h 10001"/>
                  <a:gd name="connsiteX0" fmla="*/ 2496 w 10000"/>
                  <a:gd name="connsiteY0" fmla="*/ 5275 h 10001"/>
                  <a:gd name="connsiteX1" fmla="*/ 4407 w 10000"/>
                  <a:gd name="connsiteY1" fmla="*/ 5528 h 10001"/>
                  <a:gd name="connsiteX2" fmla="*/ 7824 w 10000"/>
                  <a:gd name="connsiteY2" fmla="*/ 4071 h 10001"/>
                  <a:gd name="connsiteX3" fmla="*/ 9467 w 10000"/>
                  <a:gd name="connsiteY3" fmla="*/ 4563 h 10001"/>
                  <a:gd name="connsiteX4" fmla="*/ 10000 w 10000"/>
                  <a:gd name="connsiteY4" fmla="*/ 4400 h 10001"/>
                  <a:gd name="connsiteX5" fmla="*/ 9289 w 10000"/>
                  <a:gd name="connsiteY5" fmla="*/ 3361 h 10001"/>
                  <a:gd name="connsiteX6" fmla="*/ 8312 w 10000"/>
                  <a:gd name="connsiteY6" fmla="*/ 1993 h 10001"/>
                  <a:gd name="connsiteX7" fmla="*/ 9289 w 10000"/>
                  <a:gd name="connsiteY7" fmla="*/ 2868 h 10001"/>
                  <a:gd name="connsiteX8" fmla="*/ 6136 w 10000"/>
                  <a:gd name="connsiteY8" fmla="*/ 351 h 10001"/>
                  <a:gd name="connsiteX9" fmla="*/ 1257 w 10000"/>
                  <a:gd name="connsiteY9" fmla="*/ 1735 h 10001"/>
                  <a:gd name="connsiteX10" fmla="*/ 9 w 10000"/>
                  <a:gd name="connsiteY10" fmla="*/ 5876 h 10001"/>
                  <a:gd name="connsiteX11" fmla="*/ 9 w 10000"/>
                  <a:gd name="connsiteY11" fmla="*/ 8010 h 10001"/>
                  <a:gd name="connsiteX12" fmla="*/ 320 w 10000"/>
                  <a:gd name="connsiteY12" fmla="*/ 7299 h 10001"/>
                  <a:gd name="connsiteX13" fmla="*/ 497 w 10000"/>
                  <a:gd name="connsiteY13" fmla="*/ 9706 h 10001"/>
                  <a:gd name="connsiteX14" fmla="*/ 1563 w 10000"/>
                  <a:gd name="connsiteY14" fmla="*/ 8776 h 10001"/>
                  <a:gd name="connsiteX15" fmla="*/ 2496 w 10000"/>
                  <a:gd name="connsiteY15" fmla="*/ 5275 h 10001"/>
                  <a:gd name="connsiteX0" fmla="*/ 2496 w 10000"/>
                  <a:gd name="connsiteY0" fmla="*/ 5275 h 9706"/>
                  <a:gd name="connsiteX1" fmla="*/ 4407 w 10000"/>
                  <a:gd name="connsiteY1" fmla="*/ 5528 h 9706"/>
                  <a:gd name="connsiteX2" fmla="*/ 7824 w 10000"/>
                  <a:gd name="connsiteY2" fmla="*/ 4071 h 9706"/>
                  <a:gd name="connsiteX3" fmla="*/ 9467 w 10000"/>
                  <a:gd name="connsiteY3" fmla="*/ 4563 h 9706"/>
                  <a:gd name="connsiteX4" fmla="*/ 10000 w 10000"/>
                  <a:gd name="connsiteY4" fmla="*/ 4400 h 9706"/>
                  <a:gd name="connsiteX5" fmla="*/ 9289 w 10000"/>
                  <a:gd name="connsiteY5" fmla="*/ 3361 h 9706"/>
                  <a:gd name="connsiteX6" fmla="*/ 8312 w 10000"/>
                  <a:gd name="connsiteY6" fmla="*/ 1993 h 9706"/>
                  <a:gd name="connsiteX7" fmla="*/ 9289 w 10000"/>
                  <a:gd name="connsiteY7" fmla="*/ 2868 h 9706"/>
                  <a:gd name="connsiteX8" fmla="*/ 6136 w 10000"/>
                  <a:gd name="connsiteY8" fmla="*/ 351 h 9706"/>
                  <a:gd name="connsiteX9" fmla="*/ 1257 w 10000"/>
                  <a:gd name="connsiteY9" fmla="*/ 1735 h 9706"/>
                  <a:gd name="connsiteX10" fmla="*/ 9 w 10000"/>
                  <a:gd name="connsiteY10" fmla="*/ 5876 h 9706"/>
                  <a:gd name="connsiteX11" fmla="*/ 9 w 10000"/>
                  <a:gd name="connsiteY11" fmla="*/ 8010 h 9706"/>
                  <a:gd name="connsiteX12" fmla="*/ 320 w 10000"/>
                  <a:gd name="connsiteY12" fmla="*/ 7299 h 9706"/>
                  <a:gd name="connsiteX13" fmla="*/ 497 w 10000"/>
                  <a:gd name="connsiteY13" fmla="*/ 9706 h 9706"/>
                  <a:gd name="connsiteX14" fmla="*/ 1563 w 10000"/>
                  <a:gd name="connsiteY14" fmla="*/ 8776 h 9706"/>
                  <a:gd name="connsiteX15" fmla="*/ 2496 w 10000"/>
                  <a:gd name="connsiteY15" fmla="*/ 5275 h 9706"/>
                  <a:gd name="connsiteX0" fmla="*/ 2496 w 10000"/>
                  <a:gd name="connsiteY0" fmla="*/ 5435 h 10000"/>
                  <a:gd name="connsiteX1" fmla="*/ 4407 w 10000"/>
                  <a:gd name="connsiteY1" fmla="*/ 5695 h 10000"/>
                  <a:gd name="connsiteX2" fmla="*/ 6428 w 10000"/>
                  <a:gd name="connsiteY2" fmla="*/ 4398 h 10000"/>
                  <a:gd name="connsiteX3" fmla="*/ 9467 w 10000"/>
                  <a:gd name="connsiteY3" fmla="*/ 4701 h 10000"/>
                  <a:gd name="connsiteX4" fmla="*/ 10000 w 10000"/>
                  <a:gd name="connsiteY4" fmla="*/ 4533 h 10000"/>
                  <a:gd name="connsiteX5" fmla="*/ 9289 w 10000"/>
                  <a:gd name="connsiteY5" fmla="*/ 3463 h 10000"/>
                  <a:gd name="connsiteX6" fmla="*/ 8312 w 10000"/>
                  <a:gd name="connsiteY6" fmla="*/ 2053 h 10000"/>
                  <a:gd name="connsiteX7" fmla="*/ 9289 w 10000"/>
                  <a:gd name="connsiteY7" fmla="*/ 2955 h 10000"/>
                  <a:gd name="connsiteX8" fmla="*/ 6136 w 10000"/>
                  <a:gd name="connsiteY8" fmla="*/ 362 h 10000"/>
                  <a:gd name="connsiteX9" fmla="*/ 1257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0 w 10000"/>
                  <a:gd name="connsiteY12" fmla="*/ 7520 h 10000"/>
                  <a:gd name="connsiteX13" fmla="*/ 497 w 10000"/>
                  <a:gd name="connsiteY13" fmla="*/ 10000 h 10000"/>
                  <a:gd name="connsiteX14" fmla="*/ 1563 w 10000"/>
                  <a:gd name="connsiteY14" fmla="*/ 9042 h 10000"/>
                  <a:gd name="connsiteX15" fmla="*/ 2496 w 10000"/>
                  <a:gd name="connsiteY15" fmla="*/ 5435 h 10000"/>
                  <a:gd name="connsiteX0" fmla="*/ 2496 w 10000"/>
                  <a:gd name="connsiteY0" fmla="*/ 5435 h 10000"/>
                  <a:gd name="connsiteX1" fmla="*/ 3870 w 10000"/>
                  <a:gd name="connsiteY1" fmla="*/ 5967 h 10000"/>
                  <a:gd name="connsiteX2" fmla="*/ 6428 w 10000"/>
                  <a:gd name="connsiteY2" fmla="*/ 4398 h 10000"/>
                  <a:gd name="connsiteX3" fmla="*/ 9467 w 10000"/>
                  <a:gd name="connsiteY3" fmla="*/ 4701 h 10000"/>
                  <a:gd name="connsiteX4" fmla="*/ 10000 w 10000"/>
                  <a:gd name="connsiteY4" fmla="*/ 4533 h 10000"/>
                  <a:gd name="connsiteX5" fmla="*/ 9289 w 10000"/>
                  <a:gd name="connsiteY5" fmla="*/ 3463 h 10000"/>
                  <a:gd name="connsiteX6" fmla="*/ 8312 w 10000"/>
                  <a:gd name="connsiteY6" fmla="*/ 2053 h 10000"/>
                  <a:gd name="connsiteX7" fmla="*/ 9289 w 10000"/>
                  <a:gd name="connsiteY7" fmla="*/ 2955 h 10000"/>
                  <a:gd name="connsiteX8" fmla="*/ 6136 w 10000"/>
                  <a:gd name="connsiteY8" fmla="*/ 362 h 10000"/>
                  <a:gd name="connsiteX9" fmla="*/ 1257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0 w 10000"/>
                  <a:gd name="connsiteY12" fmla="*/ 7520 h 10000"/>
                  <a:gd name="connsiteX13" fmla="*/ 497 w 10000"/>
                  <a:gd name="connsiteY13" fmla="*/ 10000 h 10000"/>
                  <a:gd name="connsiteX14" fmla="*/ 1563 w 10000"/>
                  <a:gd name="connsiteY14" fmla="*/ 9042 h 10000"/>
                  <a:gd name="connsiteX15" fmla="*/ 2496 w 10000"/>
                  <a:gd name="connsiteY15" fmla="*/ 5435 h 10000"/>
                  <a:gd name="connsiteX0" fmla="*/ 2496 w 10001"/>
                  <a:gd name="connsiteY0" fmla="*/ 5435 h 10000"/>
                  <a:gd name="connsiteX1" fmla="*/ 3870 w 10001"/>
                  <a:gd name="connsiteY1" fmla="*/ 5967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10001"/>
                  <a:gd name="connsiteY0" fmla="*/ 5435 h 10000"/>
                  <a:gd name="connsiteX1" fmla="*/ 3816 w 10001"/>
                  <a:gd name="connsiteY1" fmla="*/ 6534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10001"/>
                  <a:gd name="connsiteY0" fmla="*/ 5435 h 10000"/>
                  <a:gd name="connsiteX1" fmla="*/ 3816 w 10001"/>
                  <a:gd name="connsiteY1" fmla="*/ 7101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9735"/>
                  <a:gd name="connsiteY0" fmla="*/ 5435 h 10000"/>
                  <a:gd name="connsiteX1" fmla="*/ 3816 w 9735"/>
                  <a:gd name="connsiteY1" fmla="*/ 7101 h 10000"/>
                  <a:gd name="connsiteX2" fmla="*/ 6428 w 9735"/>
                  <a:gd name="connsiteY2" fmla="*/ 4398 h 10000"/>
                  <a:gd name="connsiteX3" fmla="*/ 9091 w 9735"/>
                  <a:gd name="connsiteY3" fmla="*/ 4769 h 10000"/>
                  <a:gd name="connsiteX4" fmla="*/ 9732 w 9735"/>
                  <a:gd name="connsiteY4" fmla="*/ 4533 h 10000"/>
                  <a:gd name="connsiteX5" fmla="*/ 9289 w 9735"/>
                  <a:gd name="connsiteY5" fmla="*/ 3463 h 10000"/>
                  <a:gd name="connsiteX6" fmla="*/ 8312 w 9735"/>
                  <a:gd name="connsiteY6" fmla="*/ 2053 h 10000"/>
                  <a:gd name="connsiteX7" fmla="*/ 9289 w 9735"/>
                  <a:gd name="connsiteY7" fmla="*/ 2955 h 10000"/>
                  <a:gd name="connsiteX8" fmla="*/ 6136 w 9735"/>
                  <a:gd name="connsiteY8" fmla="*/ 362 h 10000"/>
                  <a:gd name="connsiteX9" fmla="*/ 1257 w 9735"/>
                  <a:gd name="connsiteY9" fmla="*/ 1788 h 10000"/>
                  <a:gd name="connsiteX10" fmla="*/ 9 w 9735"/>
                  <a:gd name="connsiteY10" fmla="*/ 6054 h 10000"/>
                  <a:gd name="connsiteX11" fmla="*/ 9 w 9735"/>
                  <a:gd name="connsiteY11" fmla="*/ 8253 h 10000"/>
                  <a:gd name="connsiteX12" fmla="*/ 320 w 9735"/>
                  <a:gd name="connsiteY12" fmla="*/ 7520 h 10000"/>
                  <a:gd name="connsiteX13" fmla="*/ 497 w 9735"/>
                  <a:gd name="connsiteY13" fmla="*/ 10000 h 10000"/>
                  <a:gd name="connsiteX14" fmla="*/ 1563 w 9735"/>
                  <a:gd name="connsiteY14" fmla="*/ 9042 h 10000"/>
                  <a:gd name="connsiteX15" fmla="*/ 2496 w 9735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6383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5778 w 10000"/>
                  <a:gd name="connsiteY2" fmla="*/ 4650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6108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75 w 10000"/>
                  <a:gd name="connsiteY1" fmla="*/ 7542 h 10000"/>
                  <a:gd name="connsiteX2" fmla="*/ 6108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000">
                    <a:moveTo>
                      <a:pt x="2564" y="5435"/>
                    </a:moveTo>
                    <a:cubicBezTo>
                      <a:pt x="3248" y="5603"/>
                      <a:pt x="3384" y="7631"/>
                      <a:pt x="3975" y="7542"/>
                    </a:cubicBezTo>
                    <a:cubicBezTo>
                      <a:pt x="4566" y="7453"/>
                      <a:pt x="5214" y="5364"/>
                      <a:pt x="6108" y="4902"/>
                    </a:cubicBezTo>
                    <a:cubicBezTo>
                      <a:pt x="7002" y="4440"/>
                      <a:pt x="8929" y="4827"/>
                      <a:pt x="9338" y="4769"/>
                    </a:cubicBezTo>
                    <a:cubicBezTo>
                      <a:pt x="9521" y="4769"/>
                      <a:pt x="9963" y="4751"/>
                      <a:pt x="9997" y="4533"/>
                    </a:cubicBezTo>
                    <a:cubicBezTo>
                      <a:pt x="10031" y="4315"/>
                      <a:pt x="9816" y="3913"/>
                      <a:pt x="9542" y="3463"/>
                    </a:cubicBezTo>
                    <a:cubicBezTo>
                      <a:pt x="9315" y="3011"/>
                      <a:pt x="9041" y="2560"/>
                      <a:pt x="8538" y="2053"/>
                    </a:cubicBezTo>
                    <a:cubicBezTo>
                      <a:pt x="8037" y="1603"/>
                      <a:pt x="9132" y="2391"/>
                      <a:pt x="9542" y="2955"/>
                    </a:cubicBezTo>
                    <a:cubicBezTo>
                      <a:pt x="9542" y="2955"/>
                      <a:pt x="7678" y="557"/>
                      <a:pt x="6303" y="362"/>
                    </a:cubicBezTo>
                    <a:cubicBezTo>
                      <a:pt x="4928" y="167"/>
                      <a:pt x="3405" y="-868"/>
                      <a:pt x="1291" y="1788"/>
                    </a:cubicBezTo>
                    <a:cubicBezTo>
                      <a:pt x="1291" y="1788"/>
                      <a:pt x="-128" y="2876"/>
                      <a:pt x="9" y="6054"/>
                    </a:cubicBezTo>
                    <a:cubicBezTo>
                      <a:pt x="100" y="7857"/>
                      <a:pt x="54" y="7689"/>
                      <a:pt x="9" y="8253"/>
                    </a:cubicBezTo>
                    <a:cubicBezTo>
                      <a:pt x="-36" y="8872"/>
                      <a:pt x="329" y="7801"/>
                      <a:pt x="329" y="7520"/>
                    </a:cubicBezTo>
                    <a:cubicBezTo>
                      <a:pt x="373" y="7239"/>
                      <a:pt x="329" y="9380"/>
                      <a:pt x="511" y="10000"/>
                    </a:cubicBezTo>
                    <a:cubicBezTo>
                      <a:pt x="511" y="10000"/>
                      <a:pt x="1634" y="10006"/>
                      <a:pt x="1606" y="9042"/>
                    </a:cubicBezTo>
                    <a:cubicBezTo>
                      <a:pt x="1606" y="9042"/>
                      <a:pt x="1652" y="5210"/>
                      <a:pt x="2564" y="5435"/>
                    </a:cubicBezTo>
                    <a:close/>
                  </a:path>
                </a:pathLst>
              </a:custGeom>
              <a:solidFill>
                <a:srgbClr val="38291F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76">
                <a:extLst>
                  <a:ext uri="{FF2B5EF4-FFF2-40B4-BE49-F238E27FC236}">
                    <a16:creationId xmlns:a16="http://schemas.microsoft.com/office/drawing/2014/main" id="{DA1DE4D7-D7A1-41E0-890B-6B4F9561608E}"/>
                  </a:ext>
                </a:extLst>
              </p:cNvPr>
              <p:cNvSpPr>
                <a:spLocks/>
              </p:cNvSpPr>
              <p:nvPr/>
            </p:nvSpPr>
            <p:spPr bwMode="gray">
              <a:xfrm rot="2935984">
                <a:off x="5857301" y="980434"/>
                <a:ext cx="95810" cy="248055"/>
              </a:xfrm>
              <a:custGeom>
                <a:avLst/>
                <a:gdLst>
                  <a:gd name="T0" fmla="*/ 1 w 31"/>
                  <a:gd name="T1" fmla="*/ 32 h 80"/>
                  <a:gd name="T2" fmla="*/ 15 w 31"/>
                  <a:gd name="T3" fmla="*/ 74 h 80"/>
                  <a:gd name="T4" fmla="*/ 28 w 31"/>
                  <a:gd name="T5" fmla="*/ 79 h 80"/>
                  <a:gd name="T6" fmla="*/ 22 w 31"/>
                  <a:gd name="T7" fmla="*/ 59 h 80"/>
                  <a:gd name="T8" fmla="*/ 29 w 31"/>
                  <a:gd name="T9" fmla="*/ 63 h 80"/>
                  <a:gd name="T10" fmla="*/ 24 w 31"/>
                  <a:gd name="T11" fmla="*/ 42 h 80"/>
                  <a:gd name="T12" fmla="*/ 8 w 31"/>
                  <a:gd name="T13" fmla="*/ 10 h 80"/>
                  <a:gd name="T14" fmla="*/ 1 w 31"/>
                  <a:gd name="T15" fmla="*/ 3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80">
                    <a:moveTo>
                      <a:pt x="1" y="32"/>
                    </a:moveTo>
                    <a:cubicBezTo>
                      <a:pt x="1" y="32"/>
                      <a:pt x="0" y="62"/>
                      <a:pt x="15" y="74"/>
                    </a:cubicBezTo>
                    <a:cubicBezTo>
                      <a:pt x="15" y="74"/>
                      <a:pt x="26" y="80"/>
                      <a:pt x="28" y="79"/>
                    </a:cubicBezTo>
                    <a:cubicBezTo>
                      <a:pt x="31" y="78"/>
                      <a:pt x="21" y="68"/>
                      <a:pt x="22" y="59"/>
                    </a:cubicBezTo>
                    <a:cubicBezTo>
                      <a:pt x="22" y="50"/>
                      <a:pt x="22" y="63"/>
                      <a:pt x="29" y="63"/>
                    </a:cubicBezTo>
                    <a:cubicBezTo>
                      <a:pt x="29" y="63"/>
                      <a:pt x="24" y="51"/>
                      <a:pt x="24" y="42"/>
                    </a:cubicBezTo>
                    <a:cubicBezTo>
                      <a:pt x="24" y="32"/>
                      <a:pt x="16" y="0"/>
                      <a:pt x="8" y="10"/>
                    </a:cubicBezTo>
                    <a:lnTo>
                      <a:pt x="1" y="32"/>
                    </a:ln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410" name="Gruppieren 5">
            <a:extLst>
              <a:ext uri="{FF2B5EF4-FFF2-40B4-BE49-F238E27FC236}">
                <a16:creationId xmlns:a16="http://schemas.microsoft.com/office/drawing/2014/main" id="{54B7FDFA-E664-4DCA-9C19-80FA024DAA26}"/>
              </a:ext>
            </a:extLst>
          </p:cNvPr>
          <p:cNvGrpSpPr/>
          <p:nvPr/>
        </p:nvGrpSpPr>
        <p:grpSpPr bwMode="gray">
          <a:xfrm>
            <a:off x="7791184" y="877234"/>
            <a:ext cx="4168953" cy="4954583"/>
            <a:chOff x="4448991" y="1237692"/>
            <a:chExt cx="4168953" cy="4954583"/>
          </a:xfrm>
        </p:grpSpPr>
        <p:grpSp>
          <p:nvGrpSpPr>
            <p:cNvPr id="277" name="Gruppieren 139">
              <a:extLst>
                <a:ext uri="{FF2B5EF4-FFF2-40B4-BE49-F238E27FC236}">
                  <a16:creationId xmlns:a16="http://schemas.microsoft.com/office/drawing/2014/main" id="{40205277-45E0-4EBE-BAD9-239BB50B6158}"/>
                </a:ext>
              </a:extLst>
            </p:cNvPr>
            <p:cNvGrpSpPr/>
            <p:nvPr/>
          </p:nvGrpSpPr>
          <p:grpSpPr bwMode="gray">
            <a:xfrm>
              <a:off x="5206560" y="1910615"/>
              <a:ext cx="2775369" cy="4002398"/>
              <a:chOff x="5621254" y="2158018"/>
              <a:chExt cx="2394829" cy="3453617"/>
            </a:xfrm>
          </p:grpSpPr>
          <p:sp>
            <p:nvSpPr>
              <p:cNvPr id="400" name="Ellipse 30">
                <a:extLst>
                  <a:ext uri="{FF2B5EF4-FFF2-40B4-BE49-F238E27FC236}">
                    <a16:creationId xmlns:a16="http://schemas.microsoft.com/office/drawing/2014/main" id="{25411D22-9BF3-4A61-88E1-F4FE3E65B2E1}"/>
                  </a:ext>
                </a:extLst>
              </p:cNvPr>
              <p:cNvSpPr/>
              <p:nvPr/>
            </p:nvSpPr>
            <p:spPr bwMode="gray">
              <a:xfrm>
                <a:off x="5621254" y="5448628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1" name="Ellipse 30">
                <a:extLst>
                  <a:ext uri="{FF2B5EF4-FFF2-40B4-BE49-F238E27FC236}">
                    <a16:creationId xmlns:a16="http://schemas.microsoft.com/office/drawing/2014/main" id="{0805BB3D-296C-4266-929D-948BB76ECB92}"/>
                  </a:ext>
                </a:extLst>
              </p:cNvPr>
              <p:cNvSpPr/>
              <p:nvPr/>
            </p:nvSpPr>
            <p:spPr bwMode="gray">
              <a:xfrm>
                <a:off x="6607328" y="5117602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2" name="Ellipse 30">
                <a:extLst>
                  <a:ext uri="{FF2B5EF4-FFF2-40B4-BE49-F238E27FC236}">
                    <a16:creationId xmlns:a16="http://schemas.microsoft.com/office/drawing/2014/main" id="{06EE5E54-A5B5-473A-85B4-3A0A3ED6B708}"/>
                  </a:ext>
                </a:extLst>
              </p:cNvPr>
              <p:cNvSpPr/>
              <p:nvPr/>
            </p:nvSpPr>
            <p:spPr bwMode="gray">
              <a:xfrm>
                <a:off x="7608955" y="5469747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3" name="Freeform 152">
                <a:extLst>
                  <a:ext uri="{FF2B5EF4-FFF2-40B4-BE49-F238E27FC236}">
                    <a16:creationId xmlns:a16="http://schemas.microsoft.com/office/drawing/2014/main" id="{CC49B8D9-0C37-4456-B919-A9B9C177D0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0595" y="2158018"/>
                <a:ext cx="2030670" cy="3395108"/>
              </a:xfrm>
              <a:custGeom>
                <a:avLst/>
                <a:gdLst>
                  <a:gd name="T0" fmla="*/ 341 w 484"/>
                  <a:gd name="T1" fmla="*/ 231 h 809"/>
                  <a:gd name="T2" fmla="*/ 338 w 484"/>
                  <a:gd name="T3" fmla="*/ 200 h 809"/>
                  <a:gd name="T4" fmla="*/ 343 w 484"/>
                  <a:gd name="T5" fmla="*/ 199 h 809"/>
                  <a:gd name="T6" fmla="*/ 342 w 484"/>
                  <a:gd name="T7" fmla="*/ 167 h 809"/>
                  <a:gd name="T8" fmla="*/ 343 w 484"/>
                  <a:gd name="T9" fmla="*/ 166 h 809"/>
                  <a:gd name="T10" fmla="*/ 359 w 484"/>
                  <a:gd name="T11" fmla="*/ 168 h 809"/>
                  <a:gd name="T12" fmla="*/ 388 w 484"/>
                  <a:gd name="T13" fmla="*/ 170 h 809"/>
                  <a:gd name="T14" fmla="*/ 407 w 484"/>
                  <a:gd name="T15" fmla="*/ 174 h 809"/>
                  <a:gd name="T16" fmla="*/ 409 w 484"/>
                  <a:gd name="T17" fmla="*/ 174 h 809"/>
                  <a:gd name="T18" fmla="*/ 409 w 484"/>
                  <a:gd name="T19" fmla="*/ 81 h 809"/>
                  <a:gd name="T20" fmla="*/ 412 w 484"/>
                  <a:gd name="T21" fmla="*/ 17 h 809"/>
                  <a:gd name="T22" fmla="*/ 412 w 484"/>
                  <a:gd name="T23" fmla="*/ 0 h 809"/>
                  <a:gd name="T24" fmla="*/ 66 w 484"/>
                  <a:gd name="T25" fmla="*/ 1 h 809"/>
                  <a:gd name="T26" fmla="*/ 63 w 484"/>
                  <a:gd name="T27" fmla="*/ 19 h 809"/>
                  <a:gd name="T28" fmla="*/ 57 w 484"/>
                  <a:gd name="T29" fmla="*/ 427 h 809"/>
                  <a:gd name="T30" fmla="*/ 107 w 484"/>
                  <a:gd name="T31" fmla="*/ 427 h 809"/>
                  <a:gd name="T32" fmla="*/ 0 w 484"/>
                  <a:gd name="T33" fmla="*/ 803 h 809"/>
                  <a:gd name="T34" fmla="*/ 8 w 484"/>
                  <a:gd name="T35" fmla="*/ 807 h 809"/>
                  <a:gd name="T36" fmla="*/ 118 w 484"/>
                  <a:gd name="T37" fmla="*/ 427 h 809"/>
                  <a:gd name="T38" fmla="*/ 233 w 484"/>
                  <a:gd name="T39" fmla="*/ 428 h 809"/>
                  <a:gd name="T40" fmla="*/ 230 w 484"/>
                  <a:gd name="T41" fmla="*/ 723 h 809"/>
                  <a:gd name="T42" fmla="*/ 239 w 484"/>
                  <a:gd name="T43" fmla="*/ 724 h 809"/>
                  <a:gd name="T44" fmla="*/ 242 w 484"/>
                  <a:gd name="T45" fmla="*/ 426 h 809"/>
                  <a:gd name="T46" fmla="*/ 362 w 484"/>
                  <a:gd name="T47" fmla="*/ 428 h 809"/>
                  <a:gd name="T48" fmla="*/ 467 w 484"/>
                  <a:gd name="T49" fmla="*/ 785 h 809"/>
                  <a:gd name="T50" fmla="*/ 473 w 484"/>
                  <a:gd name="T51" fmla="*/ 804 h 809"/>
                  <a:gd name="T52" fmla="*/ 475 w 484"/>
                  <a:gd name="T53" fmla="*/ 809 h 809"/>
                  <a:gd name="T54" fmla="*/ 484 w 484"/>
                  <a:gd name="T55" fmla="*/ 809 h 809"/>
                  <a:gd name="T56" fmla="*/ 483 w 484"/>
                  <a:gd name="T57" fmla="*/ 806 h 809"/>
                  <a:gd name="T58" fmla="*/ 476 w 484"/>
                  <a:gd name="T59" fmla="*/ 783 h 809"/>
                  <a:gd name="T60" fmla="*/ 372 w 484"/>
                  <a:gd name="T61" fmla="*/ 426 h 809"/>
                  <a:gd name="T62" fmla="*/ 415 w 484"/>
                  <a:gd name="T63" fmla="*/ 426 h 809"/>
                  <a:gd name="T64" fmla="*/ 410 w 484"/>
                  <a:gd name="T65" fmla="*/ 234 h 809"/>
                  <a:gd name="T66" fmla="*/ 388 w 484"/>
                  <a:gd name="T67" fmla="*/ 234 h 809"/>
                  <a:gd name="T68" fmla="*/ 341 w 484"/>
                  <a:gd name="T69" fmla="*/ 231 h 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84" h="809">
                    <a:moveTo>
                      <a:pt x="341" y="231"/>
                    </a:moveTo>
                    <a:cubicBezTo>
                      <a:pt x="340" y="223"/>
                      <a:pt x="338" y="200"/>
                      <a:pt x="338" y="200"/>
                    </a:cubicBezTo>
                    <a:cubicBezTo>
                      <a:pt x="338" y="200"/>
                      <a:pt x="343" y="199"/>
                      <a:pt x="343" y="199"/>
                    </a:cubicBezTo>
                    <a:cubicBezTo>
                      <a:pt x="348" y="163"/>
                      <a:pt x="342" y="167"/>
                      <a:pt x="342" y="167"/>
                    </a:cubicBezTo>
                    <a:cubicBezTo>
                      <a:pt x="342" y="167"/>
                      <a:pt x="341" y="166"/>
                      <a:pt x="343" y="166"/>
                    </a:cubicBezTo>
                    <a:cubicBezTo>
                      <a:pt x="344" y="166"/>
                      <a:pt x="349" y="166"/>
                      <a:pt x="359" y="168"/>
                    </a:cubicBezTo>
                    <a:cubicBezTo>
                      <a:pt x="381" y="171"/>
                      <a:pt x="378" y="170"/>
                      <a:pt x="388" y="170"/>
                    </a:cubicBezTo>
                    <a:cubicBezTo>
                      <a:pt x="397" y="170"/>
                      <a:pt x="402" y="174"/>
                      <a:pt x="407" y="174"/>
                    </a:cubicBezTo>
                    <a:cubicBezTo>
                      <a:pt x="407" y="174"/>
                      <a:pt x="408" y="174"/>
                      <a:pt x="409" y="174"/>
                    </a:cubicBezTo>
                    <a:cubicBezTo>
                      <a:pt x="409" y="133"/>
                      <a:pt x="408" y="99"/>
                      <a:pt x="409" y="81"/>
                    </a:cubicBezTo>
                    <a:cubicBezTo>
                      <a:pt x="410" y="18"/>
                      <a:pt x="412" y="17"/>
                      <a:pt x="412" y="17"/>
                    </a:cubicBezTo>
                    <a:cubicBezTo>
                      <a:pt x="415" y="16"/>
                      <a:pt x="412" y="0"/>
                      <a:pt x="412" y="0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2" y="0"/>
                      <a:pt x="63" y="19"/>
                      <a:pt x="63" y="19"/>
                    </a:cubicBezTo>
                    <a:cubicBezTo>
                      <a:pt x="57" y="427"/>
                      <a:pt x="57" y="427"/>
                      <a:pt x="57" y="427"/>
                    </a:cubicBezTo>
                    <a:cubicBezTo>
                      <a:pt x="107" y="427"/>
                      <a:pt x="107" y="427"/>
                      <a:pt x="107" y="427"/>
                    </a:cubicBezTo>
                    <a:cubicBezTo>
                      <a:pt x="0" y="803"/>
                      <a:pt x="0" y="803"/>
                      <a:pt x="0" y="803"/>
                    </a:cubicBezTo>
                    <a:cubicBezTo>
                      <a:pt x="8" y="807"/>
                      <a:pt x="8" y="807"/>
                      <a:pt x="8" y="807"/>
                    </a:cubicBezTo>
                    <a:cubicBezTo>
                      <a:pt x="118" y="427"/>
                      <a:pt x="118" y="427"/>
                      <a:pt x="118" y="427"/>
                    </a:cubicBezTo>
                    <a:cubicBezTo>
                      <a:pt x="233" y="428"/>
                      <a:pt x="233" y="428"/>
                      <a:pt x="233" y="428"/>
                    </a:cubicBezTo>
                    <a:cubicBezTo>
                      <a:pt x="230" y="723"/>
                      <a:pt x="230" y="723"/>
                      <a:pt x="230" y="723"/>
                    </a:cubicBezTo>
                    <a:cubicBezTo>
                      <a:pt x="231" y="730"/>
                      <a:pt x="239" y="724"/>
                      <a:pt x="239" y="724"/>
                    </a:cubicBezTo>
                    <a:cubicBezTo>
                      <a:pt x="236" y="720"/>
                      <a:pt x="242" y="426"/>
                      <a:pt x="242" y="426"/>
                    </a:cubicBezTo>
                    <a:cubicBezTo>
                      <a:pt x="362" y="428"/>
                      <a:pt x="362" y="428"/>
                      <a:pt x="362" y="428"/>
                    </a:cubicBezTo>
                    <a:cubicBezTo>
                      <a:pt x="467" y="785"/>
                      <a:pt x="467" y="785"/>
                      <a:pt x="467" y="785"/>
                    </a:cubicBezTo>
                    <a:cubicBezTo>
                      <a:pt x="473" y="804"/>
                      <a:pt x="473" y="804"/>
                      <a:pt x="473" y="804"/>
                    </a:cubicBezTo>
                    <a:cubicBezTo>
                      <a:pt x="475" y="809"/>
                      <a:pt x="475" y="809"/>
                      <a:pt x="475" y="809"/>
                    </a:cubicBezTo>
                    <a:cubicBezTo>
                      <a:pt x="484" y="809"/>
                      <a:pt x="484" y="809"/>
                      <a:pt x="484" y="809"/>
                    </a:cubicBezTo>
                    <a:cubicBezTo>
                      <a:pt x="483" y="806"/>
                      <a:pt x="483" y="806"/>
                      <a:pt x="483" y="806"/>
                    </a:cubicBezTo>
                    <a:cubicBezTo>
                      <a:pt x="476" y="783"/>
                      <a:pt x="476" y="783"/>
                      <a:pt x="476" y="783"/>
                    </a:cubicBezTo>
                    <a:cubicBezTo>
                      <a:pt x="372" y="426"/>
                      <a:pt x="372" y="426"/>
                      <a:pt x="372" y="426"/>
                    </a:cubicBezTo>
                    <a:cubicBezTo>
                      <a:pt x="415" y="426"/>
                      <a:pt x="415" y="426"/>
                      <a:pt x="415" y="426"/>
                    </a:cubicBezTo>
                    <a:cubicBezTo>
                      <a:pt x="415" y="426"/>
                      <a:pt x="412" y="328"/>
                      <a:pt x="410" y="234"/>
                    </a:cubicBezTo>
                    <a:cubicBezTo>
                      <a:pt x="400" y="234"/>
                      <a:pt x="392" y="234"/>
                      <a:pt x="388" y="234"/>
                    </a:cubicBezTo>
                    <a:cubicBezTo>
                      <a:pt x="374" y="233"/>
                      <a:pt x="341" y="231"/>
                      <a:pt x="341" y="231"/>
                    </a:cubicBezTo>
                    <a:close/>
                  </a:path>
                </a:pathLst>
              </a:custGeom>
              <a:solidFill>
                <a:srgbClr val="EAEAEA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155">
                <a:extLst>
                  <a:ext uri="{FF2B5EF4-FFF2-40B4-BE49-F238E27FC236}">
                    <a16:creationId xmlns:a16="http://schemas.microsoft.com/office/drawing/2014/main" id="{D597479C-11A6-42F7-8EA3-5906096EF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0593" y="3950621"/>
                <a:ext cx="495675" cy="1595399"/>
              </a:xfrm>
              <a:custGeom>
                <a:avLst/>
                <a:gdLst>
                  <a:gd name="T0" fmla="*/ 253 w 279"/>
                  <a:gd name="T1" fmla="*/ 0 h 898"/>
                  <a:gd name="T2" fmla="*/ 279 w 279"/>
                  <a:gd name="T3" fmla="*/ 0 h 898"/>
                  <a:gd name="T4" fmla="*/ 19 w 279"/>
                  <a:gd name="T5" fmla="*/ 898 h 898"/>
                  <a:gd name="T6" fmla="*/ 0 w 279"/>
                  <a:gd name="T7" fmla="*/ 888 h 898"/>
                  <a:gd name="T8" fmla="*/ 253 w 279"/>
                  <a:gd name="T9" fmla="*/ 0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9" h="898">
                    <a:moveTo>
                      <a:pt x="253" y="0"/>
                    </a:moveTo>
                    <a:lnTo>
                      <a:pt x="279" y="0"/>
                    </a:lnTo>
                    <a:lnTo>
                      <a:pt x="19" y="898"/>
                    </a:lnTo>
                    <a:lnTo>
                      <a:pt x="0" y="888"/>
                    </a:lnTo>
                    <a:lnTo>
                      <a:pt x="253" y="0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156">
                <a:extLst>
                  <a:ext uri="{FF2B5EF4-FFF2-40B4-BE49-F238E27FC236}">
                    <a16:creationId xmlns:a16="http://schemas.microsoft.com/office/drawing/2014/main" id="{092C1F99-5F17-432B-AC18-DFEE689789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76410" y="3947068"/>
                <a:ext cx="58628" cy="1337790"/>
              </a:xfrm>
              <a:custGeom>
                <a:avLst/>
                <a:gdLst>
                  <a:gd name="T0" fmla="*/ 5 w 14"/>
                  <a:gd name="T1" fmla="*/ 2 h 319"/>
                  <a:gd name="T2" fmla="*/ 14 w 14"/>
                  <a:gd name="T3" fmla="*/ 0 h 319"/>
                  <a:gd name="T4" fmla="*/ 11 w 14"/>
                  <a:gd name="T5" fmla="*/ 298 h 319"/>
                  <a:gd name="T6" fmla="*/ 2 w 14"/>
                  <a:gd name="T7" fmla="*/ 256 h 319"/>
                  <a:gd name="T8" fmla="*/ 5 w 14"/>
                  <a:gd name="T9" fmla="*/ 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19">
                    <a:moveTo>
                      <a:pt x="5" y="2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1" y="298"/>
                      <a:pt x="11" y="298"/>
                      <a:pt x="11" y="298"/>
                    </a:cubicBezTo>
                    <a:cubicBezTo>
                      <a:pt x="11" y="298"/>
                      <a:pt x="0" y="319"/>
                      <a:pt x="2" y="256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157">
                <a:extLst>
                  <a:ext uri="{FF2B5EF4-FFF2-40B4-BE49-F238E27FC236}">
                    <a16:creationId xmlns:a16="http://schemas.microsoft.com/office/drawing/2014/main" id="{96211E0C-7869-4C9B-9EAC-65958BC867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9596" y="3947068"/>
                <a:ext cx="508111" cy="1606059"/>
              </a:xfrm>
              <a:custGeom>
                <a:avLst/>
                <a:gdLst>
                  <a:gd name="T0" fmla="*/ 0 w 286"/>
                  <a:gd name="T1" fmla="*/ 4 h 904"/>
                  <a:gd name="T2" fmla="*/ 24 w 286"/>
                  <a:gd name="T3" fmla="*/ 0 h 904"/>
                  <a:gd name="T4" fmla="*/ 286 w 286"/>
                  <a:gd name="T5" fmla="*/ 897 h 904"/>
                  <a:gd name="T6" fmla="*/ 267 w 286"/>
                  <a:gd name="T7" fmla="*/ 904 h 904"/>
                  <a:gd name="T8" fmla="*/ 0 w 286"/>
                  <a:gd name="T9" fmla="*/ 4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6" h="904">
                    <a:moveTo>
                      <a:pt x="0" y="4"/>
                    </a:moveTo>
                    <a:lnTo>
                      <a:pt x="24" y="0"/>
                    </a:lnTo>
                    <a:lnTo>
                      <a:pt x="286" y="897"/>
                    </a:lnTo>
                    <a:lnTo>
                      <a:pt x="267" y="90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159">
                <a:extLst>
                  <a:ext uri="{FF2B5EF4-FFF2-40B4-BE49-F238E27FC236}">
                    <a16:creationId xmlns:a16="http://schemas.microsoft.com/office/drawing/2014/main" id="{F36C201E-1CA1-47A0-9B31-C248125C22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8659" y="3778290"/>
                <a:ext cx="257608" cy="172331"/>
              </a:xfrm>
              <a:custGeom>
                <a:avLst/>
                <a:gdLst>
                  <a:gd name="T0" fmla="*/ 0 w 61"/>
                  <a:gd name="T1" fmla="*/ 0 h 41"/>
                  <a:gd name="T2" fmla="*/ 21 w 61"/>
                  <a:gd name="T3" fmla="*/ 33 h 41"/>
                  <a:gd name="T4" fmla="*/ 61 w 61"/>
                  <a:gd name="T5" fmla="*/ 41 h 41"/>
                  <a:gd name="T6" fmla="*/ 0 w 61"/>
                  <a:gd name="T7" fmla="*/ 41 h 41"/>
                  <a:gd name="T8" fmla="*/ 0 w 61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41">
                    <a:moveTo>
                      <a:pt x="0" y="0"/>
                    </a:moveTo>
                    <a:cubicBezTo>
                      <a:pt x="0" y="0"/>
                      <a:pt x="9" y="33"/>
                      <a:pt x="21" y="33"/>
                    </a:cubicBezTo>
                    <a:cubicBezTo>
                      <a:pt x="33" y="33"/>
                      <a:pt x="61" y="41"/>
                      <a:pt x="61" y="41"/>
                    </a:cubicBezTo>
                    <a:cubicBezTo>
                      <a:pt x="0" y="41"/>
                      <a:pt x="0" y="41"/>
                      <a:pt x="0" y="4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Rechteck 403">
                <a:extLst>
                  <a:ext uri="{FF2B5EF4-FFF2-40B4-BE49-F238E27FC236}">
                    <a16:creationId xmlns:a16="http://schemas.microsoft.com/office/drawing/2014/main" id="{54721DC1-8A90-43DA-8F5D-1CFF67090B3C}"/>
                  </a:ext>
                </a:extLst>
              </p:cNvPr>
              <p:cNvSpPr/>
              <p:nvPr/>
            </p:nvSpPr>
            <p:spPr bwMode="gray">
              <a:xfrm>
                <a:off x="6372644" y="2470318"/>
                <a:ext cx="866167" cy="3983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2400" noProof="1">
                    <a:solidFill>
                      <a:srgbClr val="292929"/>
                    </a:solidFill>
                    <a:latin typeface="Bebas Neue" panose="020B0506020202020201" pitchFamily="34" charset="0"/>
                  </a:rPr>
                  <a:t>Success</a:t>
                </a:r>
                <a:endParaRPr lang="en-US" sz="2400" dirty="0">
                  <a:solidFill>
                    <a:srgbClr val="292929"/>
                  </a:solidFill>
                  <a:latin typeface="Bebas Neue" panose="020B0506020202020201" pitchFamily="34" charset="0"/>
                </a:endParaRPr>
              </a:p>
            </p:txBody>
          </p:sp>
          <p:sp>
            <p:nvSpPr>
              <p:cNvPr id="409" name="Freeform 154">
                <a:extLst>
                  <a:ext uri="{FF2B5EF4-FFF2-40B4-BE49-F238E27FC236}">
                    <a16:creationId xmlns:a16="http://schemas.microsoft.com/office/drawing/2014/main" id="{31899704-F68C-4A6E-B55A-B1CF2B163B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8659" y="2158018"/>
                <a:ext cx="1511898" cy="117256"/>
              </a:xfrm>
              <a:custGeom>
                <a:avLst/>
                <a:gdLst>
                  <a:gd name="T0" fmla="*/ 341 w 357"/>
                  <a:gd name="T1" fmla="*/ 15 h 28"/>
                  <a:gd name="T2" fmla="*/ 10 w 357"/>
                  <a:gd name="T3" fmla="*/ 16 h 28"/>
                  <a:gd name="T4" fmla="*/ 6 w 357"/>
                  <a:gd name="T5" fmla="*/ 1 h 28"/>
                  <a:gd name="T6" fmla="*/ 352 w 357"/>
                  <a:gd name="T7" fmla="*/ 0 h 28"/>
                  <a:gd name="T8" fmla="*/ 352 w 357"/>
                  <a:gd name="T9" fmla="*/ 17 h 28"/>
                  <a:gd name="T10" fmla="*/ 341 w 357"/>
                  <a:gd name="T11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7" h="28">
                    <a:moveTo>
                      <a:pt x="341" y="15"/>
                    </a:move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0" y="28"/>
                      <a:pt x="6" y="1"/>
                    </a:cubicBezTo>
                    <a:cubicBezTo>
                      <a:pt x="352" y="0"/>
                      <a:pt x="352" y="0"/>
                      <a:pt x="352" y="0"/>
                    </a:cubicBezTo>
                    <a:cubicBezTo>
                      <a:pt x="352" y="0"/>
                      <a:pt x="357" y="16"/>
                      <a:pt x="352" y="17"/>
                    </a:cubicBezTo>
                    <a:cubicBezTo>
                      <a:pt x="347" y="18"/>
                      <a:pt x="341" y="15"/>
                      <a:pt x="341" y="15"/>
                    </a:cubicBez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78" name="Gruppieren 140">
              <a:extLst>
                <a:ext uri="{FF2B5EF4-FFF2-40B4-BE49-F238E27FC236}">
                  <a16:creationId xmlns:a16="http://schemas.microsoft.com/office/drawing/2014/main" id="{737B5C80-726A-4C18-B706-5990E70E0C1F}"/>
                </a:ext>
              </a:extLst>
            </p:cNvPr>
            <p:cNvGrpSpPr/>
            <p:nvPr/>
          </p:nvGrpSpPr>
          <p:grpSpPr bwMode="gray">
            <a:xfrm>
              <a:off x="4448991" y="1600101"/>
              <a:ext cx="1448058" cy="4504801"/>
              <a:chOff x="4783162" y="1890077"/>
              <a:chExt cx="1249511" cy="3887130"/>
            </a:xfrm>
          </p:grpSpPr>
          <p:sp>
            <p:nvSpPr>
              <p:cNvPr id="350" name="Ellipse 30">
                <a:extLst>
                  <a:ext uri="{FF2B5EF4-FFF2-40B4-BE49-F238E27FC236}">
                    <a16:creationId xmlns:a16="http://schemas.microsoft.com/office/drawing/2014/main" id="{D74FAE85-E972-4665-90D1-C1871807B4F8}"/>
                  </a:ext>
                </a:extLst>
              </p:cNvPr>
              <p:cNvSpPr/>
              <p:nvPr/>
            </p:nvSpPr>
            <p:spPr bwMode="gray">
              <a:xfrm>
                <a:off x="4783162" y="5251101"/>
                <a:ext cx="1191799" cy="52610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grpSp>
            <p:nvGrpSpPr>
              <p:cNvPr id="351" name="Gruppieren 346">
                <a:extLst>
                  <a:ext uri="{FF2B5EF4-FFF2-40B4-BE49-F238E27FC236}">
                    <a16:creationId xmlns:a16="http://schemas.microsoft.com/office/drawing/2014/main" id="{90517702-EDE8-44E4-A801-41BD07F79C06}"/>
                  </a:ext>
                </a:extLst>
              </p:cNvPr>
              <p:cNvGrpSpPr/>
              <p:nvPr/>
            </p:nvGrpSpPr>
            <p:grpSpPr bwMode="gray">
              <a:xfrm>
                <a:off x="5129179" y="1890077"/>
                <a:ext cx="903494" cy="3798071"/>
                <a:chOff x="5006903" y="1890077"/>
                <a:chExt cx="1025753" cy="3798071"/>
              </a:xfrm>
            </p:grpSpPr>
            <p:sp>
              <p:nvSpPr>
                <p:cNvPr id="352" name="Freeform 165">
                  <a:extLst>
                    <a:ext uri="{FF2B5EF4-FFF2-40B4-BE49-F238E27FC236}">
                      <a16:creationId xmlns:a16="http://schemas.microsoft.com/office/drawing/2014/main" id="{6860AB35-7DC0-47D3-9B8B-95D4B770DD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19328" y="3078303"/>
                  <a:ext cx="122586" cy="120810"/>
                </a:xfrm>
                <a:custGeom>
                  <a:avLst/>
                  <a:gdLst>
                    <a:gd name="T0" fmla="*/ 27 w 29"/>
                    <a:gd name="T1" fmla="*/ 8 h 29"/>
                    <a:gd name="T2" fmla="*/ 5 w 29"/>
                    <a:gd name="T3" fmla="*/ 0 h 29"/>
                    <a:gd name="T4" fmla="*/ 6 w 29"/>
                    <a:gd name="T5" fmla="*/ 13 h 29"/>
                    <a:gd name="T6" fmla="*/ 0 w 29"/>
                    <a:gd name="T7" fmla="*/ 25 h 29"/>
                    <a:gd name="T8" fmla="*/ 8 w 29"/>
                    <a:gd name="T9" fmla="*/ 28 h 29"/>
                    <a:gd name="T10" fmla="*/ 8 w 29"/>
                    <a:gd name="T11" fmla="*/ 29 h 29"/>
                    <a:gd name="T12" fmla="*/ 13 w 29"/>
                    <a:gd name="T13" fmla="*/ 26 h 29"/>
                    <a:gd name="T14" fmla="*/ 18 w 29"/>
                    <a:gd name="T15" fmla="*/ 22 h 29"/>
                    <a:gd name="T16" fmla="*/ 29 w 29"/>
                    <a:gd name="T17" fmla="*/ 11 h 29"/>
                    <a:gd name="T18" fmla="*/ 27 w 29"/>
                    <a:gd name="T19" fmla="*/ 8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9" h="29">
                      <a:moveTo>
                        <a:pt x="27" y="8"/>
                      </a:moveTo>
                      <a:cubicBezTo>
                        <a:pt x="27" y="6"/>
                        <a:pt x="5" y="0"/>
                        <a:pt x="5" y="0"/>
                      </a:cubicBezTo>
                      <a:cubicBezTo>
                        <a:pt x="5" y="0"/>
                        <a:pt x="6" y="8"/>
                        <a:pt x="6" y="13"/>
                      </a:cubicBezTo>
                      <a:cubicBezTo>
                        <a:pt x="7" y="19"/>
                        <a:pt x="0" y="22"/>
                        <a:pt x="0" y="25"/>
                      </a:cubicBezTo>
                      <a:cubicBezTo>
                        <a:pt x="0" y="28"/>
                        <a:pt x="8" y="28"/>
                        <a:pt x="8" y="28"/>
                      </a:cubicBezTo>
                      <a:cubicBezTo>
                        <a:pt x="8" y="29"/>
                        <a:pt x="8" y="29"/>
                        <a:pt x="8" y="29"/>
                      </a:cubicBezTo>
                      <a:cubicBezTo>
                        <a:pt x="11" y="28"/>
                        <a:pt x="13" y="27"/>
                        <a:pt x="13" y="26"/>
                      </a:cubicBezTo>
                      <a:cubicBezTo>
                        <a:pt x="13" y="26"/>
                        <a:pt x="17" y="22"/>
                        <a:pt x="18" y="22"/>
                      </a:cubicBezTo>
                      <a:cubicBezTo>
                        <a:pt x="19" y="21"/>
                        <a:pt x="25" y="16"/>
                        <a:pt x="29" y="11"/>
                      </a:cubicBezTo>
                      <a:cubicBezTo>
                        <a:pt x="28" y="10"/>
                        <a:pt x="27" y="8"/>
                        <a:pt x="27" y="8"/>
                      </a:cubicBezTo>
                      <a:close/>
                    </a:path>
                  </a:pathLst>
                </a:custGeom>
                <a:solidFill>
                  <a:srgbClr val="D2A578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3" name="Freeform 160">
                  <a:extLst>
                    <a:ext uri="{FF2B5EF4-FFF2-40B4-BE49-F238E27FC236}">
                      <a16:creationId xmlns:a16="http://schemas.microsoft.com/office/drawing/2014/main" id="{F0469740-23E7-4790-8B4C-C4732D8144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36595" y="5327496"/>
                  <a:ext cx="323344" cy="360652"/>
                </a:xfrm>
                <a:custGeom>
                  <a:avLst/>
                  <a:gdLst>
                    <a:gd name="T0" fmla="*/ 72 w 77"/>
                    <a:gd name="T1" fmla="*/ 71 h 86"/>
                    <a:gd name="T2" fmla="*/ 68 w 77"/>
                    <a:gd name="T3" fmla="*/ 60 h 86"/>
                    <a:gd name="T4" fmla="*/ 64 w 77"/>
                    <a:gd name="T5" fmla="*/ 49 h 86"/>
                    <a:gd name="T6" fmla="*/ 64 w 77"/>
                    <a:gd name="T7" fmla="*/ 49 h 86"/>
                    <a:gd name="T8" fmla="*/ 42 w 77"/>
                    <a:gd name="T9" fmla="*/ 58 h 86"/>
                    <a:gd name="T10" fmla="*/ 17 w 77"/>
                    <a:gd name="T11" fmla="*/ 55 h 86"/>
                    <a:gd name="T12" fmla="*/ 15 w 77"/>
                    <a:gd name="T13" fmla="*/ 51 h 86"/>
                    <a:gd name="T14" fmla="*/ 8 w 77"/>
                    <a:gd name="T15" fmla="*/ 0 h 86"/>
                    <a:gd name="T16" fmla="*/ 5 w 77"/>
                    <a:gd name="T17" fmla="*/ 6 h 86"/>
                    <a:gd name="T18" fmla="*/ 5 w 77"/>
                    <a:gd name="T19" fmla="*/ 22 h 86"/>
                    <a:gd name="T20" fmla="*/ 0 w 77"/>
                    <a:gd name="T21" fmla="*/ 16 h 86"/>
                    <a:gd name="T22" fmla="*/ 6 w 77"/>
                    <a:gd name="T23" fmla="*/ 28 h 86"/>
                    <a:gd name="T24" fmla="*/ 8 w 77"/>
                    <a:gd name="T25" fmla="*/ 60 h 86"/>
                    <a:gd name="T26" fmla="*/ 10 w 77"/>
                    <a:gd name="T27" fmla="*/ 59 h 86"/>
                    <a:gd name="T28" fmla="*/ 10 w 77"/>
                    <a:gd name="T29" fmla="*/ 52 h 86"/>
                    <a:gd name="T30" fmla="*/ 12 w 77"/>
                    <a:gd name="T31" fmla="*/ 65 h 86"/>
                    <a:gd name="T32" fmla="*/ 19 w 77"/>
                    <a:gd name="T33" fmla="*/ 75 h 86"/>
                    <a:gd name="T34" fmla="*/ 66 w 77"/>
                    <a:gd name="T35" fmla="*/ 83 h 86"/>
                    <a:gd name="T36" fmla="*/ 72 w 77"/>
                    <a:gd name="T37" fmla="*/ 71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7" h="86">
                      <a:moveTo>
                        <a:pt x="72" y="71"/>
                      </a:moveTo>
                      <a:cubicBezTo>
                        <a:pt x="72" y="71"/>
                        <a:pt x="69" y="67"/>
                        <a:pt x="68" y="60"/>
                      </a:cubicBezTo>
                      <a:cubicBezTo>
                        <a:pt x="68" y="54"/>
                        <a:pt x="65" y="50"/>
                        <a:pt x="64" y="49"/>
                      </a:cubicBezTo>
                      <a:cubicBezTo>
                        <a:pt x="64" y="49"/>
                        <a:pt x="64" y="49"/>
                        <a:pt x="64" y="49"/>
                      </a:cubicBezTo>
                      <a:cubicBezTo>
                        <a:pt x="62" y="53"/>
                        <a:pt x="49" y="58"/>
                        <a:pt x="42" y="58"/>
                      </a:cubicBezTo>
                      <a:cubicBezTo>
                        <a:pt x="35" y="58"/>
                        <a:pt x="17" y="55"/>
                        <a:pt x="17" y="55"/>
                      </a:cubicBezTo>
                      <a:cubicBezTo>
                        <a:pt x="15" y="51"/>
                        <a:pt x="15" y="51"/>
                        <a:pt x="15" y="51"/>
                      </a:cubicBezTo>
                      <a:cubicBezTo>
                        <a:pt x="11" y="45"/>
                        <a:pt x="8" y="0"/>
                        <a:pt x="8" y="0"/>
                      </a:cubicBezTo>
                      <a:cubicBezTo>
                        <a:pt x="8" y="0"/>
                        <a:pt x="5" y="2"/>
                        <a:pt x="5" y="6"/>
                      </a:cubicBezTo>
                      <a:cubicBezTo>
                        <a:pt x="5" y="10"/>
                        <a:pt x="6" y="23"/>
                        <a:pt x="5" y="22"/>
                      </a:cubicBezTo>
                      <a:cubicBezTo>
                        <a:pt x="5" y="21"/>
                        <a:pt x="1" y="14"/>
                        <a:pt x="0" y="16"/>
                      </a:cubicBezTo>
                      <a:cubicBezTo>
                        <a:pt x="0" y="18"/>
                        <a:pt x="2" y="22"/>
                        <a:pt x="6" y="28"/>
                      </a:cubicBezTo>
                      <a:cubicBezTo>
                        <a:pt x="9" y="35"/>
                        <a:pt x="8" y="60"/>
                        <a:pt x="8" y="60"/>
                      </a:cubicBezTo>
                      <a:cubicBezTo>
                        <a:pt x="10" y="59"/>
                        <a:pt x="10" y="59"/>
                        <a:pt x="10" y="59"/>
                      </a:cubicBezTo>
                      <a:cubicBezTo>
                        <a:pt x="10" y="52"/>
                        <a:pt x="10" y="52"/>
                        <a:pt x="10" y="52"/>
                      </a:cubicBezTo>
                      <a:cubicBezTo>
                        <a:pt x="11" y="53"/>
                        <a:pt x="12" y="59"/>
                        <a:pt x="12" y="65"/>
                      </a:cubicBezTo>
                      <a:cubicBezTo>
                        <a:pt x="12" y="71"/>
                        <a:pt x="15" y="73"/>
                        <a:pt x="19" y="75"/>
                      </a:cubicBezTo>
                      <a:cubicBezTo>
                        <a:pt x="22" y="76"/>
                        <a:pt x="56" y="86"/>
                        <a:pt x="66" y="83"/>
                      </a:cubicBezTo>
                      <a:cubicBezTo>
                        <a:pt x="77" y="81"/>
                        <a:pt x="72" y="71"/>
                        <a:pt x="72" y="71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4" name="Freeform 161">
                  <a:extLst>
                    <a:ext uri="{FF2B5EF4-FFF2-40B4-BE49-F238E27FC236}">
                      <a16:creationId xmlns:a16="http://schemas.microsoft.com/office/drawing/2014/main" id="{E4607731-C6EC-495F-99CA-C9714F8ACD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9791" y="5321278"/>
                  <a:ext cx="381971" cy="209641"/>
                </a:xfrm>
                <a:custGeom>
                  <a:avLst/>
                  <a:gdLst>
                    <a:gd name="T0" fmla="*/ 74 w 91"/>
                    <a:gd name="T1" fmla="*/ 33 h 50"/>
                    <a:gd name="T2" fmla="*/ 53 w 91"/>
                    <a:gd name="T3" fmla="*/ 25 h 50"/>
                    <a:gd name="T4" fmla="*/ 53 w 91"/>
                    <a:gd name="T5" fmla="*/ 25 h 50"/>
                    <a:gd name="T6" fmla="*/ 47 w 91"/>
                    <a:gd name="T7" fmla="*/ 28 h 50"/>
                    <a:gd name="T8" fmla="*/ 24 w 91"/>
                    <a:gd name="T9" fmla="*/ 25 h 50"/>
                    <a:gd name="T10" fmla="*/ 0 w 91"/>
                    <a:gd name="T11" fmla="*/ 0 h 50"/>
                    <a:gd name="T12" fmla="*/ 0 w 91"/>
                    <a:gd name="T13" fmla="*/ 5 h 50"/>
                    <a:gd name="T14" fmla="*/ 1 w 91"/>
                    <a:gd name="T15" fmla="*/ 18 h 50"/>
                    <a:gd name="T16" fmla="*/ 16 w 91"/>
                    <a:gd name="T17" fmla="*/ 40 h 50"/>
                    <a:gd name="T18" fmla="*/ 26 w 91"/>
                    <a:gd name="T19" fmla="*/ 49 h 50"/>
                    <a:gd name="T20" fmla="*/ 73 w 91"/>
                    <a:gd name="T21" fmla="*/ 49 h 50"/>
                    <a:gd name="T22" fmla="*/ 88 w 91"/>
                    <a:gd name="T23" fmla="*/ 43 h 50"/>
                    <a:gd name="T24" fmla="*/ 74 w 91"/>
                    <a:gd name="T25" fmla="*/ 33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" h="50">
                      <a:moveTo>
                        <a:pt x="74" y="33"/>
                      </a:moveTo>
                      <a:cubicBezTo>
                        <a:pt x="69" y="32"/>
                        <a:pt x="53" y="25"/>
                        <a:pt x="53" y="25"/>
                      </a:cubicBezTo>
                      <a:cubicBezTo>
                        <a:pt x="53" y="25"/>
                        <a:pt x="53" y="25"/>
                        <a:pt x="53" y="25"/>
                      </a:cubicBezTo>
                      <a:cubicBezTo>
                        <a:pt x="50" y="29"/>
                        <a:pt x="47" y="28"/>
                        <a:pt x="47" y="28"/>
                      </a:cubicBezTo>
                      <a:cubicBezTo>
                        <a:pt x="36" y="30"/>
                        <a:pt x="24" y="25"/>
                        <a:pt x="24" y="25"/>
                      </a:cubicBezTo>
                      <a:cubicBezTo>
                        <a:pt x="12" y="20"/>
                        <a:pt x="0" y="0"/>
                        <a:pt x="0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4" y="19"/>
                        <a:pt x="13" y="33"/>
                        <a:pt x="16" y="40"/>
                      </a:cubicBezTo>
                      <a:cubicBezTo>
                        <a:pt x="19" y="46"/>
                        <a:pt x="26" y="49"/>
                        <a:pt x="26" y="49"/>
                      </a:cubicBezTo>
                      <a:cubicBezTo>
                        <a:pt x="26" y="49"/>
                        <a:pt x="58" y="50"/>
                        <a:pt x="73" y="49"/>
                      </a:cubicBezTo>
                      <a:cubicBezTo>
                        <a:pt x="88" y="49"/>
                        <a:pt x="88" y="43"/>
                        <a:pt x="88" y="43"/>
                      </a:cubicBezTo>
                      <a:cubicBezTo>
                        <a:pt x="91" y="39"/>
                        <a:pt x="79" y="34"/>
                        <a:pt x="74" y="3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5" name="Freeform 162">
                  <a:extLst>
                    <a:ext uri="{FF2B5EF4-FFF2-40B4-BE49-F238E27FC236}">
                      <a16:creationId xmlns:a16="http://schemas.microsoft.com/office/drawing/2014/main" id="{308A4985-C41F-46FE-A61B-F799B0DAA4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31267" y="4480053"/>
                  <a:ext cx="461920" cy="1090841"/>
                </a:xfrm>
                <a:custGeom>
                  <a:avLst/>
                  <a:gdLst>
                    <a:gd name="T0" fmla="*/ 85 w 110"/>
                    <a:gd name="T1" fmla="*/ 190 h 260"/>
                    <a:gd name="T2" fmla="*/ 84 w 110"/>
                    <a:gd name="T3" fmla="*/ 148 h 260"/>
                    <a:gd name="T4" fmla="*/ 104 w 110"/>
                    <a:gd name="T5" fmla="*/ 48 h 260"/>
                    <a:gd name="T6" fmla="*/ 107 w 110"/>
                    <a:gd name="T7" fmla="*/ 2 h 260"/>
                    <a:gd name="T8" fmla="*/ 106 w 110"/>
                    <a:gd name="T9" fmla="*/ 2 h 260"/>
                    <a:gd name="T10" fmla="*/ 94 w 110"/>
                    <a:gd name="T11" fmla="*/ 3 h 260"/>
                    <a:gd name="T12" fmla="*/ 28 w 110"/>
                    <a:gd name="T13" fmla="*/ 0 h 260"/>
                    <a:gd name="T14" fmla="*/ 28 w 110"/>
                    <a:gd name="T15" fmla="*/ 0 h 260"/>
                    <a:gd name="T16" fmla="*/ 13 w 110"/>
                    <a:gd name="T17" fmla="*/ 46 h 260"/>
                    <a:gd name="T18" fmla="*/ 14 w 110"/>
                    <a:gd name="T19" fmla="*/ 124 h 260"/>
                    <a:gd name="T20" fmla="*/ 18 w 110"/>
                    <a:gd name="T21" fmla="*/ 174 h 260"/>
                    <a:gd name="T22" fmla="*/ 1 w 110"/>
                    <a:gd name="T23" fmla="*/ 218 h 260"/>
                    <a:gd name="T24" fmla="*/ 6 w 110"/>
                    <a:gd name="T25" fmla="*/ 224 h 260"/>
                    <a:gd name="T26" fmla="*/ 6 w 110"/>
                    <a:gd name="T27" fmla="*/ 208 h 260"/>
                    <a:gd name="T28" fmla="*/ 9 w 110"/>
                    <a:gd name="T29" fmla="*/ 202 h 260"/>
                    <a:gd name="T30" fmla="*/ 16 w 110"/>
                    <a:gd name="T31" fmla="*/ 253 h 260"/>
                    <a:gd name="T32" fmla="*/ 18 w 110"/>
                    <a:gd name="T33" fmla="*/ 257 h 260"/>
                    <a:gd name="T34" fmla="*/ 43 w 110"/>
                    <a:gd name="T35" fmla="*/ 260 h 260"/>
                    <a:gd name="T36" fmla="*/ 65 w 110"/>
                    <a:gd name="T37" fmla="*/ 251 h 260"/>
                    <a:gd name="T38" fmla="*/ 65 w 110"/>
                    <a:gd name="T39" fmla="*/ 251 h 260"/>
                    <a:gd name="T40" fmla="*/ 64 w 110"/>
                    <a:gd name="T41" fmla="*/ 248 h 260"/>
                    <a:gd name="T42" fmla="*/ 52 w 110"/>
                    <a:gd name="T43" fmla="*/ 211 h 260"/>
                    <a:gd name="T44" fmla="*/ 53 w 110"/>
                    <a:gd name="T45" fmla="*/ 205 h 260"/>
                    <a:gd name="T46" fmla="*/ 53 w 110"/>
                    <a:gd name="T47" fmla="*/ 201 h 260"/>
                    <a:gd name="T48" fmla="*/ 77 w 110"/>
                    <a:gd name="T49" fmla="*/ 226 h 260"/>
                    <a:gd name="T50" fmla="*/ 100 w 110"/>
                    <a:gd name="T51" fmla="*/ 229 h 260"/>
                    <a:gd name="T52" fmla="*/ 106 w 110"/>
                    <a:gd name="T53" fmla="*/ 226 h 260"/>
                    <a:gd name="T54" fmla="*/ 99 w 110"/>
                    <a:gd name="T55" fmla="*/ 214 h 260"/>
                    <a:gd name="T56" fmla="*/ 85 w 110"/>
                    <a:gd name="T57" fmla="*/ 190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0" h="260">
                      <a:moveTo>
                        <a:pt x="85" y="190"/>
                      </a:moveTo>
                      <a:cubicBezTo>
                        <a:pt x="81" y="185"/>
                        <a:pt x="78" y="174"/>
                        <a:pt x="84" y="148"/>
                      </a:cubicBezTo>
                      <a:cubicBezTo>
                        <a:pt x="90" y="122"/>
                        <a:pt x="103" y="61"/>
                        <a:pt x="104" y="48"/>
                      </a:cubicBezTo>
                      <a:cubicBezTo>
                        <a:pt x="105" y="35"/>
                        <a:pt x="110" y="19"/>
                        <a:pt x="107" y="2"/>
                      </a:cubicBezTo>
                      <a:cubicBezTo>
                        <a:pt x="107" y="2"/>
                        <a:pt x="107" y="2"/>
                        <a:pt x="106" y="2"/>
                      </a:cubicBezTo>
                      <a:cubicBezTo>
                        <a:pt x="104" y="3"/>
                        <a:pt x="99" y="3"/>
                        <a:pt x="94" y="3"/>
                      </a:cubicBezTo>
                      <a:cubicBezTo>
                        <a:pt x="85" y="2"/>
                        <a:pt x="36" y="2"/>
                        <a:pt x="28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6" y="5"/>
                        <a:pt x="14" y="35"/>
                        <a:pt x="13" y="46"/>
                      </a:cubicBezTo>
                      <a:cubicBezTo>
                        <a:pt x="11" y="57"/>
                        <a:pt x="12" y="108"/>
                        <a:pt x="14" y="124"/>
                      </a:cubicBezTo>
                      <a:cubicBezTo>
                        <a:pt x="16" y="141"/>
                        <a:pt x="21" y="159"/>
                        <a:pt x="18" y="174"/>
                      </a:cubicBezTo>
                      <a:cubicBezTo>
                        <a:pt x="16" y="189"/>
                        <a:pt x="0" y="215"/>
                        <a:pt x="1" y="218"/>
                      </a:cubicBezTo>
                      <a:cubicBezTo>
                        <a:pt x="2" y="216"/>
                        <a:pt x="6" y="223"/>
                        <a:pt x="6" y="224"/>
                      </a:cubicBezTo>
                      <a:cubicBezTo>
                        <a:pt x="7" y="225"/>
                        <a:pt x="6" y="212"/>
                        <a:pt x="6" y="208"/>
                      </a:cubicBezTo>
                      <a:cubicBezTo>
                        <a:pt x="6" y="204"/>
                        <a:pt x="9" y="202"/>
                        <a:pt x="9" y="202"/>
                      </a:cubicBezTo>
                      <a:cubicBezTo>
                        <a:pt x="9" y="202"/>
                        <a:pt x="12" y="247"/>
                        <a:pt x="16" y="253"/>
                      </a:cubicBezTo>
                      <a:cubicBezTo>
                        <a:pt x="18" y="257"/>
                        <a:pt x="18" y="257"/>
                        <a:pt x="18" y="257"/>
                      </a:cubicBezTo>
                      <a:cubicBezTo>
                        <a:pt x="18" y="257"/>
                        <a:pt x="36" y="260"/>
                        <a:pt x="43" y="260"/>
                      </a:cubicBezTo>
                      <a:cubicBezTo>
                        <a:pt x="50" y="260"/>
                        <a:pt x="63" y="255"/>
                        <a:pt x="65" y="251"/>
                      </a:cubicBezTo>
                      <a:cubicBezTo>
                        <a:pt x="65" y="251"/>
                        <a:pt x="65" y="251"/>
                        <a:pt x="65" y="251"/>
                      </a:cubicBezTo>
                      <a:cubicBezTo>
                        <a:pt x="65" y="250"/>
                        <a:pt x="64" y="249"/>
                        <a:pt x="64" y="248"/>
                      </a:cubicBezTo>
                      <a:cubicBezTo>
                        <a:pt x="59" y="240"/>
                        <a:pt x="51" y="224"/>
                        <a:pt x="52" y="211"/>
                      </a:cubicBezTo>
                      <a:cubicBezTo>
                        <a:pt x="52" y="208"/>
                        <a:pt x="53" y="198"/>
                        <a:pt x="53" y="205"/>
                      </a:cubicBezTo>
                      <a:cubicBezTo>
                        <a:pt x="53" y="205"/>
                        <a:pt x="53" y="201"/>
                        <a:pt x="53" y="201"/>
                      </a:cubicBezTo>
                      <a:cubicBezTo>
                        <a:pt x="53" y="201"/>
                        <a:pt x="65" y="221"/>
                        <a:pt x="77" y="226"/>
                      </a:cubicBezTo>
                      <a:cubicBezTo>
                        <a:pt x="77" y="226"/>
                        <a:pt x="89" y="231"/>
                        <a:pt x="100" y="229"/>
                      </a:cubicBezTo>
                      <a:cubicBezTo>
                        <a:pt x="100" y="229"/>
                        <a:pt x="103" y="230"/>
                        <a:pt x="106" y="226"/>
                      </a:cubicBezTo>
                      <a:cubicBezTo>
                        <a:pt x="104" y="224"/>
                        <a:pt x="101" y="220"/>
                        <a:pt x="99" y="214"/>
                      </a:cubicBezTo>
                      <a:cubicBezTo>
                        <a:pt x="94" y="204"/>
                        <a:pt x="89" y="194"/>
                        <a:pt x="85" y="190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6" name="Freeform 164">
                  <a:extLst>
                    <a:ext uri="{FF2B5EF4-FFF2-40B4-BE49-F238E27FC236}">
                      <a16:creationId xmlns:a16="http://schemas.microsoft.com/office/drawing/2014/main" id="{487B4AF0-9BC4-44DE-88E4-F8023E72A1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22893" y="3506469"/>
                  <a:ext cx="763944" cy="986020"/>
                </a:xfrm>
                <a:custGeom>
                  <a:avLst/>
                  <a:gdLst>
                    <a:gd name="T0" fmla="*/ 180 w 182"/>
                    <a:gd name="T1" fmla="*/ 31 h 235"/>
                    <a:gd name="T2" fmla="*/ 181 w 182"/>
                    <a:gd name="T3" fmla="*/ 15 h 235"/>
                    <a:gd name="T4" fmla="*/ 181 w 182"/>
                    <a:gd name="T5" fmla="*/ 15 h 235"/>
                    <a:gd name="T6" fmla="*/ 165 w 182"/>
                    <a:gd name="T7" fmla="*/ 16 h 235"/>
                    <a:gd name="T8" fmla="*/ 126 w 182"/>
                    <a:gd name="T9" fmla="*/ 6 h 235"/>
                    <a:gd name="T10" fmla="*/ 78 w 182"/>
                    <a:gd name="T11" fmla="*/ 2 h 235"/>
                    <a:gd name="T12" fmla="*/ 9 w 182"/>
                    <a:gd name="T13" fmla="*/ 7 h 235"/>
                    <a:gd name="T14" fmla="*/ 0 w 182"/>
                    <a:gd name="T15" fmla="*/ 10 h 235"/>
                    <a:gd name="T16" fmla="*/ 0 w 182"/>
                    <a:gd name="T17" fmla="*/ 12 h 235"/>
                    <a:gd name="T18" fmla="*/ 4 w 182"/>
                    <a:gd name="T19" fmla="*/ 43 h 235"/>
                    <a:gd name="T20" fmla="*/ 14 w 182"/>
                    <a:gd name="T21" fmla="*/ 84 h 235"/>
                    <a:gd name="T22" fmla="*/ 23 w 182"/>
                    <a:gd name="T23" fmla="*/ 139 h 235"/>
                    <a:gd name="T24" fmla="*/ 26 w 182"/>
                    <a:gd name="T25" fmla="*/ 182 h 235"/>
                    <a:gd name="T26" fmla="*/ 26 w 182"/>
                    <a:gd name="T27" fmla="*/ 209 h 235"/>
                    <a:gd name="T28" fmla="*/ 28 w 182"/>
                    <a:gd name="T29" fmla="*/ 223 h 235"/>
                    <a:gd name="T30" fmla="*/ 54 w 182"/>
                    <a:gd name="T31" fmla="*/ 232 h 235"/>
                    <a:gd name="T32" fmla="*/ 54 w 182"/>
                    <a:gd name="T33" fmla="*/ 232 h 235"/>
                    <a:gd name="T34" fmla="*/ 120 w 182"/>
                    <a:gd name="T35" fmla="*/ 235 h 235"/>
                    <a:gd name="T36" fmla="*/ 132 w 182"/>
                    <a:gd name="T37" fmla="*/ 234 h 235"/>
                    <a:gd name="T38" fmla="*/ 143 w 182"/>
                    <a:gd name="T39" fmla="*/ 229 h 235"/>
                    <a:gd name="T40" fmla="*/ 146 w 182"/>
                    <a:gd name="T41" fmla="*/ 228 h 235"/>
                    <a:gd name="T42" fmla="*/ 154 w 182"/>
                    <a:gd name="T43" fmla="*/ 188 h 235"/>
                    <a:gd name="T44" fmla="*/ 171 w 182"/>
                    <a:gd name="T45" fmla="*/ 122 h 235"/>
                    <a:gd name="T46" fmla="*/ 179 w 182"/>
                    <a:gd name="T47" fmla="*/ 85 h 235"/>
                    <a:gd name="T48" fmla="*/ 180 w 182"/>
                    <a:gd name="T49" fmla="*/ 72 h 235"/>
                    <a:gd name="T50" fmla="*/ 180 w 182"/>
                    <a:gd name="T51" fmla="*/ 31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82" h="235">
                      <a:moveTo>
                        <a:pt x="180" y="31"/>
                      </a:moveTo>
                      <a:cubicBezTo>
                        <a:pt x="180" y="24"/>
                        <a:pt x="182" y="17"/>
                        <a:pt x="181" y="15"/>
                      </a:cubicBezTo>
                      <a:cubicBezTo>
                        <a:pt x="181" y="15"/>
                        <a:pt x="181" y="15"/>
                        <a:pt x="181" y="15"/>
                      </a:cubicBezTo>
                      <a:cubicBezTo>
                        <a:pt x="181" y="13"/>
                        <a:pt x="177" y="19"/>
                        <a:pt x="165" y="16"/>
                      </a:cubicBezTo>
                      <a:cubicBezTo>
                        <a:pt x="154" y="12"/>
                        <a:pt x="132" y="8"/>
                        <a:pt x="126" y="6"/>
                      </a:cubicBezTo>
                      <a:cubicBezTo>
                        <a:pt x="120" y="5"/>
                        <a:pt x="107" y="0"/>
                        <a:pt x="78" y="2"/>
                      </a:cubicBezTo>
                      <a:cubicBezTo>
                        <a:pt x="49" y="5"/>
                        <a:pt x="17" y="4"/>
                        <a:pt x="9" y="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10"/>
                        <a:pt x="0" y="11"/>
                        <a:pt x="0" y="12"/>
                      </a:cubicBezTo>
                      <a:cubicBezTo>
                        <a:pt x="0" y="17"/>
                        <a:pt x="2" y="36"/>
                        <a:pt x="4" y="43"/>
                      </a:cubicBezTo>
                      <a:cubicBezTo>
                        <a:pt x="5" y="50"/>
                        <a:pt x="12" y="73"/>
                        <a:pt x="14" y="84"/>
                      </a:cubicBezTo>
                      <a:cubicBezTo>
                        <a:pt x="16" y="95"/>
                        <a:pt x="23" y="123"/>
                        <a:pt x="23" y="139"/>
                      </a:cubicBezTo>
                      <a:cubicBezTo>
                        <a:pt x="24" y="155"/>
                        <a:pt x="26" y="182"/>
                        <a:pt x="26" y="182"/>
                      </a:cubicBezTo>
                      <a:cubicBezTo>
                        <a:pt x="26" y="182"/>
                        <a:pt x="27" y="203"/>
                        <a:pt x="26" y="209"/>
                      </a:cubicBezTo>
                      <a:cubicBezTo>
                        <a:pt x="25" y="214"/>
                        <a:pt x="24" y="220"/>
                        <a:pt x="28" y="223"/>
                      </a:cubicBezTo>
                      <a:cubicBezTo>
                        <a:pt x="30" y="225"/>
                        <a:pt x="44" y="229"/>
                        <a:pt x="54" y="232"/>
                      </a:cubicBezTo>
                      <a:cubicBezTo>
                        <a:pt x="54" y="232"/>
                        <a:pt x="54" y="232"/>
                        <a:pt x="54" y="232"/>
                      </a:cubicBezTo>
                      <a:cubicBezTo>
                        <a:pt x="62" y="234"/>
                        <a:pt x="111" y="234"/>
                        <a:pt x="120" y="235"/>
                      </a:cubicBezTo>
                      <a:cubicBezTo>
                        <a:pt x="125" y="235"/>
                        <a:pt x="130" y="235"/>
                        <a:pt x="132" y="234"/>
                      </a:cubicBezTo>
                      <a:cubicBezTo>
                        <a:pt x="136" y="233"/>
                        <a:pt x="140" y="231"/>
                        <a:pt x="143" y="229"/>
                      </a:cubicBezTo>
                      <a:cubicBezTo>
                        <a:pt x="146" y="228"/>
                        <a:pt x="146" y="228"/>
                        <a:pt x="146" y="228"/>
                      </a:cubicBezTo>
                      <a:cubicBezTo>
                        <a:pt x="146" y="228"/>
                        <a:pt x="149" y="205"/>
                        <a:pt x="154" y="188"/>
                      </a:cubicBezTo>
                      <a:cubicBezTo>
                        <a:pt x="158" y="171"/>
                        <a:pt x="170" y="130"/>
                        <a:pt x="171" y="122"/>
                      </a:cubicBezTo>
                      <a:cubicBezTo>
                        <a:pt x="172" y="115"/>
                        <a:pt x="179" y="90"/>
                        <a:pt x="179" y="85"/>
                      </a:cubicBezTo>
                      <a:cubicBezTo>
                        <a:pt x="179" y="81"/>
                        <a:pt x="180" y="83"/>
                        <a:pt x="180" y="72"/>
                      </a:cubicBezTo>
                      <a:cubicBezTo>
                        <a:pt x="179" y="61"/>
                        <a:pt x="179" y="38"/>
                        <a:pt x="180" y="3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7" name="Freeform 167">
                  <a:extLst>
                    <a:ext uri="{FF2B5EF4-FFF2-40B4-BE49-F238E27FC236}">
                      <a16:creationId xmlns:a16="http://schemas.microsoft.com/office/drawing/2014/main" id="{2A3AD134-D09C-41D8-B0A3-B47BB9E383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62736" y="2037145"/>
                  <a:ext cx="394135" cy="620101"/>
                </a:xfrm>
                <a:custGeom>
                  <a:avLst/>
                  <a:gdLst>
                    <a:gd name="T0" fmla="*/ 12 w 93"/>
                    <a:gd name="T1" fmla="*/ 75 h 148"/>
                    <a:gd name="T2" fmla="*/ 15 w 93"/>
                    <a:gd name="T3" fmla="*/ 79 h 148"/>
                    <a:gd name="T4" fmla="*/ 56 w 93"/>
                    <a:gd name="T5" fmla="*/ 123 h 148"/>
                    <a:gd name="T6" fmla="*/ 84 w 93"/>
                    <a:gd name="T7" fmla="*/ 148 h 148"/>
                    <a:gd name="T8" fmla="*/ 81 w 93"/>
                    <a:gd name="T9" fmla="*/ 142 h 148"/>
                    <a:gd name="T10" fmla="*/ 61 w 93"/>
                    <a:gd name="T11" fmla="*/ 117 h 148"/>
                    <a:gd name="T12" fmla="*/ 63 w 93"/>
                    <a:gd name="T13" fmla="*/ 107 h 148"/>
                    <a:gd name="T14" fmla="*/ 63 w 93"/>
                    <a:gd name="T15" fmla="*/ 105 h 148"/>
                    <a:gd name="T16" fmla="*/ 63 w 93"/>
                    <a:gd name="T17" fmla="*/ 97 h 148"/>
                    <a:gd name="T18" fmla="*/ 84 w 93"/>
                    <a:gd name="T19" fmla="*/ 78 h 148"/>
                    <a:gd name="T20" fmla="*/ 93 w 93"/>
                    <a:gd name="T21" fmla="*/ 51 h 148"/>
                    <a:gd name="T22" fmla="*/ 93 w 93"/>
                    <a:gd name="T23" fmla="*/ 31 h 148"/>
                    <a:gd name="T24" fmla="*/ 91 w 93"/>
                    <a:gd name="T25" fmla="*/ 20 h 148"/>
                    <a:gd name="T26" fmla="*/ 87 w 93"/>
                    <a:gd name="T27" fmla="*/ 21 h 148"/>
                    <a:gd name="T28" fmla="*/ 87 w 93"/>
                    <a:gd name="T29" fmla="*/ 15 h 148"/>
                    <a:gd name="T30" fmla="*/ 86 w 93"/>
                    <a:gd name="T31" fmla="*/ 0 h 148"/>
                    <a:gd name="T32" fmla="*/ 71 w 93"/>
                    <a:gd name="T33" fmla="*/ 23 h 148"/>
                    <a:gd name="T34" fmla="*/ 73 w 93"/>
                    <a:gd name="T35" fmla="*/ 18 h 148"/>
                    <a:gd name="T36" fmla="*/ 67 w 93"/>
                    <a:gd name="T37" fmla="*/ 22 h 148"/>
                    <a:gd name="T38" fmla="*/ 72 w 93"/>
                    <a:gd name="T39" fmla="*/ 12 h 148"/>
                    <a:gd name="T40" fmla="*/ 55 w 93"/>
                    <a:gd name="T41" fmla="*/ 21 h 148"/>
                    <a:gd name="T42" fmla="*/ 41 w 93"/>
                    <a:gd name="T43" fmla="*/ 22 h 148"/>
                    <a:gd name="T44" fmla="*/ 45 w 93"/>
                    <a:gd name="T45" fmla="*/ 12 h 148"/>
                    <a:gd name="T46" fmla="*/ 26 w 93"/>
                    <a:gd name="T47" fmla="*/ 28 h 148"/>
                    <a:gd name="T48" fmla="*/ 17 w 93"/>
                    <a:gd name="T49" fmla="*/ 38 h 148"/>
                    <a:gd name="T50" fmla="*/ 9 w 93"/>
                    <a:gd name="T51" fmla="*/ 30 h 148"/>
                    <a:gd name="T52" fmla="*/ 5 w 93"/>
                    <a:gd name="T53" fmla="*/ 25 h 148"/>
                    <a:gd name="T54" fmla="*/ 0 w 93"/>
                    <a:gd name="T55" fmla="*/ 30 h 148"/>
                    <a:gd name="T56" fmla="*/ 5 w 93"/>
                    <a:gd name="T57" fmla="*/ 47 h 148"/>
                    <a:gd name="T58" fmla="*/ 12 w 93"/>
                    <a:gd name="T59" fmla="*/ 55 h 148"/>
                    <a:gd name="T60" fmla="*/ 12 w 93"/>
                    <a:gd name="T61" fmla="*/ 64 h 148"/>
                    <a:gd name="T62" fmla="*/ 11 w 93"/>
                    <a:gd name="T63" fmla="*/ 74 h 148"/>
                    <a:gd name="T64" fmla="*/ 12 w 93"/>
                    <a:gd name="T65" fmla="*/ 75 h 148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4409 w 10000"/>
                    <a:gd name="connsiteY21" fmla="*/ 1486 h 10000"/>
                    <a:gd name="connsiteX22" fmla="*/ 4839 w 10000"/>
                    <a:gd name="connsiteY22" fmla="*/ 811 h 10000"/>
                    <a:gd name="connsiteX23" fmla="*/ 2796 w 10000"/>
                    <a:gd name="connsiteY23" fmla="*/ 1892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4409 w 10000"/>
                    <a:gd name="connsiteY21" fmla="*/ 1486 h 10000"/>
                    <a:gd name="connsiteX22" fmla="*/ 4839 w 10000"/>
                    <a:gd name="connsiteY22" fmla="*/ 811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5094 w 10000"/>
                    <a:gd name="connsiteY21" fmla="*/ 1185 h 10000"/>
                    <a:gd name="connsiteX22" fmla="*/ 4839 w 10000"/>
                    <a:gd name="connsiteY22" fmla="*/ 811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5094 w 10000"/>
                    <a:gd name="connsiteY21" fmla="*/ 1185 h 10000"/>
                    <a:gd name="connsiteX22" fmla="*/ 4770 w 10000"/>
                    <a:gd name="connsiteY22" fmla="*/ 639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6393 w 10000"/>
                    <a:gd name="connsiteY20" fmla="*/ 1161 h 10000"/>
                    <a:gd name="connsiteX21" fmla="*/ 5094 w 10000"/>
                    <a:gd name="connsiteY21" fmla="*/ 1185 h 10000"/>
                    <a:gd name="connsiteX22" fmla="*/ 4770 w 10000"/>
                    <a:gd name="connsiteY22" fmla="*/ 639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200"/>
                    <a:gd name="connsiteY0" fmla="*/ 5068 h 10000"/>
                    <a:gd name="connsiteX1" fmla="*/ 1613 w 10200"/>
                    <a:gd name="connsiteY1" fmla="*/ 5338 h 10000"/>
                    <a:gd name="connsiteX2" fmla="*/ 6022 w 10200"/>
                    <a:gd name="connsiteY2" fmla="*/ 8311 h 10000"/>
                    <a:gd name="connsiteX3" fmla="*/ 9032 w 10200"/>
                    <a:gd name="connsiteY3" fmla="*/ 10000 h 10000"/>
                    <a:gd name="connsiteX4" fmla="*/ 8710 w 10200"/>
                    <a:gd name="connsiteY4" fmla="*/ 9595 h 10000"/>
                    <a:gd name="connsiteX5" fmla="*/ 6559 w 10200"/>
                    <a:gd name="connsiteY5" fmla="*/ 7905 h 10000"/>
                    <a:gd name="connsiteX6" fmla="*/ 6774 w 10200"/>
                    <a:gd name="connsiteY6" fmla="*/ 7230 h 10000"/>
                    <a:gd name="connsiteX7" fmla="*/ 6774 w 10200"/>
                    <a:gd name="connsiteY7" fmla="*/ 7095 h 10000"/>
                    <a:gd name="connsiteX8" fmla="*/ 6774 w 10200"/>
                    <a:gd name="connsiteY8" fmla="*/ 6554 h 10000"/>
                    <a:gd name="connsiteX9" fmla="*/ 9032 w 10200"/>
                    <a:gd name="connsiteY9" fmla="*/ 5270 h 10000"/>
                    <a:gd name="connsiteX10" fmla="*/ 10000 w 10200"/>
                    <a:gd name="connsiteY10" fmla="*/ 3446 h 10000"/>
                    <a:gd name="connsiteX11" fmla="*/ 10000 w 10200"/>
                    <a:gd name="connsiteY11" fmla="*/ 2095 h 10000"/>
                    <a:gd name="connsiteX12" fmla="*/ 10127 w 10200"/>
                    <a:gd name="connsiteY12" fmla="*/ 1265 h 10000"/>
                    <a:gd name="connsiteX13" fmla="*/ 9355 w 10200"/>
                    <a:gd name="connsiteY13" fmla="*/ 1419 h 10000"/>
                    <a:gd name="connsiteX14" fmla="*/ 9355 w 10200"/>
                    <a:gd name="connsiteY14" fmla="*/ 1014 h 10000"/>
                    <a:gd name="connsiteX15" fmla="*/ 9247 w 10200"/>
                    <a:gd name="connsiteY15" fmla="*/ 0 h 10000"/>
                    <a:gd name="connsiteX16" fmla="*/ 7634 w 10200"/>
                    <a:gd name="connsiteY16" fmla="*/ 1554 h 10000"/>
                    <a:gd name="connsiteX17" fmla="*/ 7849 w 10200"/>
                    <a:gd name="connsiteY17" fmla="*/ 1216 h 10000"/>
                    <a:gd name="connsiteX18" fmla="*/ 7204 w 10200"/>
                    <a:gd name="connsiteY18" fmla="*/ 1486 h 10000"/>
                    <a:gd name="connsiteX19" fmla="*/ 7742 w 10200"/>
                    <a:gd name="connsiteY19" fmla="*/ 811 h 10000"/>
                    <a:gd name="connsiteX20" fmla="*/ 6393 w 10200"/>
                    <a:gd name="connsiteY20" fmla="*/ 1161 h 10000"/>
                    <a:gd name="connsiteX21" fmla="*/ 5094 w 10200"/>
                    <a:gd name="connsiteY21" fmla="*/ 1185 h 10000"/>
                    <a:gd name="connsiteX22" fmla="*/ 4770 w 10200"/>
                    <a:gd name="connsiteY22" fmla="*/ 639 h 10000"/>
                    <a:gd name="connsiteX23" fmla="*/ 3070 w 10200"/>
                    <a:gd name="connsiteY23" fmla="*/ 1591 h 10000"/>
                    <a:gd name="connsiteX24" fmla="*/ 1828 w 10200"/>
                    <a:gd name="connsiteY24" fmla="*/ 1966 h 10000"/>
                    <a:gd name="connsiteX25" fmla="*/ 968 w 10200"/>
                    <a:gd name="connsiteY25" fmla="*/ 2027 h 10000"/>
                    <a:gd name="connsiteX26" fmla="*/ 538 w 10200"/>
                    <a:gd name="connsiteY26" fmla="*/ 1689 h 10000"/>
                    <a:gd name="connsiteX27" fmla="*/ 0 w 10200"/>
                    <a:gd name="connsiteY27" fmla="*/ 2027 h 10000"/>
                    <a:gd name="connsiteX28" fmla="*/ 538 w 10200"/>
                    <a:gd name="connsiteY28" fmla="*/ 3176 h 10000"/>
                    <a:gd name="connsiteX29" fmla="*/ 1290 w 10200"/>
                    <a:gd name="connsiteY29" fmla="*/ 3716 h 10000"/>
                    <a:gd name="connsiteX30" fmla="*/ 1290 w 10200"/>
                    <a:gd name="connsiteY30" fmla="*/ 4324 h 10000"/>
                    <a:gd name="connsiteX31" fmla="*/ 1183 w 10200"/>
                    <a:gd name="connsiteY31" fmla="*/ 5000 h 10000"/>
                    <a:gd name="connsiteX32" fmla="*/ 1290 w 10200"/>
                    <a:gd name="connsiteY32" fmla="*/ 5068 h 10000"/>
                    <a:gd name="connsiteX0" fmla="*/ 1290 w 10130"/>
                    <a:gd name="connsiteY0" fmla="*/ 5068 h 10000"/>
                    <a:gd name="connsiteX1" fmla="*/ 1613 w 10130"/>
                    <a:gd name="connsiteY1" fmla="*/ 5338 h 10000"/>
                    <a:gd name="connsiteX2" fmla="*/ 6022 w 10130"/>
                    <a:gd name="connsiteY2" fmla="*/ 8311 h 10000"/>
                    <a:gd name="connsiteX3" fmla="*/ 9032 w 10130"/>
                    <a:gd name="connsiteY3" fmla="*/ 10000 h 10000"/>
                    <a:gd name="connsiteX4" fmla="*/ 8710 w 10130"/>
                    <a:gd name="connsiteY4" fmla="*/ 9595 h 10000"/>
                    <a:gd name="connsiteX5" fmla="*/ 6559 w 10130"/>
                    <a:gd name="connsiteY5" fmla="*/ 7905 h 10000"/>
                    <a:gd name="connsiteX6" fmla="*/ 6774 w 10130"/>
                    <a:gd name="connsiteY6" fmla="*/ 7230 h 10000"/>
                    <a:gd name="connsiteX7" fmla="*/ 6774 w 10130"/>
                    <a:gd name="connsiteY7" fmla="*/ 7095 h 10000"/>
                    <a:gd name="connsiteX8" fmla="*/ 6774 w 10130"/>
                    <a:gd name="connsiteY8" fmla="*/ 6554 h 10000"/>
                    <a:gd name="connsiteX9" fmla="*/ 9032 w 10130"/>
                    <a:gd name="connsiteY9" fmla="*/ 5270 h 10000"/>
                    <a:gd name="connsiteX10" fmla="*/ 10000 w 10130"/>
                    <a:gd name="connsiteY10" fmla="*/ 3446 h 10000"/>
                    <a:gd name="connsiteX11" fmla="*/ 10000 w 10130"/>
                    <a:gd name="connsiteY11" fmla="*/ 2095 h 10000"/>
                    <a:gd name="connsiteX12" fmla="*/ 10127 w 10130"/>
                    <a:gd name="connsiteY12" fmla="*/ 1265 h 10000"/>
                    <a:gd name="connsiteX13" fmla="*/ 9834 w 10130"/>
                    <a:gd name="connsiteY13" fmla="*/ 1161 h 10000"/>
                    <a:gd name="connsiteX14" fmla="*/ 9355 w 10130"/>
                    <a:gd name="connsiteY14" fmla="*/ 1014 h 10000"/>
                    <a:gd name="connsiteX15" fmla="*/ 9247 w 10130"/>
                    <a:gd name="connsiteY15" fmla="*/ 0 h 10000"/>
                    <a:gd name="connsiteX16" fmla="*/ 7634 w 10130"/>
                    <a:gd name="connsiteY16" fmla="*/ 1554 h 10000"/>
                    <a:gd name="connsiteX17" fmla="*/ 7849 w 10130"/>
                    <a:gd name="connsiteY17" fmla="*/ 1216 h 10000"/>
                    <a:gd name="connsiteX18" fmla="*/ 7204 w 10130"/>
                    <a:gd name="connsiteY18" fmla="*/ 1486 h 10000"/>
                    <a:gd name="connsiteX19" fmla="*/ 7742 w 10130"/>
                    <a:gd name="connsiteY19" fmla="*/ 811 h 10000"/>
                    <a:gd name="connsiteX20" fmla="*/ 6393 w 10130"/>
                    <a:gd name="connsiteY20" fmla="*/ 1161 h 10000"/>
                    <a:gd name="connsiteX21" fmla="*/ 5094 w 10130"/>
                    <a:gd name="connsiteY21" fmla="*/ 1185 h 10000"/>
                    <a:gd name="connsiteX22" fmla="*/ 4770 w 10130"/>
                    <a:gd name="connsiteY22" fmla="*/ 639 h 10000"/>
                    <a:gd name="connsiteX23" fmla="*/ 3070 w 10130"/>
                    <a:gd name="connsiteY23" fmla="*/ 1591 h 10000"/>
                    <a:gd name="connsiteX24" fmla="*/ 1828 w 10130"/>
                    <a:gd name="connsiteY24" fmla="*/ 1966 h 10000"/>
                    <a:gd name="connsiteX25" fmla="*/ 968 w 10130"/>
                    <a:gd name="connsiteY25" fmla="*/ 2027 h 10000"/>
                    <a:gd name="connsiteX26" fmla="*/ 538 w 10130"/>
                    <a:gd name="connsiteY26" fmla="*/ 1689 h 10000"/>
                    <a:gd name="connsiteX27" fmla="*/ 0 w 10130"/>
                    <a:gd name="connsiteY27" fmla="*/ 2027 h 10000"/>
                    <a:gd name="connsiteX28" fmla="*/ 538 w 10130"/>
                    <a:gd name="connsiteY28" fmla="*/ 3176 h 10000"/>
                    <a:gd name="connsiteX29" fmla="*/ 1290 w 10130"/>
                    <a:gd name="connsiteY29" fmla="*/ 3716 h 10000"/>
                    <a:gd name="connsiteX30" fmla="*/ 1290 w 10130"/>
                    <a:gd name="connsiteY30" fmla="*/ 4324 h 10000"/>
                    <a:gd name="connsiteX31" fmla="*/ 1183 w 10130"/>
                    <a:gd name="connsiteY31" fmla="*/ 5000 h 10000"/>
                    <a:gd name="connsiteX32" fmla="*/ 1290 w 10130"/>
                    <a:gd name="connsiteY32" fmla="*/ 5068 h 10000"/>
                    <a:gd name="connsiteX0" fmla="*/ 1290 w 10130"/>
                    <a:gd name="connsiteY0" fmla="*/ 5085 h 10017"/>
                    <a:gd name="connsiteX1" fmla="*/ 1613 w 10130"/>
                    <a:gd name="connsiteY1" fmla="*/ 5355 h 10017"/>
                    <a:gd name="connsiteX2" fmla="*/ 6022 w 10130"/>
                    <a:gd name="connsiteY2" fmla="*/ 8328 h 10017"/>
                    <a:gd name="connsiteX3" fmla="*/ 9032 w 10130"/>
                    <a:gd name="connsiteY3" fmla="*/ 10017 h 10017"/>
                    <a:gd name="connsiteX4" fmla="*/ 8710 w 10130"/>
                    <a:gd name="connsiteY4" fmla="*/ 9612 h 10017"/>
                    <a:gd name="connsiteX5" fmla="*/ 6559 w 10130"/>
                    <a:gd name="connsiteY5" fmla="*/ 7922 h 10017"/>
                    <a:gd name="connsiteX6" fmla="*/ 6774 w 10130"/>
                    <a:gd name="connsiteY6" fmla="*/ 7247 h 10017"/>
                    <a:gd name="connsiteX7" fmla="*/ 6774 w 10130"/>
                    <a:gd name="connsiteY7" fmla="*/ 7112 h 10017"/>
                    <a:gd name="connsiteX8" fmla="*/ 6774 w 10130"/>
                    <a:gd name="connsiteY8" fmla="*/ 6571 h 10017"/>
                    <a:gd name="connsiteX9" fmla="*/ 9032 w 10130"/>
                    <a:gd name="connsiteY9" fmla="*/ 5287 h 10017"/>
                    <a:gd name="connsiteX10" fmla="*/ 10000 w 10130"/>
                    <a:gd name="connsiteY10" fmla="*/ 3463 h 10017"/>
                    <a:gd name="connsiteX11" fmla="*/ 10000 w 10130"/>
                    <a:gd name="connsiteY11" fmla="*/ 2112 h 10017"/>
                    <a:gd name="connsiteX12" fmla="*/ 10127 w 10130"/>
                    <a:gd name="connsiteY12" fmla="*/ 1282 h 10017"/>
                    <a:gd name="connsiteX13" fmla="*/ 9834 w 10130"/>
                    <a:gd name="connsiteY13" fmla="*/ 1178 h 10017"/>
                    <a:gd name="connsiteX14" fmla="*/ 9834 w 10130"/>
                    <a:gd name="connsiteY14" fmla="*/ 816 h 10017"/>
                    <a:gd name="connsiteX15" fmla="*/ 9247 w 10130"/>
                    <a:gd name="connsiteY15" fmla="*/ 17 h 10017"/>
                    <a:gd name="connsiteX16" fmla="*/ 7634 w 10130"/>
                    <a:gd name="connsiteY16" fmla="*/ 1571 h 10017"/>
                    <a:gd name="connsiteX17" fmla="*/ 7849 w 10130"/>
                    <a:gd name="connsiteY17" fmla="*/ 1233 h 10017"/>
                    <a:gd name="connsiteX18" fmla="*/ 7204 w 10130"/>
                    <a:gd name="connsiteY18" fmla="*/ 1503 h 10017"/>
                    <a:gd name="connsiteX19" fmla="*/ 7742 w 10130"/>
                    <a:gd name="connsiteY19" fmla="*/ 828 h 10017"/>
                    <a:gd name="connsiteX20" fmla="*/ 6393 w 10130"/>
                    <a:gd name="connsiteY20" fmla="*/ 1178 h 10017"/>
                    <a:gd name="connsiteX21" fmla="*/ 5094 w 10130"/>
                    <a:gd name="connsiteY21" fmla="*/ 1202 h 10017"/>
                    <a:gd name="connsiteX22" fmla="*/ 4770 w 10130"/>
                    <a:gd name="connsiteY22" fmla="*/ 656 h 10017"/>
                    <a:gd name="connsiteX23" fmla="*/ 3070 w 10130"/>
                    <a:gd name="connsiteY23" fmla="*/ 1608 h 10017"/>
                    <a:gd name="connsiteX24" fmla="*/ 1828 w 10130"/>
                    <a:gd name="connsiteY24" fmla="*/ 1983 h 10017"/>
                    <a:gd name="connsiteX25" fmla="*/ 968 w 10130"/>
                    <a:gd name="connsiteY25" fmla="*/ 2044 h 10017"/>
                    <a:gd name="connsiteX26" fmla="*/ 538 w 10130"/>
                    <a:gd name="connsiteY26" fmla="*/ 1706 h 10017"/>
                    <a:gd name="connsiteX27" fmla="*/ 0 w 10130"/>
                    <a:gd name="connsiteY27" fmla="*/ 2044 h 10017"/>
                    <a:gd name="connsiteX28" fmla="*/ 538 w 10130"/>
                    <a:gd name="connsiteY28" fmla="*/ 3193 h 10017"/>
                    <a:gd name="connsiteX29" fmla="*/ 1290 w 10130"/>
                    <a:gd name="connsiteY29" fmla="*/ 3733 h 10017"/>
                    <a:gd name="connsiteX30" fmla="*/ 1290 w 10130"/>
                    <a:gd name="connsiteY30" fmla="*/ 4341 h 10017"/>
                    <a:gd name="connsiteX31" fmla="*/ 1183 w 10130"/>
                    <a:gd name="connsiteY31" fmla="*/ 5017 h 10017"/>
                    <a:gd name="connsiteX32" fmla="*/ 1290 w 10130"/>
                    <a:gd name="connsiteY32" fmla="*/ 5085 h 10017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204 w 10130"/>
                    <a:gd name="connsiteY18" fmla="*/ 1490 h 10004"/>
                    <a:gd name="connsiteX19" fmla="*/ 7742 w 10130"/>
                    <a:gd name="connsiteY19" fmla="*/ 815 h 10004"/>
                    <a:gd name="connsiteX20" fmla="*/ 6393 w 10130"/>
                    <a:gd name="connsiteY20" fmla="*/ 1165 h 10004"/>
                    <a:gd name="connsiteX21" fmla="*/ 5094 w 10130"/>
                    <a:gd name="connsiteY21" fmla="*/ 1189 h 10004"/>
                    <a:gd name="connsiteX22" fmla="*/ 4770 w 10130"/>
                    <a:gd name="connsiteY22" fmla="*/ 643 h 10004"/>
                    <a:gd name="connsiteX23" fmla="*/ 3070 w 10130"/>
                    <a:gd name="connsiteY23" fmla="*/ 1595 h 10004"/>
                    <a:gd name="connsiteX24" fmla="*/ 1828 w 10130"/>
                    <a:gd name="connsiteY24" fmla="*/ 1970 h 10004"/>
                    <a:gd name="connsiteX25" fmla="*/ 968 w 10130"/>
                    <a:gd name="connsiteY25" fmla="*/ 2031 h 10004"/>
                    <a:gd name="connsiteX26" fmla="*/ 538 w 10130"/>
                    <a:gd name="connsiteY26" fmla="*/ 1693 h 10004"/>
                    <a:gd name="connsiteX27" fmla="*/ 0 w 10130"/>
                    <a:gd name="connsiteY27" fmla="*/ 2031 h 10004"/>
                    <a:gd name="connsiteX28" fmla="*/ 538 w 10130"/>
                    <a:gd name="connsiteY28" fmla="*/ 3180 h 10004"/>
                    <a:gd name="connsiteX29" fmla="*/ 1290 w 10130"/>
                    <a:gd name="connsiteY29" fmla="*/ 3720 h 10004"/>
                    <a:gd name="connsiteX30" fmla="*/ 1290 w 10130"/>
                    <a:gd name="connsiteY30" fmla="*/ 4328 h 10004"/>
                    <a:gd name="connsiteX31" fmla="*/ 1183 w 10130"/>
                    <a:gd name="connsiteY31" fmla="*/ 5004 h 10004"/>
                    <a:gd name="connsiteX32" fmla="*/ 1290 w 10130"/>
                    <a:gd name="connsiteY32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615 w 10130"/>
                    <a:gd name="connsiteY18" fmla="*/ 1318 h 10004"/>
                    <a:gd name="connsiteX19" fmla="*/ 7742 w 10130"/>
                    <a:gd name="connsiteY19" fmla="*/ 815 h 10004"/>
                    <a:gd name="connsiteX20" fmla="*/ 6393 w 10130"/>
                    <a:gd name="connsiteY20" fmla="*/ 1165 h 10004"/>
                    <a:gd name="connsiteX21" fmla="*/ 5094 w 10130"/>
                    <a:gd name="connsiteY21" fmla="*/ 1189 h 10004"/>
                    <a:gd name="connsiteX22" fmla="*/ 4770 w 10130"/>
                    <a:gd name="connsiteY22" fmla="*/ 643 h 10004"/>
                    <a:gd name="connsiteX23" fmla="*/ 3070 w 10130"/>
                    <a:gd name="connsiteY23" fmla="*/ 1595 h 10004"/>
                    <a:gd name="connsiteX24" fmla="*/ 1828 w 10130"/>
                    <a:gd name="connsiteY24" fmla="*/ 1970 h 10004"/>
                    <a:gd name="connsiteX25" fmla="*/ 968 w 10130"/>
                    <a:gd name="connsiteY25" fmla="*/ 2031 h 10004"/>
                    <a:gd name="connsiteX26" fmla="*/ 538 w 10130"/>
                    <a:gd name="connsiteY26" fmla="*/ 1693 h 10004"/>
                    <a:gd name="connsiteX27" fmla="*/ 0 w 10130"/>
                    <a:gd name="connsiteY27" fmla="*/ 2031 h 10004"/>
                    <a:gd name="connsiteX28" fmla="*/ 538 w 10130"/>
                    <a:gd name="connsiteY28" fmla="*/ 3180 h 10004"/>
                    <a:gd name="connsiteX29" fmla="*/ 1290 w 10130"/>
                    <a:gd name="connsiteY29" fmla="*/ 3720 h 10004"/>
                    <a:gd name="connsiteX30" fmla="*/ 1290 w 10130"/>
                    <a:gd name="connsiteY30" fmla="*/ 4328 h 10004"/>
                    <a:gd name="connsiteX31" fmla="*/ 1183 w 10130"/>
                    <a:gd name="connsiteY31" fmla="*/ 5004 h 10004"/>
                    <a:gd name="connsiteX32" fmla="*/ 1290 w 10130"/>
                    <a:gd name="connsiteY32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742 w 10130"/>
                    <a:gd name="connsiteY18" fmla="*/ 815 h 10004"/>
                    <a:gd name="connsiteX19" fmla="*/ 6393 w 10130"/>
                    <a:gd name="connsiteY19" fmla="*/ 1165 h 10004"/>
                    <a:gd name="connsiteX20" fmla="*/ 5094 w 10130"/>
                    <a:gd name="connsiteY20" fmla="*/ 1189 h 10004"/>
                    <a:gd name="connsiteX21" fmla="*/ 4770 w 10130"/>
                    <a:gd name="connsiteY21" fmla="*/ 643 h 10004"/>
                    <a:gd name="connsiteX22" fmla="*/ 3070 w 10130"/>
                    <a:gd name="connsiteY22" fmla="*/ 1595 h 10004"/>
                    <a:gd name="connsiteX23" fmla="*/ 1828 w 10130"/>
                    <a:gd name="connsiteY23" fmla="*/ 1970 h 10004"/>
                    <a:gd name="connsiteX24" fmla="*/ 968 w 10130"/>
                    <a:gd name="connsiteY24" fmla="*/ 2031 h 10004"/>
                    <a:gd name="connsiteX25" fmla="*/ 538 w 10130"/>
                    <a:gd name="connsiteY25" fmla="*/ 1693 h 10004"/>
                    <a:gd name="connsiteX26" fmla="*/ 0 w 10130"/>
                    <a:gd name="connsiteY26" fmla="*/ 2031 h 10004"/>
                    <a:gd name="connsiteX27" fmla="*/ 538 w 10130"/>
                    <a:gd name="connsiteY27" fmla="*/ 3180 h 10004"/>
                    <a:gd name="connsiteX28" fmla="*/ 1290 w 10130"/>
                    <a:gd name="connsiteY28" fmla="*/ 3720 h 10004"/>
                    <a:gd name="connsiteX29" fmla="*/ 1290 w 10130"/>
                    <a:gd name="connsiteY29" fmla="*/ 4328 h 10004"/>
                    <a:gd name="connsiteX30" fmla="*/ 1183 w 10130"/>
                    <a:gd name="connsiteY30" fmla="*/ 5004 h 10004"/>
                    <a:gd name="connsiteX31" fmla="*/ 1290 w 10130"/>
                    <a:gd name="connsiteY31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742 w 10130"/>
                    <a:gd name="connsiteY17" fmla="*/ 815 h 10004"/>
                    <a:gd name="connsiteX18" fmla="*/ 6393 w 10130"/>
                    <a:gd name="connsiteY18" fmla="*/ 1165 h 10004"/>
                    <a:gd name="connsiteX19" fmla="*/ 5094 w 10130"/>
                    <a:gd name="connsiteY19" fmla="*/ 1189 h 10004"/>
                    <a:gd name="connsiteX20" fmla="*/ 4770 w 10130"/>
                    <a:gd name="connsiteY20" fmla="*/ 643 h 10004"/>
                    <a:gd name="connsiteX21" fmla="*/ 3070 w 10130"/>
                    <a:gd name="connsiteY21" fmla="*/ 1595 h 10004"/>
                    <a:gd name="connsiteX22" fmla="*/ 1828 w 10130"/>
                    <a:gd name="connsiteY22" fmla="*/ 1970 h 10004"/>
                    <a:gd name="connsiteX23" fmla="*/ 968 w 10130"/>
                    <a:gd name="connsiteY23" fmla="*/ 2031 h 10004"/>
                    <a:gd name="connsiteX24" fmla="*/ 538 w 10130"/>
                    <a:gd name="connsiteY24" fmla="*/ 1693 h 10004"/>
                    <a:gd name="connsiteX25" fmla="*/ 0 w 10130"/>
                    <a:gd name="connsiteY25" fmla="*/ 2031 h 10004"/>
                    <a:gd name="connsiteX26" fmla="*/ 538 w 10130"/>
                    <a:gd name="connsiteY26" fmla="*/ 3180 h 10004"/>
                    <a:gd name="connsiteX27" fmla="*/ 1290 w 10130"/>
                    <a:gd name="connsiteY27" fmla="*/ 3720 h 10004"/>
                    <a:gd name="connsiteX28" fmla="*/ 1290 w 10130"/>
                    <a:gd name="connsiteY28" fmla="*/ 4328 h 10004"/>
                    <a:gd name="connsiteX29" fmla="*/ 1183 w 10130"/>
                    <a:gd name="connsiteY29" fmla="*/ 5004 h 10004"/>
                    <a:gd name="connsiteX30" fmla="*/ 1290 w 10130"/>
                    <a:gd name="connsiteY30" fmla="*/ 5072 h 10004"/>
                    <a:gd name="connsiteX0" fmla="*/ 1290 w 10130"/>
                    <a:gd name="connsiteY0" fmla="*/ 5069 h 10001"/>
                    <a:gd name="connsiteX1" fmla="*/ 1613 w 10130"/>
                    <a:gd name="connsiteY1" fmla="*/ 5339 h 10001"/>
                    <a:gd name="connsiteX2" fmla="*/ 6022 w 10130"/>
                    <a:gd name="connsiteY2" fmla="*/ 8312 h 10001"/>
                    <a:gd name="connsiteX3" fmla="*/ 9032 w 10130"/>
                    <a:gd name="connsiteY3" fmla="*/ 10001 h 10001"/>
                    <a:gd name="connsiteX4" fmla="*/ 8710 w 10130"/>
                    <a:gd name="connsiteY4" fmla="*/ 9596 h 10001"/>
                    <a:gd name="connsiteX5" fmla="*/ 6559 w 10130"/>
                    <a:gd name="connsiteY5" fmla="*/ 7906 h 10001"/>
                    <a:gd name="connsiteX6" fmla="*/ 6774 w 10130"/>
                    <a:gd name="connsiteY6" fmla="*/ 7231 h 10001"/>
                    <a:gd name="connsiteX7" fmla="*/ 6774 w 10130"/>
                    <a:gd name="connsiteY7" fmla="*/ 7096 h 10001"/>
                    <a:gd name="connsiteX8" fmla="*/ 6774 w 10130"/>
                    <a:gd name="connsiteY8" fmla="*/ 6555 h 10001"/>
                    <a:gd name="connsiteX9" fmla="*/ 9032 w 10130"/>
                    <a:gd name="connsiteY9" fmla="*/ 5271 h 10001"/>
                    <a:gd name="connsiteX10" fmla="*/ 10000 w 10130"/>
                    <a:gd name="connsiteY10" fmla="*/ 3447 h 10001"/>
                    <a:gd name="connsiteX11" fmla="*/ 10000 w 10130"/>
                    <a:gd name="connsiteY11" fmla="*/ 2096 h 10001"/>
                    <a:gd name="connsiteX12" fmla="*/ 10127 w 10130"/>
                    <a:gd name="connsiteY12" fmla="*/ 1266 h 10001"/>
                    <a:gd name="connsiteX13" fmla="*/ 9834 w 10130"/>
                    <a:gd name="connsiteY13" fmla="*/ 1162 h 10001"/>
                    <a:gd name="connsiteX14" fmla="*/ 9834 w 10130"/>
                    <a:gd name="connsiteY14" fmla="*/ 800 h 10001"/>
                    <a:gd name="connsiteX15" fmla="*/ 9247 w 10130"/>
                    <a:gd name="connsiteY15" fmla="*/ 1 h 10001"/>
                    <a:gd name="connsiteX16" fmla="*/ 7742 w 10130"/>
                    <a:gd name="connsiteY16" fmla="*/ 812 h 10001"/>
                    <a:gd name="connsiteX17" fmla="*/ 6393 w 10130"/>
                    <a:gd name="connsiteY17" fmla="*/ 1162 h 10001"/>
                    <a:gd name="connsiteX18" fmla="*/ 5094 w 10130"/>
                    <a:gd name="connsiteY18" fmla="*/ 1186 h 10001"/>
                    <a:gd name="connsiteX19" fmla="*/ 4770 w 10130"/>
                    <a:gd name="connsiteY19" fmla="*/ 640 h 10001"/>
                    <a:gd name="connsiteX20" fmla="*/ 3070 w 10130"/>
                    <a:gd name="connsiteY20" fmla="*/ 1592 h 10001"/>
                    <a:gd name="connsiteX21" fmla="*/ 1828 w 10130"/>
                    <a:gd name="connsiteY21" fmla="*/ 1967 h 10001"/>
                    <a:gd name="connsiteX22" fmla="*/ 968 w 10130"/>
                    <a:gd name="connsiteY22" fmla="*/ 2028 h 10001"/>
                    <a:gd name="connsiteX23" fmla="*/ 538 w 10130"/>
                    <a:gd name="connsiteY23" fmla="*/ 1690 h 10001"/>
                    <a:gd name="connsiteX24" fmla="*/ 0 w 10130"/>
                    <a:gd name="connsiteY24" fmla="*/ 2028 h 10001"/>
                    <a:gd name="connsiteX25" fmla="*/ 538 w 10130"/>
                    <a:gd name="connsiteY25" fmla="*/ 3177 h 10001"/>
                    <a:gd name="connsiteX26" fmla="*/ 1290 w 10130"/>
                    <a:gd name="connsiteY26" fmla="*/ 3717 h 10001"/>
                    <a:gd name="connsiteX27" fmla="*/ 1290 w 10130"/>
                    <a:gd name="connsiteY27" fmla="*/ 4325 h 10001"/>
                    <a:gd name="connsiteX28" fmla="*/ 1183 w 10130"/>
                    <a:gd name="connsiteY28" fmla="*/ 5001 h 10001"/>
                    <a:gd name="connsiteX29" fmla="*/ 1290 w 10130"/>
                    <a:gd name="connsiteY29" fmla="*/ 5069 h 10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0130" h="10001">
                      <a:moveTo>
                        <a:pt x="1290" y="5069"/>
                      </a:moveTo>
                      <a:cubicBezTo>
                        <a:pt x="1290" y="5136"/>
                        <a:pt x="1613" y="5339"/>
                        <a:pt x="1613" y="5339"/>
                      </a:cubicBezTo>
                      <a:cubicBezTo>
                        <a:pt x="3548" y="6825"/>
                        <a:pt x="5591" y="7974"/>
                        <a:pt x="6022" y="8312"/>
                      </a:cubicBezTo>
                      <a:cubicBezTo>
                        <a:pt x="6559" y="8717"/>
                        <a:pt x="9032" y="10001"/>
                        <a:pt x="9032" y="10001"/>
                      </a:cubicBezTo>
                      <a:lnTo>
                        <a:pt x="8710" y="9596"/>
                      </a:lnTo>
                      <a:cubicBezTo>
                        <a:pt x="8602" y="9460"/>
                        <a:pt x="6774" y="8177"/>
                        <a:pt x="6559" y="7906"/>
                      </a:cubicBezTo>
                      <a:cubicBezTo>
                        <a:pt x="6452" y="7704"/>
                        <a:pt x="6667" y="7366"/>
                        <a:pt x="6774" y="7231"/>
                      </a:cubicBezTo>
                      <a:lnTo>
                        <a:pt x="6774" y="7096"/>
                      </a:lnTo>
                      <a:cubicBezTo>
                        <a:pt x="6667" y="6825"/>
                        <a:pt x="6667" y="6623"/>
                        <a:pt x="6774" y="6555"/>
                      </a:cubicBezTo>
                      <a:cubicBezTo>
                        <a:pt x="6882" y="6420"/>
                        <a:pt x="8817" y="5677"/>
                        <a:pt x="9032" y="5271"/>
                      </a:cubicBezTo>
                      <a:cubicBezTo>
                        <a:pt x="9247" y="4933"/>
                        <a:pt x="10000" y="4393"/>
                        <a:pt x="10000" y="3447"/>
                      </a:cubicBezTo>
                      <a:cubicBezTo>
                        <a:pt x="10000" y="2997"/>
                        <a:pt x="9979" y="2459"/>
                        <a:pt x="10000" y="2096"/>
                      </a:cubicBezTo>
                      <a:cubicBezTo>
                        <a:pt x="10021" y="1733"/>
                        <a:pt x="10155" y="1422"/>
                        <a:pt x="10127" y="1266"/>
                      </a:cubicBezTo>
                      <a:cubicBezTo>
                        <a:pt x="10099" y="1110"/>
                        <a:pt x="10049" y="1162"/>
                        <a:pt x="9834" y="1162"/>
                      </a:cubicBezTo>
                      <a:cubicBezTo>
                        <a:pt x="9511" y="1229"/>
                        <a:pt x="9511" y="1205"/>
                        <a:pt x="9834" y="800"/>
                      </a:cubicBezTo>
                      <a:cubicBezTo>
                        <a:pt x="10156" y="462"/>
                        <a:pt x="9596" y="-1"/>
                        <a:pt x="9247" y="1"/>
                      </a:cubicBezTo>
                      <a:cubicBezTo>
                        <a:pt x="8898" y="3"/>
                        <a:pt x="8218" y="619"/>
                        <a:pt x="7742" y="812"/>
                      </a:cubicBezTo>
                      <a:cubicBezTo>
                        <a:pt x="7266" y="1006"/>
                        <a:pt x="6834" y="1100"/>
                        <a:pt x="6393" y="1162"/>
                      </a:cubicBezTo>
                      <a:cubicBezTo>
                        <a:pt x="5952" y="1224"/>
                        <a:pt x="5365" y="1273"/>
                        <a:pt x="5094" y="1186"/>
                      </a:cubicBezTo>
                      <a:cubicBezTo>
                        <a:pt x="4823" y="1099"/>
                        <a:pt x="4555" y="1045"/>
                        <a:pt x="4770" y="640"/>
                      </a:cubicBezTo>
                      <a:cubicBezTo>
                        <a:pt x="4877" y="302"/>
                        <a:pt x="3560" y="1371"/>
                        <a:pt x="3070" y="1592"/>
                      </a:cubicBezTo>
                      <a:cubicBezTo>
                        <a:pt x="2580" y="1813"/>
                        <a:pt x="2178" y="1894"/>
                        <a:pt x="1828" y="1967"/>
                      </a:cubicBezTo>
                      <a:cubicBezTo>
                        <a:pt x="1478" y="2040"/>
                        <a:pt x="1398" y="2231"/>
                        <a:pt x="968" y="2028"/>
                      </a:cubicBezTo>
                      <a:cubicBezTo>
                        <a:pt x="753" y="1825"/>
                        <a:pt x="645" y="1758"/>
                        <a:pt x="538" y="1690"/>
                      </a:cubicBezTo>
                      <a:cubicBezTo>
                        <a:pt x="215" y="1825"/>
                        <a:pt x="0" y="1893"/>
                        <a:pt x="0" y="2028"/>
                      </a:cubicBezTo>
                      <a:cubicBezTo>
                        <a:pt x="108" y="2298"/>
                        <a:pt x="430" y="2839"/>
                        <a:pt x="538" y="3177"/>
                      </a:cubicBezTo>
                      <a:cubicBezTo>
                        <a:pt x="538" y="3177"/>
                        <a:pt x="430" y="4123"/>
                        <a:pt x="1290" y="3717"/>
                      </a:cubicBezTo>
                      <a:lnTo>
                        <a:pt x="1290" y="4325"/>
                      </a:lnTo>
                      <a:cubicBezTo>
                        <a:pt x="1398" y="4528"/>
                        <a:pt x="1290" y="4731"/>
                        <a:pt x="1183" y="5001"/>
                      </a:cubicBezTo>
                      <a:cubicBezTo>
                        <a:pt x="1290" y="5001"/>
                        <a:pt x="1290" y="5001"/>
                        <a:pt x="1290" y="5069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8" name="Freeform 168">
                  <a:extLst>
                    <a:ext uri="{FF2B5EF4-FFF2-40B4-BE49-F238E27FC236}">
                      <a16:creationId xmlns:a16="http://schemas.microsoft.com/office/drawing/2014/main" id="{69C30EAD-0FAC-4527-9240-C1B7829909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14009" y="2348117"/>
                  <a:ext cx="1018647" cy="1237931"/>
                </a:xfrm>
                <a:custGeom>
                  <a:avLst/>
                  <a:gdLst>
                    <a:gd name="T0" fmla="*/ 237 w 244"/>
                    <a:gd name="T1" fmla="*/ 136 h 295"/>
                    <a:gd name="T2" fmla="*/ 222 w 244"/>
                    <a:gd name="T3" fmla="*/ 127 h 295"/>
                    <a:gd name="T4" fmla="*/ 201 w 244"/>
                    <a:gd name="T5" fmla="*/ 103 h 295"/>
                    <a:gd name="T6" fmla="*/ 194 w 244"/>
                    <a:gd name="T7" fmla="*/ 96 h 295"/>
                    <a:gd name="T8" fmla="*/ 189 w 244"/>
                    <a:gd name="T9" fmla="*/ 87 h 295"/>
                    <a:gd name="T10" fmla="*/ 181 w 244"/>
                    <a:gd name="T11" fmla="*/ 77 h 295"/>
                    <a:gd name="T12" fmla="*/ 169 w 244"/>
                    <a:gd name="T13" fmla="*/ 54 h 295"/>
                    <a:gd name="T14" fmla="*/ 158 w 244"/>
                    <a:gd name="T15" fmla="*/ 52 h 295"/>
                    <a:gd name="T16" fmla="*/ 139 w 244"/>
                    <a:gd name="T17" fmla="*/ 44 h 295"/>
                    <a:gd name="T18" fmla="*/ 123 w 244"/>
                    <a:gd name="T19" fmla="*/ 26 h 295"/>
                    <a:gd name="T20" fmla="*/ 122 w 244"/>
                    <a:gd name="T21" fmla="*/ 31 h 295"/>
                    <a:gd name="T22" fmla="*/ 122 w 244"/>
                    <a:gd name="T23" fmla="*/ 33 h 295"/>
                    <a:gd name="T24" fmla="*/ 120 w 244"/>
                    <a:gd name="T25" fmla="*/ 43 h 295"/>
                    <a:gd name="T26" fmla="*/ 140 w 244"/>
                    <a:gd name="T27" fmla="*/ 68 h 295"/>
                    <a:gd name="T28" fmla="*/ 143 w 244"/>
                    <a:gd name="T29" fmla="*/ 74 h 295"/>
                    <a:gd name="T30" fmla="*/ 115 w 244"/>
                    <a:gd name="T31" fmla="*/ 49 h 295"/>
                    <a:gd name="T32" fmla="*/ 74 w 244"/>
                    <a:gd name="T33" fmla="*/ 5 h 295"/>
                    <a:gd name="T34" fmla="*/ 71 w 244"/>
                    <a:gd name="T35" fmla="*/ 1 h 295"/>
                    <a:gd name="T36" fmla="*/ 70 w 244"/>
                    <a:gd name="T37" fmla="*/ 0 h 295"/>
                    <a:gd name="T38" fmla="*/ 65 w 244"/>
                    <a:gd name="T39" fmla="*/ 3 h 295"/>
                    <a:gd name="T40" fmla="*/ 63 w 244"/>
                    <a:gd name="T41" fmla="*/ 11 h 295"/>
                    <a:gd name="T42" fmla="*/ 56 w 244"/>
                    <a:gd name="T43" fmla="*/ 18 h 295"/>
                    <a:gd name="T44" fmla="*/ 42 w 244"/>
                    <a:gd name="T45" fmla="*/ 15 h 295"/>
                    <a:gd name="T46" fmla="*/ 20 w 244"/>
                    <a:gd name="T47" fmla="*/ 23 h 295"/>
                    <a:gd name="T48" fmla="*/ 5 w 244"/>
                    <a:gd name="T49" fmla="*/ 44 h 295"/>
                    <a:gd name="T50" fmla="*/ 7 w 244"/>
                    <a:gd name="T51" fmla="*/ 67 h 295"/>
                    <a:gd name="T52" fmla="*/ 8 w 244"/>
                    <a:gd name="T53" fmla="*/ 101 h 295"/>
                    <a:gd name="T54" fmla="*/ 6 w 244"/>
                    <a:gd name="T55" fmla="*/ 122 h 295"/>
                    <a:gd name="T56" fmla="*/ 15 w 244"/>
                    <a:gd name="T57" fmla="*/ 144 h 295"/>
                    <a:gd name="T58" fmla="*/ 13 w 244"/>
                    <a:gd name="T59" fmla="*/ 152 h 295"/>
                    <a:gd name="T60" fmla="*/ 12 w 244"/>
                    <a:gd name="T61" fmla="*/ 177 h 295"/>
                    <a:gd name="T62" fmla="*/ 18 w 244"/>
                    <a:gd name="T63" fmla="*/ 192 h 295"/>
                    <a:gd name="T64" fmla="*/ 25 w 244"/>
                    <a:gd name="T65" fmla="*/ 200 h 295"/>
                    <a:gd name="T66" fmla="*/ 6 w 244"/>
                    <a:gd name="T67" fmla="*/ 232 h 295"/>
                    <a:gd name="T68" fmla="*/ 0 w 244"/>
                    <a:gd name="T69" fmla="*/ 282 h 295"/>
                    <a:gd name="T70" fmla="*/ 2 w 244"/>
                    <a:gd name="T71" fmla="*/ 288 h 295"/>
                    <a:gd name="T72" fmla="*/ 2 w 244"/>
                    <a:gd name="T73" fmla="*/ 286 h 295"/>
                    <a:gd name="T74" fmla="*/ 11 w 244"/>
                    <a:gd name="T75" fmla="*/ 283 h 295"/>
                    <a:gd name="T76" fmla="*/ 80 w 244"/>
                    <a:gd name="T77" fmla="*/ 278 h 295"/>
                    <a:gd name="T78" fmla="*/ 128 w 244"/>
                    <a:gd name="T79" fmla="*/ 282 h 295"/>
                    <a:gd name="T80" fmla="*/ 167 w 244"/>
                    <a:gd name="T81" fmla="*/ 292 h 295"/>
                    <a:gd name="T82" fmla="*/ 183 w 244"/>
                    <a:gd name="T83" fmla="*/ 291 h 295"/>
                    <a:gd name="T84" fmla="*/ 183 w 244"/>
                    <a:gd name="T85" fmla="*/ 291 h 295"/>
                    <a:gd name="T86" fmla="*/ 187 w 244"/>
                    <a:gd name="T87" fmla="*/ 290 h 295"/>
                    <a:gd name="T88" fmla="*/ 187 w 244"/>
                    <a:gd name="T89" fmla="*/ 284 h 295"/>
                    <a:gd name="T90" fmla="*/ 181 w 244"/>
                    <a:gd name="T91" fmla="*/ 241 h 295"/>
                    <a:gd name="T92" fmla="*/ 177 w 244"/>
                    <a:gd name="T93" fmla="*/ 227 h 295"/>
                    <a:gd name="T94" fmla="*/ 175 w 244"/>
                    <a:gd name="T95" fmla="*/ 208 h 295"/>
                    <a:gd name="T96" fmla="*/ 176 w 244"/>
                    <a:gd name="T97" fmla="*/ 203 h 295"/>
                    <a:gd name="T98" fmla="*/ 176 w 244"/>
                    <a:gd name="T99" fmla="*/ 202 h 295"/>
                    <a:gd name="T100" fmla="*/ 168 w 244"/>
                    <a:gd name="T101" fmla="*/ 199 h 295"/>
                    <a:gd name="T102" fmla="*/ 174 w 244"/>
                    <a:gd name="T103" fmla="*/ 187 h 295"/>
                    <a:gd name="T104" fmla="*/ 173 w 244"/>
                    <a:gd name="T105" fmla="*/ 174 h 295"/>
                    <a:gd name="T106" fmla="*/ 195 w 244"/>
                    <a:gd name="T107" fmla="*/ 182 h 295"/>
                    <a:gd name="T108" fmla="*/ 197 w 244"/>
                    <a:gd name="T109" fmla="*/ 185 h 295"/>
                    <a:gd name="T110" fmla="*/ 210 w 244"/>
                    <a:gd name="T111" fmla="*/ 188 h 295"/>
                    <a:gd name="T112" fmla="*/ 230 w 244"/>
                    <a:gd name="T113" fmla="*/ 178 h 295"/>
                    <a:gd name="T114" fmla="*/ 241 w 244"/>
                    <a:gd name="T115" fmla="*/ 171 h 295"/>
                    <a:gd name="T116" fmla="*/ 237 w 244"/>
                    <a:gd name="T117" fmla="*/ 136 h 295"/>
                    <a:gd name="connsiteX0" fmla="*/ 9713 w 9937"/>
                    <a:gd name="connsiteY0" fmla="*/ 4610 h 9927"/>
                    <a:gd name="connsiteX1" fmla="*/ 9098 w 9937"/>
                    <a:gd name="connsiteY1" fmla="*/ 4305 h 9927"/>
                    <a:gd name="connsiteX2" fmla="*/ 8238 w 9937"/>
                    <a:gd name="connsiteY2" fmla="*/ 3492 h 9927"/>
                    <a:gd name="connsiteX3" fmla="*/ 7951 w 9937"/>
                    <a:gd name="connsiteY3" fmla="*/ 3254 h 9927"/>
                    <a:gd name="connsiteX4" fmla="*/ 7746 w 9937"/>
                    <a:gd name="connsiteY4" fmla="*/ 2949 h 9927"/>
                    <a:gd name="connsiteX5" fmla="*/ 7418 w 9937"/>
                    <a:gd name="connsiteY5" fmla="*/ 2610 h 9927"/>
                    <a:gd name="connsiteX6" fmla="*/ 6926 w 9937"/>
                    <a:gd name="connsiteY6" fmla="*/ 1831 h 9927"/>
                    <a:gd name="connsiteX7" fmla="*/ 6475 w 9937"/>
                    <a:gd name="connsiteY7" fmla="*/ 1763 h 9927"/>
                    <a:gd name="connsiteX8" fmla="*/ 5697 w 9937"/>
                    <a:gd name="connsiteY8" fmla="*/ 1492 h 9927"/>
                    <a:gd name="connsiteX9" fmla="*/ 5041 w 9937"/>
                    <a:gd name="connsiteY9" fmla="*/ 881 h 9927"/>
                    <a:gd name="connsiteX10" fmla="*/ 5000 w 9937"/>
                    <a:gd name="connsiteY10" fmla="*/ 1051 h 9927"/>
                    <a:gd name="connsiteX11" fmla="*/ 5000 w 9937"/>
                    <a:gd name="connsiteY11" fmla="*/ 1119 h 9927"/>
                    <a:gd name="connsiteX12" fmla="*/ 4918 w 9937"/>
                    <a:gd name="connsiteY12" fmla="*/ 1458 h 9927"/>
                    <a:gd name="connsiteX13" fmla="*/ 5738 w 9937"/>
                    <a:gd name="connsiteY13" fmla="*/ 2305 h 9927"/>
                    <a:gd name="connsiteX14" fmla="*/ 5861 w 9937"/>
                    <a:gd name="connsiteY14" fmla="*/ 2508 h 9927"/>
                    <a:gd name="connsiteX15" fmla="*/ 4713 w 9937"/>
                    <a:gd name="connsiteY15" fmla="*/ 1661 h 9927"/>
                    <a:gd name="connsiteX16" fmla="*/ 3033 w 9937"/>
                    <a:gd name="connsiteY16" fmla="*/ 169 h 9927"/>
                    <a:gd name="connsiteX17" fmla="*/ 2910 w 9937"/>
                    <a:gd name="connsiteY17" fmla="*/ 34 h 9927"/>
                    <a:gd name="connsiteX18" fmla="*/ 2869 w 9937"/>
                    <a:gd name="connsiteY18" fmla="*/ 0 h 9927"/>
                    <a:gd name="connsiteX19" fmla="*/ 2664 w 9937"/>
                    <a:gd name="connsiteY19" fmla="*/ 102 h 9927"/>
                    <a:gd name="connsiteX20" fmla="*/ 2582 w 9937"/>
                    <a:gd name="connsiteY20" fmla="*/ 373 h 9927"/>
                    <a:gd name="connsiteX21" fmla="*/ 2295 w 9937"/>
                    <a:gd name="connsiteY21" fmla="*/ 610 h 9927"/>
                    <a:gd name="connsiteX22" fmla="*/ 1721 w 9937"/>
                    <a:gd name="connsiteY22" fmla="*/ 508 h 9927"/>
                    <a:gd name="connsiteX23" fmla="*/ 820 w 9937"/>
                    <a:gd name="connsiteY23" fmla="*/ 780 h 9927"/>
                    <a:gd name="connsiteX24" fmla="*/ 205 w 9937"/>
                    <a:gd name="connsiteY24" fmla="*/ 1492 h 9927"/>
                    <a:gd name="connsiteX25" fmla="*/ 287 w 9937"/>
                    <a:gd name="connsiteY25" fmla="*/ 2271 h 9927"/>
                    <a:gd name="connsiteX26" fmla="*/ 328 w 9937"/>
                    <a:gd name="connsiteY26" fmla="*/ 3424 h 9927"/>
                    <a:gd name="connsiteX27" fmla="*/ 246 w 9937"/>
                    <a:gd name="connsiteY27" fmla="*/ 4136 h 9927"/>
                    <a:gd name="connsiteX28" fmla="*/ 615 w 9937"/>
                    <a:gd name="connsiteY28" fmla="*/ 4881 h 9927"/>
                    <a:gd name="connsiteX29" fmla="*/ 533 w 9937"/>
                    <a:gd name="connsiteY29" fmla="*/ 5153 h 9927"/>
                    <a:gd name="connsiteX30" fmla="*/ 492 w 9937"/>
                    <a:gd name="connsiteY30" fmla="*/ 6000 h 9927"/>
                    <a:gd name="connsiteX31" fmla="*/ 738 w 9937"/>
                    <a:gd name="connsiteY31" fmla="*/ 6508 h 9927"/>
                    <a:gd name="connsiteX32" fmla="*/ 1025 w 9937"/>
                    <a:gd name="connsiteY32" fmla="*/ 6780 h 9927"/>
                    <a:gd name="connsiteX33" fmla="*/ 246 w 9937"/>
                    <a:gd name="connsiteY33" fmla="*/ 7864 h 9927"/>
                    <a:gd name="connsiteX34" fmla="*/ 0 w 9937"/>
                    <a:gd name="connsiteY34" fmla="*/ 9559 h 9927"/>
                    <a:gd name="connsiteX35" fmla="*/ 82 w 9937"/>
                    <a:gd name="connsiteY35" fmla="*/ 9763 h 9927"/>
                    <a:gd name="connsiteX36" fmla="*/ 82 w 9937"/>
                    <a:gd name="connsiteY36" fmla="*/ 9695 h 9927"/>
                    <a:gd name="connsiteX37" fmla="*/ 451 w 9937"/>
                    <a:gd name="connsiteY37" fmla="*/ 9593 h 9927"/>
                    <a:gd name="connsiteX38" fmla="*/ 3253 w 9937"/>
                    <a:gd name="connsiteY38" fmla="*/ 9532 h 9927"/>
                    <a:gd name="connsiteX39" fmla="*/ 5246 w 9937"/>
                    <a:gd name="connsiteY39" fmla="*/ 9559 h 9927"/>
                    <a:gd name="connsiteX40" fmla="*/ 6844 w 9937"/>
                    <a:gd name="connsiteY40" fmla="*/ 9898 h 9927"/>
                    <a:gd name="connsiteX41" fmla="*/ 7500 w 9937"/>
                    <a:gd name="connsiteY41" fmla="*/ 9864 h 9927"/>
                    <a:gd name="connsiteX42" fmla="*/ 7500 w 9937"/>
                    <a:gd name="connsiteY42" fmla="*/ 9864 h 9927"/>
                    <a:gd name="connsiteX43" fmla="*/ 7664 w 9937"/>
                    <a:gd name="connsiteY43" fmla="*/ 9831 h 9927"/>
                    <a:gd name="connsiteX44" fmla="*/ 7664 w 9937"/>
                    <a:gd name="connsiteY44" fmla="*/ 9627 h 9927"/>
                    <a:gd name="connsiteX45" fmla="*/ 7418 w 9937"/>
                    <a:gd name="connsiteY45" fmla="*/ 8169 h 9927"/>
                    <a:gd name="connsiteX46" fmla="*/ 7254 w 9937"/>
                    <a:gd name="connsiteY46" fmla="*/ 7695 h 9927"/>
                    <a:gd name="connsiteX47" fmla="*/ 7172 w 9937"/>
                    <a:gd name="connsiteY47" fmla="*/ 7051 h 9927"/>
                    <a:gd name="connsiteX48" fmla="*/ 7213 w 9937"/>
                    <a:gd name="connsiteY48" fmla="*/ 6881 h 9927"/>
                    <a:gd name="connsiteX49" fmla="*/ 7213 w 9937"/>
                    <a:gd name="connsiteY49" fmla="*/ 6847 h 9927"/>
                    <a:gd name="connsiteX50" fmla="*/ 6885 w 9937"/>
                    <a:gd name="connsiteY50" fmla="*/ 6746 h 9927"/>
                    <a:gd name="connsiteX51" fmla="*/ 7131 w 9937"/>
                    <a:gd name="connsiteY51" fmla="*/ 6339 h 9927"/>
                    <a:gd name="connsiteX52" fmla="*/ 7090 w 9937"/>
                    <a:gd name="connsiteY52" fmla="*/ 5898 h 9927"/>
                    <a:gd name="connsiteX53" fmla="*/ 7992 w 9937"/>
                    <a:gd name="connsiteY53" fmla="*/ 6169 h 9927"/>
                    <a:gd name="connsiteX54" fmla="*/ 8074 w 9937"/>
                    <a:gd name="connsiteY54" fmla="*/ 6271 h 9927"/>
                    <a:gd name="connsiteX55" fmla="*/ 8607 w 9937"/>
                    <a:gd name="connsiteY55" fmla="*/ 6373 h 9927"/>
                    <a:gd name="connsiteX56" fmla="*/ 9426 w 9937"/>
                    <a:gd name="connsiteY56" fmla="*/ 6034 h 9927"/>
                    <a:gd name="connsiteX57" fmla="*/ 9877 w 9937"/>
                    <a:gd name="connsiteY57" fmla="*/ 5797 h 9927"/>
                    <a:gd name="connsiteX58" fmla="*/ 9713 w 9937"/>
                    <a:gd name="connsiteY58" fmla="*/ 4610 h 9927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454 w 10000"/>
                    <a:gd name="connsiteY37" fmla="*/ 9664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454 w 10000"/>
                    <a:gd name="connsiteY37" fmla="*/ 9664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48 w 10000"/>
                    <a:gd name="connsiteY38" fmla="*/ 9515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86"/>
                    <a:gd name="connsiteX1" fmla="*/ 9156 w 10000"/>
                    <a:gd name="connsiteY1" fmla="*/ 4337 h 10086"/>
                    <a:gd name="connsiteX2" fmla="*/ 8290 w 10000"/>
                    <a:gd name="connsiteY2" fmla="*/ 3518 h 10086"/>
                    <a:gd name="connsiteX3" fmla="*/ 8001 w 10000"/>
                    <a:gd name="connsiteY3" fmla="*/ 3278 h 10086"/>
                    <a:gd name="connsiteX4" fmla="*/ 7795 w 10000"/>
                    <a:gd name="connsiteY4" fmla="*/ 2971 h 10086"/>
                    <a:gd name="connsiteX5" fmla="*/ 7465 w 10000"/>
                    <a:gd name="connsiteY5" fmla="*/ 2629 h 10086"/>
                    <a:gd name="connsiteX6" fmla="*/ 6970 w 10000"/>
                    <a:gd name="connsiteY6" fmla="*/ 1844 h 10086"/>
                    <a:gd name="connsiteX7" fmla="*/ 6516 w 10000"/>
                    <a:gd name="connsiteY7" fmla="*/ 1776 h 10086"/>
                    <a:gd name="connsiteX8" fmla="*/ 5733 w 10000"/>
                    <a:gd name="connsiteY8" fmla="*/ 1503 h 10086"/>
                    <a:gd name="connsiteX9" fmla="*/ 5073 w 10000"/>
                    <a:gd name="connsiteY9" fmla="*/ 887 h 10086"/>
                    <a:gd name="connsiteX10" fmla="*/ 5032 w 10000"/>
                    <a:gd name="connsiteY10" fmla="*/ 1059 h 10086"/>
                    <a:gd name="connsiteX11" fmla="*/ 5032 w 10000"/>
                    <a:gd name="connsiteY11" fmla="*/ 1127 h 10086"/>
                    <a:gd name="connsiteX12" fmla="*/ 4949 w 10000"/>
                    <a:gd name="connsiteY12" fmla="*/ 1469 h 10086"/>
                    <a:gd name="connsiteX13" fmla="*/ 5774 w 10000"/>
                    <a:gd name="connsiteY13" fmla="*/ 2322 h 10086"/>
                    <a:gd name="connsiteX14" fmla="*/ 5898 w 10000"/>
                    <a:gd name="connsiteY14" fmla="*/ 2526 h 10086"/>
                    <a:gd name="connsiteX15" fmla="*/ 4743 w 10000"/>
                    <a:gd name="connsiteY15" fmla="*/ 1673 h 10086"/>
                    <a:gd name="connsiteX16" fmla="*/ 3052 w 10000"/>
                    <a:gd name="connsiteY16" fmla="*/ 170 h 10086"/>
                    <a:gd name="connsiteX17" fmla="*/ 2928 w 10000"/>
                    <a:gd name="connsiteY17" fmla="*/ 34 h 10086"/>
                    <a:gd name="connsiteX18" fmla="*/ 2887 w 10000"/>
                    <a:gd name="connsiteY18" fmla="*/ 0 h 10086"/>
                    <a:gd name="connsiteX19" fmla="*/ 2681 w 10000"/>
                    <a:gd name="connsiteY19" fmla="*/ 103 h 10086"/>
                    <a:gd name="connsiteX20" fmla="*/ 2598 w 10000"/>
                    <a:gd name="connsiteY20" fmla="*/ 376 h 10086"/>
                    <a:gd name="connsiteX21" fmla="*/ 2310 w 10000"/>
                    <a:gd name="connsiteY21" fmla="*/ 614 h 10086"/>
                    <a:gd name="connsiteX22" fmla="*/ 1732 w 10000"/>
                    <a:gd name="connsiteY22" fmla="*/ 512 h 10086"/>
                    <a:gd name="connsiteX23" fmla="*/ 825 w 10000"/>
                    <a:gd name="connsiteY23" fmla="*/ 786 h 10086"/>
                    <a:gd name="connsiteX24" fmla="*/ 206 w 10000"/>
                    <a:gd name="connsiteY24" fmla="*/ 1503 h 10086"/>
                    <a:gd name="connsiteX25" fmla="*/ 289 w 10000"/>
                    <a:gd name="connsiteY25" fmla="*/ 2288 h 10086"/>
                    <a:gd name="connsiteX26" fmla="*/ 330 w 10000"/>
                    <a:gd name="connsiteY26" fmla="*/ 3449 h 10086"/>
                    <a:gd name="connsiteX27" fmla="*/ 248 w 10000"/>
                    <a:gd name="connsiteY27" fmla="*/ 4166 h 10086"/>
                    <a:gd name="connsiteX28" fmla="*/ 619 w 10000"/>
                    <a:gd name="connsiteY28" fmla="*/ 4917 h 10086"/>
                    <a:gd name="connsiteX29" fmla="*/ 536 w 10000"/>
                    <a:gd name="connsiteY29" fmla="*/ 5191 h 10086"/>
                    <a:gd name="connsiteX30" fmla="*/ 495 w 10000"/>
                    <a:gd name="connsiteY30" fmla="*/ 6044 h 10086"/>
                    <a:gd name="connsiteX31" fmla="*/ 743 w 10000"/>
                    <a:gd name="connsiteY31" fmla="*/ 6556 h 10086"/>
                    <a:gd name="connsiteX32" fmla="*/ 1031 w 10000"/>
                    <a:gd name="connsiteY32" fmla="*/ 6830 h 10086"/>
                    <a:gd name="connsiteX33" fmla="*/ 248 w 10000"/>
                    <a:gd name="connsiteY33" fmla="*/ 7922 h 10086"/>
                    <a:gd name="connsiteX34" fmla="*/ 0 w 10000"/>
                    <a:gd name="connsiteY34" fmla="*/ 9629 h 10086"/>
                    <a:gd name="connsiteX35" fmla="*/ 83 w 10000"/>
                    <a:gd name="connsiteY35" fmla="*/ 9835 h 10086"/>
                    <a:gd name="connsiteX36" fmla="*/ 83 w 10000"/>
                    <a:gd name="connsiteY36" fmla="*/ 9766 h 10086"/>
                    <a:gd name="connsiteX37" fmla="*/ 532 w 10000"/>
                    <a:gd name="connsiteY37" fmla="*/ 9707 h 10086"/>
                    <a:gd name="connsiteX38" fmla="*/ 3248 w 10000"/>
                    <a:gd name="connsiteY38" fmla="*/ 9515 h 10086"/>
                    <a:gd name="connsiteX39" fmla="*/ 5279 w 10000"/>
                    <a:gd name="connsiteY39" fmla="*/ 9629 h 10086"/>
                    <a:gd name="connsiteX40" fmla="*/ 6861 w 10000"/>
                    <a:gd name="connsiteY40" fmla="*/ 10058 h 10086"/>
                    <a:gd name="connsiteX41" fmla="*/ 7548 w 10000"/>
                    <a:gd name="connsiteY41" fmla="*/ 9937 h 10086"/>
                    <a:gd name="connsiteX42" fmla="*/ 7548 w 10000"/>
                    <a:gd name="connsiteY42" fmla="*/ 9937 h 10086"/>
                    <a:gd name="connsiteX43" fmla="*/ 7713 w 10000"/>
                    <a:gd name="connsiteY43" fmla="*/ 9903 h 10086"/>
                    <a:gd name="connsiteX44" fmla="*/ 7713 w 10000"/>
                    <a:gd name="connsiteY44" fmla="*/ 9698 h 10086"/>
                    <a:gd name="connsiteX45" fmla="*/ 7465 w 10000"/>
                    <a:gd name="connsiteY45" fmla="*/ 8229 h 10086"/>
                    <a:gd name="connsiteX46" fmla="*/ 7300 w 10000"/>
                    <a:gd name="connsiteY46" fmla="*/ 7752 h 10086"/>
                    <a:gd name="connsiteX47" fmla="*/ 7217 w 10000"/>
                    <a:gd name="connsiteY47" fmla="*/ 7103 h 10086"/>
                    <a:gd name="connsiteX48" fmla="*/ 7259 w 10000"/>
                    <a:gd name="connsiteY48" fmla="*/ 6932 h 10086"/>
                    <a:gd name="connsiteX49" fmla="*/ 7259 w 10000"/>
                    <a:gd name="connsiteY49" fmla="*/ 6897 h 10086"/>
                    <a:gd name="connsiteX50" fmla="*/ 6929 w 10000"/>
                    <a:gd name="connsiteY50" fmla="*/ 6796 h 10086"/>
                    <a:gd name="connsiteX51" fmla="*/ 7176 w 10000"/>
                    <a:gd name="connsiteY51" fmla="*/ 6386 h 10086"/>
                    <a:gd name="connsiteX52" fmla="*/ 7135 w 10000"/>
                    <a:gd name="connsiteY52" fmla="*/ 5941 h 10086"/>
                    <a:gd name="connsiteX53" fmla="*/ 8043 w 10000"/>
                    <a:gd name="connsiteY53" fmla="*/ 6214 h 10086"/>
                    <a:gd name="connsiteX54" fmla="*/ 8125 w 10000"/>
                    <a:gd name="connsiteY54" fmla="*/ 6317 h 10086"/>
                    <a:gd name="connsiteX55" fmla="*/ 8662 w 10000"/>
                    <a:gd name="connsiteY55" fmla="*/ 6420 h 10086"/>
                    <a:gd name="connsiteX56" fmla="*/ 9486 w 10000"/>
                    <a:gd name="connsiteY56" fmla="*/ 6078 h 10086"/>
                    <a:gd name="connsiteX57" fmla="*/ 9940 w 10000"/>
                    <a:gd name="connsiteY57" fmla="*/ 5840 h 10086"/>
                    <a:gd name="connsiteX58" fmla="*/ 9775 w 10000"/>
                    <a:gd name="connsiteY58" fmla="*/ 4644 h 10086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48 w 10000"/>
                    <a:gd name="connsiteY38" fmla="*/ 9515 h 10085"/>
                    <a:gd name="connsiteX39" fmla="*/ 5279 w 10000"/>
                    <a:gd name="connsiteY39" fmla="*/ 9629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48 w 10000"/>
                    <a:gd name="connsiteY38" fmla="*/ 9515 h 10085"/>
                    <a:gd name="connsiteX39" fmla="*/ 5201 w 10000"/>
                    <a:gd name="connsiteY39" fmla="*/ 9672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75 w 10000"/>
                    <a:gd name="connsiteY38" fmla="*/ 9651 h 10085"/>
                    <a:gd name="connsiteX39" fmla="*/ 5201 w 10000"/>
                    <a:gd name="connsiteY39" fmla="*/ 9672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75 w 10000"/>
                    <a:gd name="connsiteY38" fmla="*/ 9651 h 10085"/>
                    <a:gd name="connsiteX39" fmla="*/ 5228 w 10000"/>
                    <a:gd name="connsiteY39" fmla="*/ 9866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10000" h="10085">
                      <a:moveTo>
                        <a:pt x="9775" y="4644"/>
                      </a:moveTo>
                      <a:cubicBezTo>
                        <a:pt x="9527" y="4439"/>
                        <a:pt x="9321" y="4508"/>
                        <a:pt x="9156" y="4337"/>
                      </a:cubicBezTo>
                      <a:cubicBezTo>
                        <a:pt x="9032" y="4166"/>
                        <a:pt x="8290" y="3518"/>
                        <a:pt x="8290" y="3518"/>
                      </a:cubicBezTo>
                      <a:cubicBezTo>
                        <a:pt x="8290" y="3518"/>
                        <a:pt x="8125" y="3278"/>
                        <a:pt x="8001" y="3278"/>
                      </a:cubicBezTo>
                      <a:cubicBezTo>
                        <a:pt x="7878" y="3278"/>
                        <a:pt x="8001" y="2971"/>
                        <a:pt x="7795" y="2971"/>
                      </a:cubicBezTo>
                      <a:cubicBezTo>
                        <a:pt x="7548" y="2971"/>
                        <a:pt x="7465" y="2629"/>
                        <a:pt x="7465" y="2629"/>
                      </a:cubicBezTo>
                      <a:cubicBezTo>
                        <a:pt x="7465" y="2629"/>
                        <a:pt x="7713" y="2152"/>
                        <a:pt x="6970" y="1844"/>
                      </a:cubicBezTo>
                      <a:cubicBezTo>
                        <a:pt x="6970" y="1844"/>
                        <a:pt x="6764" y="1878"/>
                        <a:pt x="6516" y="1776"/>
                      </a:cubicBezTo>
                      <a:cubicBezTo>
                        <a:pt x="6310" y="1673"/>
                        <a:pt x="5774" y="1503"/>
                        <a:pt x="5733" y="1503"/>
                      </a:cubicBezTo>
                      <a:cubicBezTo>
                        <a:pt x="5733" y="1503"/>
                        <a:pt x="5197" y="956"/>
                        <a:pt x="5073" y="887"/>
                      </a:cubicBezTo>
                      <a:cubicBezTo>
                        <a:pt x="5073" y="887"/>
                        <a:pt x="5073" y="990"/>
                        <a:pt x="5032" y="1059"/>
                      </a:cubicBezTo>
                      <a:lnTo>
                        <a:pt x="5032" y="1127"/>
                      </a:lnTo>
                      <a:cubicBezTo>
                        <a:pt x="4990" y="1195"/>
                        <a:pt x="4908" y="1366"/>
                        <a:pt x="4949" y="1469"/>
                      </a:cubicBezTo>
                      <a:cubicBezTo>
                        <a:pt x="5032" y="1605"/>
                        <a:pt x="5733" y="2253"/>
                        <a:pt x="5774" y="2322"/>
                      </a:cubicBezTo>
                      <a:cubicBezTo>
                        <a:pt x="5815" y="2390"/>
                        <a:pt x="5857" y="2458"/>
                        <a:pt x="5898" y="2526"/>
                      </a:cubicBezTo>
                      <a:cubicBezTo>
                        <a:pt x="5898" y="2526"/>
                        <a:pt x="4949" y="1878"/>
                        <a:pt x="4743" y="1673"/>
                      </a:cubicBezTo>
                      <a:cubicBezTo>
                        <a:pt x="4578" y="1503"/>
                        <a:pt x="3794" y="922"/>
                        <a:pt x="3052" y="170"/>
                      </a:cubicBezTo>
                      <a:cubicBezTo>
                        <a:pt x="3052" y="170"/>
                        <a:pt x="2928" y="69"/>
                        <a:pt x="2928" y="34"/>
                      </a:cubicBezTo>
                      <a:cubicBezTo>
                        <a:pt x="2928" y="0"/>
                        <a:pt x="2928" y="0"/>
                        <a:pt x="2887" y="0"/>
                      </a:cubicBezTo>
                      <a:cubicBezTo>
                        <a:pt x="2846" y="0"/>
                        <a:pt x="2722" y="0"/>
                        <a:pt x="2681" y="103"/>
                      </a:cubicBezTo>
                      <a:cubicBezTo>
                        <a:pt x="2681" y="204"/>
                        <a:pt x="2640" y="341"/>
                        <a:pt x="2598" y="376"/>
                      </a:cubicBezTo>
                      <a:cubicBezTo>
                        <a:pt x="2557" y="444"/>
                        <a:pt x="2310" y="614"/>
                        <a:pt x="2310" y="614"/>
                      </a:cubicBezTo>
                      <a:cubicBezTo>
                        <a:pt x="2310" y="614"/>
                        <a:pt x="2103" y="546"/>
                        <a:pt x="1732" y="512"/>
                      </a:cubicBezTo>
                      <a:cubicBezTo>
                        <a:pt x="1361" y="444"/>
                        <a:pt x="1073" y="512"/>
                        <a:pt x="825" y="786"/>
                      </a:cubicBezTo>
                      <a:cubicBezTo>
                        <a:pt x="619" y="1059"/>
                        <a:pt x="206" y="1400"/>
                        <a:pt x="206" y="1503"/>
                      </a:cubicBezTo>
                      <a:cubicBezTo>
                        <a:pt x="206" y="1605"/>
                        <a:pt x="289" y="2049"/>
                        <a:pt x="289" y="2288"/>
                      </a:cubicBezTo>
                      <a:cubicBezTo>
                        <a:pt x="289" y="2493"/>
                        <a:pt x="371" y="3312"/>
                        <a:pt x="330" y="3449"/>
                      </a:cubicBezTo>
                      <a:cubicBezTo>
                        <a:pt x="289" y="3585"/>
                        <a:pt x="206" y="3859"/>
                        <a:pt x="248" y="4166"/>
                      </a:cubicBezTo>
                      <a:cubicBezTo>
                        <a:pt x="289" y="4474"/>
                        <a:pt x="536" y="4678"/>
                        <a:pt x="619" y="4917"/>
                      </a:cubicBezTo>
                      <a:cubicBezTo>
                        <a:pt x="743" y="5122"/>
                        <a:pt x="578" y="5122"/>
                        <a:pt x="536" y="5191"/>
                      </a:cubicBezTo>
                      <a:cubicBezTo>
                        <a:pt x="454" y="5293"/>
                        <a:pt x="413" y="5703"/>
                        <a:pt x="495" y="6044"/>
                      </a:cubicBezTo>
                      <a:cubicBezTo>
                        <a:pt x="619" y="6351"/>
                        <a:pt x="743" y="6454"/>
                        <a:pt x="743" y="6556"/>
                      </a:cubicBezTo>
                      <a:cubicBezTo>
                        <a:pt x="784" y="6659"/>
                        <a:pt x="1114" y="6761"/>
                        <a:pt x="1031" y="6830"/>
                      </a:cubicBezTo>
                      <a:cubicBezTo>
                        <a:pt x="990" y="6897"/>
                        <a:pt x="413" y="7342"/>
                        <a:pt x="248" y="7922"/>
                      </a:cubicBezTo>
                      <a:cubicBezTo>
                        <a:pt x="83" y="8503"/>
                        <a:pt x="0" y="9528"/>
                        <a:pt x="0" y="9629"/>
                      </a:cubicBezTo>
                      <a:cubicBezTo>
                        <a:pt x="0" y="9664"/>
                        <a:pt x="41" y="9732"/>
                        <a:pt x="83" y="9835"/>
                      </a:cubicBezTo>
                      <a:cubicBezTo>
                        <a:pt x="83" y="9812"/>
                        <a:pt x="8" y="9787"/>
                        <a:pt x="83" y="9766"/>
                      </a:cubicBezTo>
                      <a:cubicBezTo>
                        <a:pt x="158" y="9745"/>
                        <a:pt x="382" y="9727"/>
                        <a:pt x="532" y="9707"/>
                      </a:cubicBezTo>
                      <a:cubicBezTo>
                        <a:pt x="862" y="9605"/>
                        <a:pt x="2492" y="9625"/>
                        <a:pt x="3275" y="9651"/>
                      </a:cubicBezTo>
                      <a:cubicBezTo>
                        <a:pt x="4058" y="9678"/>
                        <a:pt x="4981" y="9832"/>
                        <a:pt x="5228" y="9866"/>
                      </a:cubicBezTo>
                      <a:cubicBezTo>
                        <a:pt x="5476" y="9935"/>
                        <a:pt x="6408" y="9922"/>
                        <a:pt x="6861" y="10058"/>
                      </a:cubicBezTo>
                      <a:cubicBezTo>
                        <a:pt x="7357" y="10161"/>
                        <a:pt x="7434" y="9946"/>
                        <a:pt x="7548" y="9937"/>
                      </a:cubicBezTo>
                      <a:cubicBezTo>
                        <a:pt x="7662" y="9928"/>
                        <a:pt x="7548" y="9980"/>
                        <a:pt x="7548" y="10002"/>
                      </a:cubicBezTo>
                      <a:cubicBezTo>
                        <a:pt x="7630" y="10002"/>
                        <a:pt x="7686" y="9954"/>
                        <a:pt x="7713" y="9903"/>
                      </a:cubicBezTo>
                      <a:cubicBezTo>
                        <a:pt x="7740" y="9852"/>
                        <a:pt x="7754" y="9937"/>
                        <a:pt x="7713" y="9698"/>
                      </a:cubicBezTo>
                      <a:cubicBezTo>
                        <a:pt x="7671" y="9459"/>
                        <a:pt x="7465" y="8469"/>
                        <a:pt x="7465" y="8229"/>
                      </a:cubicBezTo>
                      <a:cubicBezTo>
                        <a:pt x="7465" y="7990"/>
                        <a:pt x="7383" y="7854"/>
                        <a:pt x="7300" y="7752"/>
                      </a:cubicBezTo>
                      <a:cubicBezTo>
                        <a:pt x="7217" y="7649"/>
                        <a:pt x="7176" y="7307"/>
                        <a:pt x="7217" y="7103"/>
                      </a:cubicBezTo>
                      <a:lnTo>
                        <a:pt x="7259" y="6932"/>
                      </a:lnTo>
                      <a:lnTo>
                        <a:pt x="7259" y="6897"/>
                      </a:lnTo>
                      <a:cubicBezTo>
                        <a:pt x="7259" y="6897"/>
                        <a:pt x="6929" y="6897"/>
                        <a:pt x="6929" y="6796"/>
                      </a:cubicBezTo>
                      <a:cubicBezTo>
                        <a:pt x="6929" y="6693"/>
                        <a:pt x="7217" y="6590"/>
                        <a:pt x="7176" y="6386"/>
                      </a:cubicBezTo>
                      <a:cubicBezTo>
                        <a:pt x="7176" y="6214"/>
                        <a:pt x="7135" y="5941"/>
                        <a:pt x="7135" y="5941"/>
                      </a:cubicBezTo>
                      <a:cubicBezTo>
                        <a:pt x="7135" y="5941"/>
                        <a:pt x="8043" y="6147"/>
                        <a:pt x="8043" y="6214"/>
                      </a:cubicBezTo>
                      <a:cubicBezTo>
                        <a:pt x="8043" y="6214"/>
                        <a:pt x="8084" y="6283"/>
                        <a:pt x="8125" y="6317"/>
                      </a:cubicBezTo>
                      <a:cubicBezTo>
                        <a:pt x="8208" y="6386"/>
                        <a:pt x="8373" y="6420"/>
                        <a:pt x="8662" y="6420"/>
                      </a:cubicBezTo>
                      <a:cubicBezTo>
                        <a:pt x="9156" y="6386"/>
                        <a:pt x="9238" y="6249"/>
                        <a:pt x="9486" y="6078"/>
                      </a:cubicBezTo>
                      <a:cubicBezTo>
                        <a:pt x="9733" y="5907"/>
                        <a:pt x="9857" y="5907"/>
                        <a:pt x="9940" y="5840"/>
                      </a:cubicBezTo>
                      <a:cubicBezTo>
                        <a:pt x="10022" y="5771"/>
                        <a:pt x="10063" y="4849"/>
                        <a:pt x="9775" y="4644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9" name="Freeform 169">
                  <a:extLst>
                    <a:ext uri="{FF2B5EF4-FFF2-40B4-BE49-F238E27FC236}">
                      <a16:creationId xmlns:a16="http://schemas.microsoft.com/office/drawing/2014/main" id="{B1C46CAA-EE8A-4177-B234-CE3509D74F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16051" y="1890077"/>
                  <a:ext cx="468597" cy="305685"/>
                </a:xfrm>
                <a:custGeom>
                  <a:avLst/>
                  <a:gdLst>
                    <a:gd name="T0" fmla="*/ 108 w 117"/>
                    <a:gd name="T1" fmla="*/ 26 h 82"/>
                    <a:gd name="T2" fmla="*/ 86 w 117"/>
                    <a:gd name="T3" fmla="*/ 12 h 82"/>
                    <a:gd name="T4" fmla="*/ 96 w 117"/>
                    <a:gd name="T5" fmla="*/ 13 h 82"/>
                    <a:gd name="T6" fmla="*/ 83 w 117"/>
                    <a:gd name="T7" fmla="*/ 8 h 82"/>
                    <a:gd name="T8" fmla="*/ 75 w 117"/>
                    <a:gd name="T9" fmla="*/ 12 h 82"/>
                    <a:gd name="T10" fmla="*/ 68 w 117"/>
                    <a:gd name="T11" fmla="*/ 8 h 82"/>
                    <a:gd name="T12" fmla="*/ 50 w 117"/>
                    <a:gd name="T13" fmla="*/ 7 h 82"/>
                    <a:gd name="T14" fmla="*/ 31 w 117"/>
                    <a:gd name="T15" fmla="*/ 13 h 82"/>
                    <a:gd name="T16" fmla="*/ 12 w 117"/>
                    <a:gd name="T17" fmla="*/ 25 h 82"/>
                    <a:gd name="T18" fmla="*/ 6 w 117"/>
                    <a:gd name="T19" fmla="*/ 48 h 82"/>
                    <a:gd name="T20" fmla="*/ 14 w 117"/>
                    <a:gd name="T21" fmla="*/ 68 h 82"/>
                    <a:gd name="T22" fmla="*/ 19 w 117"/>
                    <a:gd name="T23" fmla="*/ 64 h 82"/>
                    <a:gd name="T24" fmla="*/ 20 w 117"/>
                    <a:gd name="T25" fmla="*/ 64 h 82"/>
                    <a:gd name="T26" fmla="*/ 24 w 117"/>
                    <a:gd name="T27" fmla="*/ 69 h 82"/>
                    <a:gd name="T28" fmla="*/ 32 w 117"/>
                    <a:gd name="T29" fmla="*/ 77 h 82"/>
                    <a:gd name="T30" fmla="*/ 41 w 117"/>
                    <a:gd name="T31" fmla="*/ 67 h 82"/>
                    <a:gd name="T32" fmla="*/ 60 w 117"/>
                    <a:gd name="T33" fmla="*/ 51 h 82"/>
                    <a:gd name="T34" fmla="*/ 56 w 117"/>
                    <a:gd name="T35" fmla="*/ 61 h 82"/>
                    <a:gd name="T36" fmla="*/ 70 w 117"/>
                    <a:gd name="T37" fmla="*/ 60 h 82"/>
                    <a:gd name="T38" fmla="*/ 87 w 117"/>
                    <a:gd name="T39" fmla="*/ 51 h 82"/>
                    <a:gd name="T40" fmla="*/ 82 w 117"/>
                    <a:gd name="T41" fmla="*/ 61 h 82"/>
                    <a:gd name="T42" fmla="*/ 88 w 117"/>
                    <a:gd name="T43" fmla="*/ 57 h 82"/>
                    <a:gd name="T44" fmla="*/ 86 w 117"/>
                    <a:gd name="T45" fmla="*/ 62 h 82"/>
                    <a:gd name="T46" fmla="*/ 101 w 117"/>
                    <a:gd name="T47" fmla="*/ 39 h 82"/>
                    <a:gd name="T48" fmla="*/ 102 w 117"/>
                    <a:gd name="T49" fmla="*/ 54 h 82"/>
                    <a:gd name="T50" fmla="*/ 102 w 117"/>
                    <a:gd name="T51" fmla="*/ 60 h 82"/>
                    <a:gd name="T52" fmla="*/ 106 w 117"/>
                    <a:gd name="T53" fmla="*/ 59 h 82"/>
                    <a:gd name="T54" fmla="*/ 108 w 117"/>
                    <a:gd name="T55" fmla="*/ 70 h 82"/>
                    <a:gd name="T56" fmla="*/ 109 w 117"/>
                    <a:gd name="T57" fmla="*/ 70 h 82"/>
                    <a:gd name="T58" fmla="*/ 115 w 117"/>
                    <a:gd name="T59" fmla="*/ 48 h 82"/>
                    <a:gd name="T60" fmla="*/ 108 w 117"/>
                    <a:gd name="T61" fmla="*/ 26 h 82"/>
                    <a:gd name="connsiteX0" fmla="*/ 8880 w 9522"/>
                    <a:gd name="connsiteY0" fmla="*/ 2696 h 9083"/>
                    <a:gd name="connsiteX1" fmla="*/ 6999 w 9522"/>
                    <a:gd name="connsiteY1" fmla="*/ 988 h 9083"/>
                    <a:gd name="connsiteX2" fmla="*/ 7854 w 9522"/>
                    <a:gd name="connsiteY2" fmla="*/ 1110 h 9083"/>
                    <a:gd name="connsiteX3" fmla="*/ 6743 w 9522"/>
                    <a:gd name="connsiteY3" fmla="*/ 501 h 9083"/>
                    <a:gd name="connsiteX4" fmla="*/ 6059 w 9522"/>
                    <a:gd name="connsiteY4" fmla="*/ 988 h 9083"/>
                    <a:gd name="connsiteX5" fmla="*/ 5461 w 9522"/>
                    <a:gd name="connsiteY5" fmla="*/ 501 h 9083"/>
                    <a:gd name="connsiteX6" fmla="*/ 3923 w 9522"/>
                    <a:gd name="connsiteY6" fmla="*/ 379 h 9083"/>
                    <a:gd name="connsiteX7" fmla="*/ 2299 w 9522"/>
                    <a:gd name="connsiteY7" fmla="*/ 1110 h 9083"/>
                    <a:gd name="connsiteX8" fmla="*/ 675 w 9522"/>
                    <a:gd name="connsiteY8" fmla="*/ 2574 h 9083"/>
                    <a:gd name="connsiteX9" fmla="*/ 162 w 9522"/>
                    <a:gd name="connsiteY9" fmla="*/ 5379 h 9083"/>
                    <a:gd name="connsiteX10" fmla="*/ 846 w 9522"/>
                    <a:gd name="connsiteY10" fmla="*/ 7818 h 9083"/>
                    <a:gd name="connsiteX11" fmla="*/ 1273 w 9522"/>
                    <a:gd name="connsiteY11" fmla="*/ 7330 h 9083"/>
                    <a:gd name="connsiteX12" fmla="*/ 1700 w 9522"/>
                    <a:gd name="connsiteY12" fmla="*/ 7940 h 9083"/>
                    <a:gd name="connsiteX13" fmla="*/ 2384 w 9522"/>
                    <a:gd name="connsiteY13" fmla="*/ 8915 h 9083"/>
                    <a:gd name="connsiteX14" fmla="*/ 3153 w 9522"/>
                    <a:gd name="connsiteY14" fmla="*/ 7696 h 9083"/>
                    <a:gd name="connsiteX15" fmla="*/ 4777 w 9522"/>
                    <a:gd name="connsiteY15" fmla="*/ 5745 h 9083"/>
                    <a:gd name="connsiteX16" fmla="*/ 4435 w 9522"/>
                    <a:gd name="connsiteY16" fmla="*/ 6964 h 9083"/>
                    <a:gd name="connsiteX17" fmla="*/ 5632 w 9522"/>
                    <a:gd name="connsiteY17" fmla="*/ 6842 h 9083"/>
                    <a:gd name="connsiteX18" fmla="*/ 7085 w 9522"/>
                    <a:gd name="connsiteY18" fmla="*/ 5745 h 9083"/>
                    <a:gd name="connsiteX19" fmla="*/ 6658 w 9522"/>
                    <a:gd name="connsiteY19" fmla="*/ 6964 h 9083"/>
                    <a:gd name="connsiteX20" fmla="*/ 7170 w 9522"/>
                    <a:gd name="connsiteY20" fmla="*/ 6476 h 9083"/>
                    <a:gd name="connsiteX21" fmla="*/ 6999 w 9522"/>
                    <a:gd name="connsiteY21" fmla="*/ 7086 h 9083"/>
                    <a:gd name="connsiteX22" fmla="*/ 8281 w 9522"/>
                    <a:gd name="connsiteY22" fmla="*/ 4281 h 9083"/>
                    <a:gd name="connsiteX23" fmla="*/ 8367 w 9522"/>
                    <a:gd name="connsiteY23" fmla="*/ 6110 h 9083"/>
                    <a:gd name="connsiteX24" fmla="*/ 8367 w 9522"/>
                    <a:gd name="connsiteY24" fmla="*/ 6842 h 9083"/>
                    <a:gd name="connsiteX25" fmla="*/ 8709 w 9522"/>
                    <a:gd name="connsiteY25" fmla="*/ 6720 h 9083"/>
                    <a:gd name="connsiteX26" fmla="*/ 8880 w 9522"/>
                    <a:gd name="connsiteY26" fmla="*/ 8062 h 9083"/>
                    <a:gd name="connsiteX27" fmla="*/ 8965 w 9522"/>
                    <a:gd name="connsiteY27" fmla="*/ 8062 h 9083"/>
                    <a:gd name="connsiteX28" fmla="*/ 9478 w 9522"/>
                    <a:gd name="connsiteY28" fmla="*/ 5379 h 9083"/>
                    <a:gd name="connsiteX29" fmla="*/ 8880 w 9522"/>
                    <a:gd name="connsiteY29" fmla="*/ 2696 h 9083"/>
                    <a:gd name="connsiteX0" fmla="*/ 9326 w 10000"/>
                    <a:gd name="connsiteY0" fmla="*/ 2967 h 9999"/>
                    <a:gd name="connsiteX1" fmla="*/ 7350 w 10000"/>
                    <a:gd name="connsiteY1" fmla="*/ 1087 h 9999"/>
                    <a:gd name="connsiteX2" fmla="*/ 8248 w 10000"/>
                    <a:gd name="connsiteY2" fmla="*/ 1221 h 9999"/>
                    <a:gd name="connsiteX3" fmla="*/ 7081 w 10000"/>
                    <a:gd name="connsiteY3" fmla="*/ 551 h 9999"/>
                    <a:gd name="connsiteX4" fmla="*/ 6363 w 10000"/>
                    <a:gd name="connsiteY4" fmla="*/ 1087 h 9999"/>
                    <a:gd name="connsiteX5" fmla="*/ 5735 w 10000"/>
                    <a:gd name="connsiteY5" fmla="*/ 551 h 9999"/>
                    <a:gd name="connsiteX6" fmla="*/ 4120 w 10000"/>
                    <a:gd name="connsiteY6" fmla="*/ 416 h 9999"/>
                    <a:gd name="connsiteX7" fmla="*/ 2414 w 10000"/>
                    <a:gd name="connsiteY7" fmla="*/ 1221 h 9999"/>
                    <a:gd name="connsiteX8" fmla="*/ 709 w 10000"/>
                    <a:gd name="connsiteY8" fmla="*/ 2833 h 9999"/>
                    <a:gd name="connsiteX9" fmla="*/ 170 w 10000"/>
                    <a:gd name="connsiteY9" fmla="*/ 5921 h 9999"/>
                    <a:gd name="connsiteX10" fmla="*/ 888 w 10000"/>
                    <a:gd name="connsiteY10" fmla="*/ 8606 h 9999"/>
                    <a:gd name="connsiteX11" fmla="*/ 1621 w 10000"/>
                    <a:gd name="connsiteY11" fmla="*/ 8326 h 9999"/>
                    <a:gd name="connsiteX12" fmla="*/ 1785 w 10000"/>
                    <a:gd name="connsiteY12" fmla="*/ 8741 h 9999"/>
                    <a:gd name="connsiteX13" fmla="*/ 2504 w 10000"/>
                    <a:gd name="connsiteY13" fmla="*/ 9814 h 9999"/>
                    <a:gd name="connsiteX14" fmla="*/ 3311 w 10000"/>
                    <a:gd name="connsiteY14" fmla="*/ 8472 h 9999"/>
                    <a:gd name="connsiteX15" fmla="*/ 5017 w 10000"/>
                    <a:gd name="connsiteY15" fmla="*/ 6324 h 9999"/>
                    <a:gd name="connsiteX16" fmla="*/ 4658 w 10000"/>
                    <a:gd name="connsiteY16" fmla="*/ 7666 h 9999"/>
                    <a:gd name="connsiteX17" fmla="*/ 5915 w 10000"/>
                    <a:gd name="connsiteY17" fmla="*/ 7532 h 9999"/>
                    <a:gd name="connsiteX18" fmla="*/ 7441 w 10000"/>
                    <a:gd name="connsiteY18" fmla="*/ 6324 h 9999"/>
                    <a:gd name="connsiteX19" fmla="*/ 6992 w 10000"/>
                    <a:gd name="connsiteY19" fmla="*/ 7666 h 9999"/>
                    <a:gd name="connsiteX20" fmla="*/ 7530 w 10000"/>
                    <a:gd name="connsiteY20" fmla="*/ 7129 h 9999"/>
                    <a:gd name="connsiteX21" fmla="*/ 7350 w 10000"/>
                    <a:gd name="connsiteY21" fmla="*/ 7800 h 9999"/>
                    <a:gd name="connsiteX22" fmla="*/ 8697 w 10000"/>
                    <a:gd name="connsiteY22" fmla="*/ 4712 h 9999"/>
                    <a:gd name="connsiteX23" fmla="*/ 8787 w 10000"/>
                    <a:gd name="connsiteY23" fmla="*/ 6726 h 9999"/>
                    <a:gd name="connsiteX24" fmla="*/ 8787 w 10000"/>
                    <a:gd name="connsiteY24" fmla="*/ 7532 h 9999"/>
                    <a:gd name="connsiteX25" fmla="*/ 9146 w 10000"/>
                    <a:gd name="connsiteY25" fmla="*/ 7397 h 9999"/>
                    <a:gd name="connsiteX26" fmla="*/ 9326 w 10000"/>
                    <a:gd name="connsiteY26" fmla="*/ 8875 h 9999"/>
                    <a:gd name="connsiteX27" fmla="*/ 9415 w 10000"/>
                    <a:gd name="connsiteY27" fmla="*/ 8875 h 9999"/>
                    <a:gd name="connsiteX28" fmla="*/ 9954 w 10000"/>
                    <a:gd name="connsiteY28" fmla="*/ 5921 h 9999"/>
                    <a:gd name="connsiteX29" fmla="*/ 9326 w 10000"/>
                    <a:gd name="connsiteY29" fmla="*/ 2967 h 9999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9821"/>
                    <a:gd name="connsiteX1" fmla="*/ 7350 w 10000"/>
                    <a:gd name="connsiteY1" fmla="*/ 1087 h 9821"/>
                    <a:gd name="connsiteX2" fmla="*/ 8248 w 10000"/>
                    <a:gd name="connsiteY2" fmla="*/ 1221 h 9821"/>
                    <a:gd name="connsiteX3" fmla="*/ 7081 w 10000"/>
                    <a:gd name="connsiteY3" fmla="*/ 551 h 9821"/>
                    <a:gd name="connsiteX4" fmla="*/ 6363 w 10000"/>
                    <a:gd name="connsiteY4" fmla="*/ 1087 h 9821"/>
                    <a:gd name="connsiteX5" fmla="*/ 5735 w 10000"/>
                    <a:gd name="connsiteY5" fmla="*/ 551 h 9821"/>
                    <a:gd name="connsiteX6" fmla="*/ 4120 w 10000"/>
                    <a:gd name="connsiteY6" fmla="*/ 416 h 9821"/>
                    <a:gd name="connsiteX7" fmla="*/ 2414 w 10000"/>
                    <a:gd name="connsiteY7" fmla="*/ 1221 h 9821"/>
                    <a:gd name="connsiteX8" fmla="*/ 709 w 10000"/>
                    <a:gd name="connsiteY8" fmla="*/ 2833 h 9821"/>
                    <a:gd name="connsiteX9" fmla="*/ 170 w 10000"/>
                    <a:gd name="connsiteY9" fmla="*/ 5922 h 9821"/>
                    <a:gd name="connsiteX10" fmla="*/ 888 w 10000"/>
                    <a:gd name="connsiteY10" fmla="*/ 9035 h 9821"/>
                    <a:gd name="connsiteX11" fmla="*/ 1621 w 10000"/>
                    <a:gd name="connsiteY11" fmla="*/ 8327 h 9821"/>
                    <a:gd name="connsiteX12" fmla="*/ 1671 w 10000"/>
                    <a:gd name="connsiteY12" fmla="*/ 8913 h 9821"/>
                    <a:gd name="connsiteX13" fmla="*/ 2504 w 10000"/>
                    <a:gd name="connsiteY13" fmla="*/ 9815 h 9821"/>
                    <a:gd name="connsiteX14" fmla="*/ 3311 w 10000"/>
                    <a:gd name="connsiteY14" fmla="*/ 8473 h 9821"/>
                    <a:gd name="connsiteX15" fmla="*/ 5017 w 10000"/>
                    <a:gd name="connsiteY15" fmla="*/ 6325 h 9821"/>
                    <a:gd name="connsiteX16" fmla="*/ 4658 w 10000"/>
                    <a:gd name="connsiteY16" fmla="*/ 7667 h 9821"/>
                    <a:gd name="connsiteX17" fmla="*/ 5915 w 10000"/>
                    <a:gd name="connsiteY17" fmla="*/ 7533 h 9821"/>
                    <a:gd name="connsiteX18" fmla="*/ 7441 w 10000"/>
                    <a:gd name="connsiteY18" fmla="*/ 6325 h 9821"/>
                    <a:gd name="connsiteX19" fmla="*/ 6992 w 10000"/>
                    <a:gd name="connsiteY19" fmla="*/ 7667 h 9821"/>
                    <a:gd name="connsiteX20" fmla="*/ 7530 w 10000"/>
                    <a:gd name="connsiteY20" fmla="*/ 7130 h 9821"/>
                    <a:gd name="connsiteX21" fmla="*/ 7350 w 10000"/>
                    <a:gd name="connsiteY21" fmla="*/ 7801 h 9821"/>
                    <a:gd name="connsiteX22" fmla="*/ 8697 w 10000"/>
                    <a:gd name="connsiteY22" fmla="*/ 4712 h 9821"/>
                    <a:gd name="connsiteX23" fmla="*/ 8787 w 10000"/>
                    <a:gd name="connsiteY23" fmla="*/ 6727 h 9821"/>
                    <a:gd name="connsiteX24" fmla="*/ 8787 w 10000"/>
                    <a:gd name="connsiteY24" fmla="*/ 7533 h 9821"/>
                    <a:gd name="connsiteX25" fmla="*/ 9146 w 10000"/>
                    <a:gd name="connsiteY25" fmla="*/ 7398 h 9821"/>
                    <a:gd name="connsiteX26" fmla="*/ 9326 w 10000"/>
                    <a:gd name="connsiteY26" fmla="*/ 8876 h 9821"/>
                    <a:gd name="connsiteX27" fmla="*/ 9415 w 10000"/>
                    <a:gd name="connsiteY27" fmla="*/ 8876 h 9821"/>
                    <a:gd name="connsiteX28" fmla="*/ 9954 w 10000"/>
                    <a:gd name="connsiteY28" fmla="*/ 5922 h 9821"/>
                    <a:gd name="connsiteX29" fmla="*/ 9326 w 10000"/>
                    <a:gd name="connsiteY29" fmla="*/ 2967 h 9821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5017 w 10000"/>
                    <a:gd name="connsiteY15" fmla="*/ 6440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4960 w 10000"/>
                    <a:gd name="connsiteY15" fmla="*/ 6876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4960 w 10000"/>
                    <a:gd name="connsiteY15" fmla="*/ 6876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9995"/>
                    <a:gd name="connsiteX1" fmla="*/ 7350 w 10000"/>
                    <a:gd name="connsiteY1" fmla="*/ 1107 h 9995"/>
                    <a:gd name="connsiteX2" fmla="*/ 8248 w 10000"/>
                    <a:gd name="connsiteY2" fmla="*/ 1243 h 9995"/>
                    <a:gd name="connsiteX3" fmla="*/ 7081 w 10000"/>
                    <a:gd name="connsiteY3" fmla="*/ 561 h 9995"/>
                    <a:gd name="connsiteX4" fmla="*/ 6363 w 10000"/>
                    <a:gd name="connsiteY4" fmla="*/ 1107 h 9995"/>
                    <a:gd name="connsiteX5" fmla="*/ 5735 w 10000"/>
                    <a:gd name="connsiteY5" fmla="*/ 561 h 9995"/>
                    <a:gd name="connsiteX6" fmla="*/ 4120 w 10000"/>
                    <a:gd name="connsiteY6" fmla="*/ 424 h 9995"/>
                    <a:gd name="connsiteX7" fmla="*/ 2414 w 10000"/>
                    <a:gd name="connsiteY7" fmla="*/ 1243 h 9995"/>
                    <a:gd name="connsiteX8" fmla="*/ 709 w 10000"/>
                    <a:gd name="connsiteY8" fmla="*/ 2885 h 9995"/>
                    <a:gd name="connsiteX9" fmla="*/ 170 w 10000"/>
                    <a:gd name="connsiteY9" fmla="*/ 6030 h 9995"/>
                    <a:gd name="connsiteX10" fmla="*/ 888 w 10000"/>
                    <a:gd name="connsiteY10" fmla="*/ 9200 h 9995"/>
                    <a:gd name="connsiteX11" fmla="*/ 1223 w 10000"/>
                    <a:gd name="connsiteY11" fmla="*/ 8653 h 9995"/>
                    <a:gd name="connsiteX12" fmla="*/ 1671 w 10000"/>
                    <a:gd name="connsiteY12" fmla="*/ 9075 h 9995"/>
                    <a:gd name="connsiteX13" fmla="*/ 2504 w 10000"/>
                    <a:gd name="connsiteY13" fmla="*/ 9994 h 9995"/>
                    <a:gd name="connsiteX14" fmla="*/ 3311 w 10000"/>
                    <a:gd name="connsiteY14" fmla="*/ 8888 h 9995"/>
                    <a:gd name="connsiteX15" fmla="*/ 4960 w 10000"/>
                    <a:gd name="connsiteY15" fmla="*/ 6876 h 9995"/>
                    <a:gd name="connsiteX16" fmla="*/ 4658 w 10000"/>
                    <a:gd name="connsiteY16" fmla="*/ 7807 h 9995"/>
                    <a:gd name="connsiteX17" fmla="*/ 5915 w 10000"/>
                    <a:gd name="connsiteY17" fmla="*/ 7670 h 9995"/>
                    <a:gd name="connsiteX18" fmla="*/ 7441 w 10000"/>
                    <a:gd name="connsiteY18" fmla="*/ 6440 h 9995"/>
                    <a:gd name="connsiteX19" fmla="*/ 6992 w 10000"/>
                    <a:gd name="connsiteY19" fmla="*/ 7807 h 9995"/>
                    <a:gd name="connsiteX20" fmla="*/ 7530 w 10000"/>
                    <a:gd name="connsiteY20" fmla="*/ 7260 h 9995"/>
                    <a:gd name="connsiteX21" fmla="*/ 7350 w 10000"/>
                    <a:gd name="connsiteY21" fmla="*/ 7943 h 9995"/>
                    <a:gd name="connsiteX22" fmla="*/ 8697 w 10000"/>
                    <a:gd name="connsiteY22" fmla="*/ 4798 h 9995"/>
                    <a:gd name="connsiteX23" fmla="*/ 8787 w 10000"/>
                    <a:gd name="connsiteY23" fmla="*/ 6850 h 9995"/>
                    <a:gd name="connsiteX24" fmla="*/ 8787 w 10000"/>
                    <a:gd name="connsiteY24" fmla="*/ 7670 h 9995"/>
                    <a:gd name="connsiteX25" fmla="*/ 9146 w 10000"/>
                    <a:gd name="connsiteY25" fmla="*/ 7533 h 9995"/>
                    <a:gd name="connsiteX26" fmla="*/ 9326 w 10000"/>
                    <a:gd name="connsiteY26" fmla="*/ 9038 h 9995"/>
                    <a:gd name="connsiteX27" fmla="*/ 9415 w 10000"/>
                    <a:gd name="connsiteY27" fmla="*/ 9038 h 9995"/>
                    <a:gd name="connsiteX28" fmla="*/ 9954 w 10000"/>
                    <a:gd name="connsiteY28" fmla="*/ 6030 h 9995"/>
                    <a:gd name="connsiteX29" fmla="*/ 9326 w 10000"/>
                    <a:gd name="connsiteY29" fmla="*/ 3021 h 9995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311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311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595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0000" h="10000">
                      <a:moveTo>
                        <a:pt x="9326" y="3023"/>
                      </a:moveTo>
                      <a:cubicBezTo>
                        <a:pt x="8876" y="1655"/>
                        <a:pt x="6902" y="1244"/>
                        <a:pt x="7350" y="1108"/>
                      </a:cubicBezTo>
                      <a:cubicBezTo>
                        <a:pt x="7710" y="834"/>
                        <a:pt x="8697" y="2065"/>
                        <a:pt x="8248" y="1244"/>
                      </a:cubicBezTo>
                      <a:cubicBezTo>
                        <a:pt x="7710" y="424"/>
                        <a:pt x="7081" y="561"/>
                        <a:pt x="7081" y="561"/>
                      </a:cubicBezTo>
                      <a:cubicBezTo>
                        <a:pt x="6722" y="424"/>
                        <a:pt x="6543" y="1108"/>
                        <a:pt x="6363" y="1108"/>
                      </a:cubicBezTo>
                      <a:cubicBezTo>
                        <a:pt x="6184" y="1108"/>
                        <a:pt x="5735" y="561"/>
                        <a:pt x="5735" y="561"/>
                      </a:cubicBezTo>
                      <a:cubicBezTo>
                        <a:pt x="5107" y="-534"/>
                        <a:pt x="4658" y="287"/>
                        <a:pt x="4120" y="424"/>
                      </a:cubicBezTo>
                      <a:cubicBezTo>
                        <a:pt x="3581" y="424"/>
                        <a:pt x="2683" y="834"/>
                        <a:pt x="2414" y="1244"/>
                      </a:cubicBezTo>
                      <a:cubicBezTo>
                        <a:pt x="2145" y="1655"/>
                        <a:pt x="1516" y="1381"/>
                        <a:pt x="709" y="2886"/>
                      </a:cubicBezTo>
                      <a:cubicBezTo>
                        <a:pt x="-369" y="4663"/>
                        <a:pt x="80" y="5075"/>
                        <a:pt x="170" y="6033"/>
                      </a:cubicBezTo>
                      <a:cubicBezTo>
                        <a:pt x="259" y="6716"/>
                        <a:pt x="713" y="8767"/>
                        <a:pt x="888" y="9205"/>
                      </a:cubicBezTo>
                      <a:cubicBezTo>
                        <a:pt x="1063" y="9642"/>
                        <a:pt x="1093" y="8677"/>
                        <a:pt x="1223" y="8657"/>
                      </a:cubicBezTo>
                      <a:cubicBezTo>
                        <a:pt x="1353" y="8636"/>
                        <a:pt x="1616" y="8939"/>
                        <a:pt x="1671" y="9080"/>
                      </a:cubicBezTo>
                      <a:cubicBezTo>
                        <a:pt x="2031" y="9489"/>
                        <a:pt x="2183" y="10030"/>
                        <a:pt x="2504" y="9999"/>
                      </a:cubicBezTo>
                      <a:cubicBezTo>
                        <a:pt x="2825" y="9968"/>
                        <a:pt x="2851" y="9375"/>
                        <a:pt x="3595" y="8892"/>
                      </a:cubicBezTo>
                      <a:cubicBezTo>
                        <a:pt x="4139" y="8539"/>
                        <a:pt x="5050" y="6195"/>
                        <a:pt x="4960" y="6879"/>
                      </a:cubicBezTo>
                      <a:cubicBezTo>
                        <a:pt x="4780" y="7700"/>
                        <a:pt x="4499" y="7679"/>
                        <a:pt x="4658" y="7811"/>
                      </a:cubicBezTo>
                      <a:cubicBezTo>
                        <a:pt x="4817" y="7943"/>
                        <a:pt x="5915" y="7674"/>
                        <a:pt x="5915" y="7674"/>
                      </a:cubicBezTo>
                      <a:cubicBezTo>
                        <a:pt x="7350" y="7537"/>
                        <a:pt x="7530" y="5896"/>
                        <a:pt x="7441" y="6443"/>
                      </a:cubicBezTo>
                      <a:cubicBezTo>
                        <a:pt x="7350" y="7126"/>
                        <a:pt x="6813" y="7811"/>
                        <a:pt x="6992" y="7811"/>
                      </a:cubicBezTo>
                      <a:cubicBezTo>
                        <a:pt x="7261" y="7811"/>
                        <a:pt x="7710" y="6853"/>
                        <a:pt x="7530" y="7264"/>
                      </a:cubicBezTo>
                      <a:cubicBezTo>
                        <a:pt x="7350" y="7537"/>
                        <a:pt x="7350" y="7947"/>
                        <a:pt x="7350" y="7947"/>
                      </a:cubicBezTo>
                      <a:cubicBezTo>
                        <a:pt x="8607" y="6989"/>
                        <a:pt x="8697" y="4800"/>
                        <a:pt x="8697" y="4800"/>
                      </a:cubicBezTo>
                      <a:cubicBezTo>
                        <a:pt x="8876" y="5212"/>
                        <a:pt x="9056" y="6169"/>
                        <a:pt x="8787" y="6853"/>
                      </a:cubicBezTo>
                      <a:cubicBezTo>
                        <a:pt x="8518" y="7674"/>
                        <a:pt x="8518" y="7811"/>
                        <a:pt x="8787" y="7674"/>
                      </a:cubicBezTo>
                      <a:cubicBezTo>
                        <a:pt x="8967" y="7674"/>
                        <a:pt x="9146" y="7537"/>
                        <a:pt x="9146" y="7537"/>
                      </a:cubicBezTo>
                      <a:cubicBezTo>
                        <a:pt x="9326" y="8495"/>
                        <a:pt x="9146" y="9452"/>
                        <a:pt x="9326" y="9043"/>
                      </a:cubicBezTo>
                      <a:lnTo>
                        <a:pt x="9415" y="9043"/>
                      </a:lnTo>
                      <a:cubicBezTo>
                        <a:pt x="9774" y="8358"/>
                        <a:pt x="9954" y="6033"/>
                        <a:pt x="9954" y="6033"/>
                      </a:cubicBezTo>
                      <a:cubicBezTo>
                        <a:pt x="10133" y="3843"/>
                        <a:pt x="9774" y="4253"/>
                        <a:pt x="9326" y="3023"/>
                      </a:cubicBezTo>
                      <a:close/>
                    </a:path>
                  </a:pathLst>
                </a:custGeom>
                <a:solidFill>
                  <a:srgbClr val="38291F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0" name="Freeform 170">
                  <a:extLst>
                    <a:ext uri="{FF2B5EF4-FFF2-40B4-BE49-F238E27FC236}">
                      <a16:creationId xmlns:a16="http://schemas.microsoft.com/office/drawing/2014/main" id="{6EEB9DE8-CF2C-494C-97F1-76A7AE8AC6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3239" y="5428764"/>
                  <a:ext cx="188321" cy="58629"/>
                </a:xfrm>
                <a:custGeom>
                  <a:avLst/>
                  <a:gdLst>
                    <a:gd name="T0" fmla="*/ 0 w 45"/>
                    <a:gd name="T1" fmla="*/ 4 h 14"/>
                    <a:gd name="T2" fmla="*/ 17 w 45"/>
                    <a:gd name="T3" fmla="*/ 9 h 14"/>
                    <a:gd name="T4" fmla="*/ 35 w 45"/>
                    <a:gd name="T5" fmla="*/ 12 h 14"/>
                    <a:gd name="T6" fmla="*/ 44 w 45"/>
                    <a:gd name="T7" fmla="*/ 12 h 14"/>
                    <a:gd name="T8" fmla="*/ 15 w 45"/>
                    <a:gd name="T9" fmla="*/ 0 h 14"/>
                    <a:gd name="T10" fmla="*/ 0 w 45"/>
                    <a:gd name="T11" fmla="*/ 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14">
                      <a:moveTo>
                        <a:pt x="0" y="4"/>
                      </a:moveTo>
                      <a:cubicBezTo>
                        <a:pt x="0" y="4"/>
                        <a:pt x="9" y="7"/>
                        <a:pt x="17" y="9"/>
                      </a:cubicBezTo>
                      <a:cubicBezTo>
                        <a:pt x="25" y="11"/>
                        <a:pt x="30" y="10"/>
                        <a:pt x="35" y="12"/>
                      </a:cubicBezTo>
                      <a:cubicBezTo>
                        <a:pt x="40" y="13"/>
                        <a:pt x="45" y="14"/>
                        <a:pt x="44" y="12"/>
                      </a:cubicBezTo>
                      <a:cubicBezTo>
                        <a:pt x="44" y="10"/>
                        <a:pt x="15" y="0"/>
                        <a:pt x="15" y="0"/>
                      </a:cubicBezTo>
                      <a:cubicBezTo>
                        <a:pt x="15" y="0"/>
                        <a:pt x="13" y="4"/>
                        <a:pt x="0" y="4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1" name="Freeform 171">
                  <a:extLst>
                    <a:ext uri="{FF2B5EF4-FFF2-40B4-BE49-F238E27FC236}">
                      <a16:creationId xmlns:a16="http://schemas.microsoft.com/office/drawing/2014/main" id="{D5EBDAE8-FD40-408C-8CD4-88103C12FF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7249" y="5453637"/>
                  <a:ext cx="213194" cy="40862"/>
                </a:xfrm>
                <a:custGeom>
                  <a:avLst/>
                  <a:gdLst>
                    <a:gd name="T0" fmla="*/ 1 w 51"/>
                    <a:gd name="T1" fmla="*/ 0 h 10"/>
                    <a:gd name="T2" fmla="*/ 12 w 51"/>
                    <a:gd name="T3" fmla="*/ 5 h 10"/>
                    <a:gd name="T4" fmla="*/ 27 w 51"/>
                    <a:gd name="T5" fmla="*/ 7 h 10"/>
                    <a:gd name="T6" fmla="*/ 48 w 51"/>
                    <a:gd name="T7" fmla="*/ 9 h 10"/>
                    <a:gd name="T8" fmla="*/ 32 w 51"/>
                    <a:gd name="T9" fmla="*/ 10 h 10"/>
                    <a:gd name="T10" fmla="*/ 12 w 51"/>
                    <a:gd name="T11" fmla="*/ 7 h 10"/>
                    <a:gd name="T12" fmla="*/ 1 w 51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1" h="10">
                      <a:moveTo>
                        <a:pt x="1" y="0"/>
                      </a:moveTo>
                      <a:cubicBezTo>
                        <a:pt x="1" y="0"/>
                        <a:pt x="6" y="3"/>
                        <a:pt x="12" y="5"/>
                      </a:cubicBezTo>
                      <a:cubicBezTo>
                        <a:pt x="18" y="7"/>
                        <a:pt x="21" y="5"/>
                        <a:pt x="27" y="7"/>
                      </a:cubicBezTo>
                      <a:cubicBezTo>
                        <a:pt x="33" y="8"/>
                        <a:pt x="45" y="9"/>
                        <a:pt x="48" y="9"/>
                      </a:cubicBezTo>
                      <a:cubicBezTo>
                        <a:pt x="51" y="9"/>
                        <a:pt x="43" y="10"/>
                        <a:pt x="32" y="10"/>
                      </a:cubicBezTo>
                      <a:cubicBezTo>
                        <a:pt x="22" y="10"/>
                        <a:pt x="16" y="10"/>
                        <a:pt x="12" y="7"/>
                      </a:cubicBezTo>
                      <a:cubicBezTo>
                        <a:pt x="8" y="5"/>
                        <a:pt x="0" y="2"/>
                        <a:pt x="1" y="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2" name="Freeform 172">
                  <a:extLst>
                    <a:ext uri="{FF2B5EF4-FFF2-40B4-BE49-F238E27FC236}">
                      <a16:creationId xmlns:a16="http://schemas.microsoft.com/office/drawing/2014/main" id="{B9FB93CC-A6C4-4471-8C74-2B4A0D5659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67556" y="5540691"/>
                  <a:ext cx="74618" cy="97713"/>
                </a:xfrm>
                <a:custGeom>
                  <a:avLst/>
                  <a:gdLst>
                    <a:gd name="T0" fmla="*/ 9 w 18"/>
                    <a:gd name="T1" fmla="*/ 0 h 23"/>
                    <a:gd name="T2" fmla="*/ 6 w 18"/>
                    <a:gd name="T3" fmla="*/ 4 h 23"/>
                    <a:gd name="T4" fmla="*/ 4 w 18"/>
                    <a:gd name="T5" fmla="*/ 12 h 23"/>
                    <a:gd name="T6" fmla="*/ 18 w 18"/>
                    <a:gd name="T7" fmla="*/ 23 h 23"/>
                    <a:gd name="T8" fmla="*/ 14 w 18"/>
                    <a:gd name="T9" fmla="*/ 12 h 23"/>
                    <a:gd name="T10" fmla="*/ 9 w 18"/>
                    <a:gd name="T11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" h="23">
                      <a:moveTo>
                        <a:pt x="9" y="0"/>
                      </a:moveTo>
                      <a:cubicBezTo>
                        <a:pt x="9" y="0"/>
                        <a:pt x="9" y="2"/>
                        <a:pt x="6" y="4"/>
                      </a:cubicBezTo>
                      <a:cubicBezTo>
                        <a:pt x="3" y="5"/>
                        <a:pt x="0" y="9"/>
                        <a:pt x="4" y="12"/>
                      </a:cubicBezTo>
                      <a:cubicBezTo>
                        <a:pt x="8" y="14"/>
                        <a:pt x="18" y="23"/>
                        <a:pt x="18" y="23"/>
                      </a:cubicBezTo>
                      <a:cubicBezTo>
                        <a:pt x="18" y="23"/>
                        <a:pt x="14" y="16"/>
                        <a:pt x="14" y="12"/>
                      </a:cubicBezTo>
                      <a:cubicBezTo>
                        <a:pt x="13" y="9"/>
                        <a:pt x="13" y="2"/>
                        <a:pt x="9" y="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3" name="Freeform 173">
                  <a:extLst>
                    <a:ext uri="{FF2B5EF4-FFF2-40B4-BE49-F238E27FC236}">
                      <a16:creationId xmlns:a16="http://schemas.microsoft.com/office/drawing/2014/main" id="{99081777-FC95-4C70-BCD8-89EA93739E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6237" y="4492488"/>
                  <a:ext cx="179437" cy="843891"/>
                </a:xfrm>
                <a:custGeom>
                  <a:avLst/>
                  <a:gdLst>
                    <a:gd name="T0" fmla="*/ 5 w 43"/>
                    <a:gd name="T1" fmla="*/ 201 h 201"/>
                    <a:gd name="T2" fmla="*/ 4 w 43"/>
                    <a:gd name="T3" fmla="*/ 180 h 201"/>
                    <a:gd name="T4" fmla="*/ 6 w 43"/>
                    <a:gd name="T5" fmla="*/ 154 h 201"/>
                    <a:gd name="T6" fmla="*/ 28 w 43"/>
                    <a:gd name="T7" fmla="*/ 77 h 201"/>
                    <a:gd name="T8" fmla="*/ 40 w 43"/>
                    <a:gd name="T9" fmla="*/ 20 h 201"/>
                    <a:gd name="T10" fmla="*/ 43 w 43"/>
                    <a:gd name="T11" fmla="*/ 0 h 201"/>
                    <a:gd name="T12" fmla="*/ 26 w 43"/>
                    <a:gd name="T13" fmla="*/ 72 h 201"/>
                    <a:gd name="T14" fmla="*/ 14 w 43"/>
                    <a:gd name="T15" fmla="*/ 117 h 201"/>
                    <a:gd name="T16" fmla="*/ 0 w 43"/>
                    <a:gd name="T17" fmla="*/ 163 h 201"/>
                    <a:gd name="T18" fmla="*/ 0 w 43"/>
                    <a:gd name="T19" fmla="*/ 179 h 201"/>
                    <a:gd name="T20" fmla="*/ 1 w 43"/>
                    <a:gd name="T21" fmla="*/ 196 h 201"/>
                    <a:gd name="T22" fmla="*/ 5 w 43"/>
                    <a:gd name="T23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3" h="201">
                      <a:moveTo>
                        <a:pt x="5" y="201"/>
                      </a:moveTo>
                      <a:cubicBezTo>
                        <a:pt x="5" y="201"/>
                        <a:pt x="6" y="184"/>
                        <a:pt x="4" y="180"/>
                      </a:cubicBezTo>
                      <a:cubicBezTo>
                        <a:pt x="3" y="176"/>
                        <a:pt x="3" y="166"/>
                        <a:pt x="6" y="154"/>
                      </a:cubicBezTo>
                      <a:cubicBezTo>
                        <a:pt x="9" y="143"/>
                        <a:pt x="28" y="84"/>
                        <a:pt x="28" y="77"/>
                      </a:cubicBezTo>
                      <a:cubicBezTo>
                        <a:pt x="28" y="70"/>
                        <a:pt x="40" y="27"/>
                        <a:pt x="40" y="20"/>
                      </a:cubicBezTo>
                      <a:cubicBezTo>
                        <a:pt x="40" y="13"/>
                        <a:pt x="43" y="0"/>
                        <a:pt x="43" y="0"/>
                      </a:cubicBezTo>
                      <a:cubicBezTo>
                        <a:pt x="43" y="0"/>
                        <a:pt x="27" y="67"/>
                        <a:pt x="26" y="72"/>
                      </a:cubicBezTo>
                      <a:cubicBezTo>
                        <a:pt x="25" y="76"/>
                        <a:pt x="16" y="112"/>
                        <a:pt x="14" y="117"/>
                      </a:cubicBezTo>
                      <a:cubicBezTo>
                        <a:pt x="12" y="122"/>
                        <a:pt x="0" y="155"/>
                        <a:pt x="0" y="163"/>
                      </a:cubicBezTo>
                      <a:cubicBezTo>
                        <a:pt x="0" y="170"/>
                        <a:pt x="0" y="176"/>
                        <a:pt x="0" y="179"/>
                      </a:cubicBezTo>
                      <a:cubicBezTo>
                        <a:pt x="0" y="183"/>
                        <a:pt x="1" y="196"/>
                        <a:pt x="1" y="196"/>
                      </a:cubicBezTo>
                      <a:lnTo>
                        <a:pt x="5" y="201"/>
                      </a:ln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4" name="Freeform 174">
                  <a:extLst>
                    <a:ext uri="{FF2B5EF4-FFF2-40B4-BE49-F238E27FC236}">
                      <a16:creationId xmlns:a16="http://schemas.microsoft.com/office/drawing/2014/main" id="{4290E22E-699D-46D7-A5C5-2004F888CF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50300" y="4480053"/>
                  <a:ext cx="255832" cy="95937"/>
                </a:xfrm>
                <a:custGeom>
                  <a:avLst/>
                  <a:gdLst>
                    <a:gd name="T0" fmla="*/ 0 w 61"/>
                    <a:gd name="T1" fmla="*/ 0 h 23"/>
                    <a:gd name="T2" fmla="*/ 11 w 61"/>
                    <a:gd name="T3" fmla="*/ 6 h 23"/>
                    <a:gd name="T4" fmla="*/ 32 w 61"/>
                    <a:gd name="T5" fmla="*/ 6 h 23"/>
                    <a:gd name="T6" fmla="*/ 46 w 61"/>
                    <a:gd name="T7" fmla="*/ 18 h 23"/>
                    <a:gd name="T8" fmla="*/ 57 w 61"/>
                    <a:gd name="T9" fmla="*/ 16 h 23"/>
                    <a:gd name="T10" fmla="*/ 60 w 61"/>
                    <a:gd name="T11" fmla="*/ 6 h 23"/>
                    <a:gd name="T12" fmla="*/ 56 w 61"/>
                    <a:gd name="T13" fmla="*/ 2 h 23"/>
                    <a:gd name="T14" fmla="*/ 0 w 61"/>
                    <a:gd name="T15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1" h="23">
                      <a:moveTo>
                        <a:pt x="0" y="0"/>
                      </a:moveTo>
                      <a:cubicBezTo>
                        <a:pt x="0" y="0"/>
                        <a:pt x="5" y="6"/>
                        <a:pt x="11" y="6"/>
                      </a:cubicBezTo>
                      <a:cubicBezTo>
                        <a:pt x="18" y="6"/>
                        <a:pt x="29" y="5"/>
                        <a:pt x="32" y="6"/>
                      </a:cubicBezTo>
                      <a:cubicBezTo>
                        <a:pt x="34" y="7"/>
                        <a:pt x="39" y="14"/>
                        <a:pt x="46" y="18"/>
                      </a:cubicBezTo>
                      <a:cubicBezTo>
                        <a:pt x="52" y="23"/>
                        <a:pt x="56" y="23"/>
                        <a:pt x="57" y="16"/>
                      </a:cubicBezTo>
                      <a:cubicBezTo>
                        <a:pt x="59" y="9"/>
                        <a:pt x="60" y="9"/>
                        <a:pt x="60" y="6"/>
                      </a:cubicBezTo>
                      <a:cubicBezTo>
                        <a:pt x="61" y="3"/>
                        <a:pt x="61" y="2"/>
                        <a:pt x="56" y="2"/>
                      </a:cubicBezTo>
                      <a:cubicBezTo>
                        <a:pt x="50" y="2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5" name="Freeform 175">
                  <a:extLst>
                    <a:ext uri="{FF2B5EF4-FFF2-40B4-BE49-F238E27FC236}">
                      <a16:creationId xmlns:a16="http://schemas.microsoft.com/office/drawing/2014/main" id="{571923DA-6586-4192-89D2-74265F58E6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4492488"/>
                  <a:ext cx="53299" cy="92383"/>
                </a:xfrm>
                <a:custGeom>
                  <a:avLst/>
                  <a:gdLst>
                    <a:gd name="T0" fmla="*/ 13 w 13"/>
                    <a:gd name="T1" fmla="*/ 0 h 22"/>
                    <a:gd name="T2" fmla="*/ 11 w 13"/>
                    <a:gd name="T3" fmla="*/ 9 h 22"/>
                    <a:gd name="T4" fmla="*/ 7 w 13"/>
                    <a:gd name="T5" fmla="*/ 20 h 22"/>
                    <a:gd name="T6" fmla="*/ 1 w 13"/>
                    <a:gd name="T7" fmla="*/ 21 h 22"/>
                    <a:gd name="T8" fmla="*/ 5 w 13"/>
                    <a:gd name="T9" fmla="*/ 0 h 22"/>
                    <a:gd name="T10" fmla="*/ 13 w 13"/>
                    <a:gd name="T11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22">
                      <a:moveTo>
                        <a:pt x="13" y="0"/>
                      </a:moveTo>
                      <a:cubicBezTo>
                        <a:pt x="13" y="0"/>
                        <a:pt x="13" y="5"/>
                        <a:pt x="11" y="9"/>
                      </a:cubicBezTo>
                      <a:cubicBezTo>
                        <a:pt x="9" y="14"/>
                        <a:pt x="10" y="18"/>
                        <a:pt x="7" y="20"/>
                      </a:cubicBezTo>
                      <a:cubicBezTo>
                        <a:pt x="5" y="21"/>
                        <a:pt x="1" y="22"/>
                        <a:pt x="1" y="21"/>
                      </a:cubicBezTo>
                      <a:cubicBezTo>
                        <a:pt x="0" y="19"/>
                        <a:pt x="5" y="0"/>
                        <a:pt x="5" y="0"/>
                      </a:cubicBez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6" name="Freeform 176">
                  <a:extLst>
                    <a:ext uri="{FF2B5EF4-FFF2-40B4-BE49-F238E27FC236}">
                      <a16:creationId xmlns:a16="http://schemas.microsoft.com/office/drawing/2014/main" id="{64FD1250-ED6E-4BC3-A8B3-D87D83030E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51057" y="5080549"/>
                  <a:ext cx="126139" cy="351769"/>
                </a:xfrm>
                <a:custGeom>
                  <a:avLst/>
                  <a:gdLst>
                    <a:gd name="T0" fmla="*/ 9 w 30"/>
                    <a:gd name="T1" fmla="*/ 0 h 84"/>
                    <a:gd name="T2" fmla="*/ 1 w 30"/>
                    <a:gd name="T3" fmla="*/ 33 h 84"/>
                    <a:gd name="T4" fmla="*/ 5 w 30"/>
                    <a:gd name="T5" fmla="*/ 46 h 84"/>
                    <a:gd name="T6" fmla="*/ 18 w 30"/>
                    <a:gd name="T7" fmla="*/ 70 h 84"/>
                    <a:gd name="T8" fmla="*/ 30 w 30"/>
                    <a:gd name="T9" fmla="*/ 83 h 84"/>
                    <a:gd name="T10" fmla="*/ 20 w 30"/>
                    <a:gd name="T11" fmla="*/ 64 h 84"/>
                    <a:gd name="T12" fmla="*/ 8 w 30"/>
                    <a:gd name="T13" fmla="*/ 45 h 84"/>
                    <a:gd name="T14" fmla="*/ 9 w 30"/>
                    <a:gd name="T1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84">
                      <a:moveTo>
                        <a:pt x="9" y="0"/>
                      </a:moveTo>
                      <a:cubicBezTo>
                        <a:pt x="9" y="0"/>
                        <a:pt x="1" y="24"/>
                        <a:pt x="1" y="33"/>
                      </a:cubicBezTo>
                      <a:cubicBezTo>
                        <a:pt x="2" y="42"/>
                        <a:pt x="0" y="40"/>
                        <a:pt x="5" y="46"/>
                      </a:cubicBezTo>
                      <a:cubicBezTo>
                        <a:pt x="10" y="52"/>
                        <a:pt x="13" y="64"/>
                        <a:pt x="18" y="70"/>
                      </a:cubicBezTo>
                      <a:cubicBezTo>
                        <a:pt x="22" y="77"/>
                        <a:pt x="25" y="84"/>
                        <a:pt x="30" y="83"/>
                      </a:cubicBezTo>
                      <a:cubicBezTo>
                        <a:pt x="30" y="83"/>
                        <a:pt x="24" y="74"/>
                        <a:pt x="20" y="64"/>
                      </a:cubicBezTo>
                      <a:cubicBezTo>
                        <a:pt x="20" y="64"/>
                        <a:pt x="10" y="48"/>
                        <a:pt x="8" y="45"/>
                      </a:cubicBezTo>
                      <a:cubicBezTo>
                        <a:pt x="6" y="43"/>
                        <a:pt x="0" y="32"/>
                        <a:pt x="9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7" name="Freeform 177">
                  <a:extLst>
                    <a:ext uri="{FF2B5EF4-FFF2-40B4-BE49-F238E27FC236}">
                      <a16:creationId xmlns:a16="http://schemas.microsoft.com/office/drawing/2014/main" id="{669227A5-AE23-403A-BEA8-FBF434DD7A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73906" y="4853142"/>
                  <a:ext cx="62181" cy="428163"/>
                </a:xfrm>
                <a:custGeom>
                  <a:avLst/>
                  <a:gdLst>
                    <a:gd name="T0" fmla="*/ 2 w 15"/>
                    <a:gd name="T1" fmla="*/ 0 h 102"/>
                    <a:gd name="T2" fmla="*/ 8 w 15"/>
                    <a:gd name="T3" fmla="*/ 40 h 102"/>
                    <a:gd name="T4" fmla="*/ 11 w 15"/>
                    <a:gd name="T5" fmla="*/ 86 h 102"/>
                    <a:gd name="T6" fmla="*/ 2 w 15"/>
                    <a:gd name="T7" fmla="*/ 102 h 102"/>
                    <a:gd name="T8" fmla="*/ 7 w 15"/>
                    <a:gd name="T9" fmla="*/ 55 h 102"/>
                    <a:gd name="T10" fmla="*/ 2 w 15"/>
                    <a:gd name="T11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102">
                      <a:moveTo>
                        <a:pt x="2" y="0"/>
                      </a:moveTo>
                      <a:cubicBezTo>
                        <a:pt x="2" y="0"/>
                        <a:pt x="6" y="33"/>
                        <a:pt x="8" y="40"/>
                      </a:cubicBezTo>
                      <a:cubicBezTo>
                        <a:pt x="10" y="47"/>
                        <a:pt x="15" y="75"/>
                        <a:pt x="11" y="86"/>
                      </a:cubicBezTo>
                      <a:cubicBezTo>
                        <a:pt x="7" y="97"/>
                        <a:pt x="2" y="102"/>
                        <a:pt x="2" y="102"/>
                      </a:cubicBezTo>
                      <a:cubicBezTo>
                        <a:pt x="2" y="102"/>
                        <a:pt x="14" y="88"/>
                        <a:pt x="7" y="55"/>
                      </a:cubicBezTo>
                      <a:cubicBezTo>
                        <a:pt x="7" y="55"/>
                        <a:pt x="0" y="15"/>
                        <a:pt x="2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8" name="Freeform 178">
                  <a:extLst>
                    <a:ext uri="{FF2B5EF4-FFF2-40B4-BE49-F238E27FC236}">
                      <a16:creationId xmlns:a16="http://schemas.microsoft.com/office/drawing/2014/main" id="{4365CF2A-15D1-4DD8-BF4B-AA14EA92B1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77459" y="5435872"/>
                  <a:ext cx="122586" cy="135023"/>
                </a:xfrm>
                <a:custGeom>
                  <a:avLst/>
                  <a:gdLst>
                    <a:gd name="T0" fmla="*/ 0 w 29"/>
                    <a:gd name="T1" fmla="*/ 0 h 32"/>
                    <a:gd name="T2" fmla="*/ 7 w 29"/>
                    <a:gd name="T3" fmla="*/ 18 h 32"/>
                    <a:gd name="T4" fmla="*/ 17 w 29"/>
                    <a:gd name="T5" fmla="*/ 28 h 32"/>
                    <a:gd name="T6" fmla="*/ 29 w 29"/>
                    <a:gd name="T7" fmla="*/ 32 h 32"/>
                    <a:gd name="T8" fmla="*/ 7 w 29"/>
                    <a:gd name="T9" fmla="*/ 29 h 32"/>
                    <a:gd name="T10" fmla="*/ 0 w 29"/>
                    <a:gd name="T11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" h="32">
                      <a:moveTo>
                        <a:pt x="0" y="0"/>
                      </a:moveTo>
                      <a:cubicBezTo>
                        <a:pt x="0" y="0"/>
                        <a:pt x="4" y="9"/>
                        <a:pt x="7" y="18"/>
                      </a:cubicBezTo>
                      <a:cubicBezTo>
                        <a:pt x="10" y="27"/>
                        <a:pt x="12" y="28"/>
                        <a:pt x="17" y="28"/>
                      </a:cubicBezTo>
                      <a:cubicBezTo>
                        <a:pt x="23" y="28"/>
                        <a:pt x="25" y="29"/>
                        <a:pt x="29" y="32"/>
                      </a:cubicBezTo>
                      <a:cubicBezTo>
                        <a:pt x="29" y="32"/>
                        <a:pt x="9" y="31"/>
                        <a:pt x="7" y="29"/>
                      </a:cubicBezTo>
                      <a:cubicBezTo>
                        <a:pt x="6" y="27"/>
                        <a:pt x="0" y="16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9" name="Freeform 179">
                  <a:extLst>
                    <a:ext uri="{FF2B5EF4-FFF2-40B4-BE49-F238E27FC236}">
                      <a16:creationId xmlns:a16="http://schemas.microsoft.com/office/drawing/2014/main" id="{F63E3D35-6369-4E60-8D68-2F2D4C5B4C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72638" y="3836918"/>
                  <a:ext cx="143905" cy="465473"/>
                </a:xfrm>
                <a:custGeom>
                  <a:avLst/>
                  <a:gdLst>
                    <a:gd name="T0" fmla="*/ 3 w 34"/>
                    <a:gd name="T1" fmla="*/ 0 h 111"/>
                    <a:gd name="T2" fmla="*/ 27 w 34"/>
                    <a:gd name="T3" fmla="*/ 48 h 111"/>
                    <a:gd name="T4" fmla="*/ 17 w 34"/>
                    <a:gd name="T5" fmla="*/ 31 h 111"/>
                    <a:gd name="T6" fmla="*/ 30 w 34"/>
                    <a:gd name="T7" fmla="*/ 80 h 111"/>
                    <a:gd name="T8" fmla="*/ 34 w 34"/>
                    <a:gd name="T9" fmla="*/ 111 h 111"/>
                    <a:gd name="T10" fmla="*/ 18 w 34"/>
                    <a:gd name="T11" fmla="*/ 69 h 111"/>
                    <a:gd name="T12" fmla="*/ 11 w 34"/>
                    <a:gd name="T13" fmla="*/ 46 h 111"/>
                    <a:gd name="T14" fmla="*/ 3 w 34"/>
                    <a:gd name="T1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111">
                      <a:moveTo>
                        <a:pt x="3" y="0"/>
                      </a:moveTo>
                      <a:cubicBezTo>
                        <a:pt x="3" y="0"/>
                        <a:pt x="21" y="25"/>
                        <a:pt x="27" y="48"/>
                      </a:cubicBezTo>
                      <a:cubicBezTo>
                        <a:pt x="32" y="71"/>
                        <a:pt x="23" y="40"/>
                        <a:pt x="17" y="31"/>
                      </a:cubicBezTo>
                      <a:cubicBezTo>
                        <a:pt x="10" y="22"/>
                        <a:pt x="27" y="64"/>
                        <a:pt x="30" y="80"/>
                      </a:cubicBezTo>
                      <a:cubicBezTo>
                        <a:pt x="33" y="96"/>
                        <a:pt x="34" y="111"/>
                        <a:pt x="34" y="111"/>
                      </a:cubicBezTo>
                      <a:cubicBezTo>
                        <a:pt x="34" y="111"/>
                        <a:pt x="25" y="78"/>
                        <a:pt x="18" y="69"/>
                      </a:cubicBezTo>
                      <a:cubicBezTo>
                        <a:pt x="11" y="60"/>
                        <a:pt x="12" y="55"/>
                        <a:pt x="11" y="46"/>
                      </a:cubicBezTo>
                      <a:cubicBezTo>
                        <a:pt x="9" y="36"/>
                        <a:pt x="0" y="1"/>
                        <a:pt x="3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0" name="Freeform 180">
                  <a:extLst>
                    <a:ext uri="{FF2B5EF4-FFF2-40B4-BE49-F238E27FC236}">
                      <a16:creationId xmlns:a16="http://schemas.microsoft.com/office/drawing/2014/main" id="{777BE789-6B41-4CB2-95F0-D802E894C1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7249" y="3836918"/>
                  <a:ext cx="129692" cy="655570"/>
                </a:xfrm>
                <a:custGeom>
                  <a:avLst/>
                  <a:gdLst>
                    <a:gd name="T0" fmla="*/ 7 w 31"/>
                    <a:gd name="T1" fmla="*/ 156 h 156"/>
                    <a:gd name="T2" fmla="*/ 13 w 31"/>
                    <a:gd name="T3" fmla="*/ 119 h 156"/>
                    <a:gd name="T4" fmla="*/ 11 w 31"/>
                    <a:gd name="T5" fmla="*/ 63 h 156"/>
                    <a:gd name="T6" fmla="*/ 5 w 31"/>
                    <a:gd name="T7" fmla="*/ 10 h 156"/>
                    <a:gd name="T8" fmla="*/ 14 w 31"/>
                    <a:gd name="T9" fmla="*/ 4 h 156"/>
                    <a:gd name="T10" fmla="*/ 11 w 31"/>
                    <a:gd name="T11" fmla="*/ 8 h 156"/>
                    <a:gd name="T12" fmla="*/ 7 w 31"/>
                    <a:gd name="T13" fmla="*/ 24 h 156"/>
                    <a:gd name="T14" fmla="*/ 20 w 31"/>
                    <a:gd name="T15" fmla="*/ 64 h 156"/>
                    <a:gd name="T16" fmla="*/ 24 w 31"/>
                    <a:gd name="T17" fmla="*/ 120 h 156"/>
                    <a:gd name="T18" fmla="*/ 7 w 31"/>
                    <a:gd name="T19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156">
                      <a:moveTo>
                        <a:pt x="7" y="156"/>
                      </a:moveTo>
                      <a:cubicBezTo>
                        <a:pt x="7" y="156"/>
                        <a:pt x="13" y="128"/>
                        <a:pt x="13" y="119"/>
                      </a:cubicBezTo>
                      <a:cubicBezTo>
                        <a:pt x="13" y="109"/>
                        <a:pt x="16" y="76"/>
                        <a:pt x="11" y="63"/>
                      </a:cubicBezTo>
                      <a:cubicBezTo>
                        <a:pt x="5" y="49"/>
                        <a:pt x="0" y="20"/>
                        <a:pt x="5" y="10"/>
                      </a:cubicBezTo>
                      <a:cubicBezTo>
                        <a:pt x="10" y="0"/>
                        <a:pt x="14" y="4"/>
                        <a:pt x="14" y="4"/>
                      </a:cubicBezTo>
                      <a:cubicBezTo>
                        <a:pt x="14" y="4"/>
                        <a:pt x="12" y="3"/>
                        <a:pt x="11" y="8"/>
                      </a:cubicBezTo>
                      <a:cubicBezTo>
                        <a:pt x="9" y="14"/>
                        <a:pt x="5" y="11"/>
                        <a:pt x="7" y="24"/>
                      </a:cubicBezTo>
                      <a:cubicBezTo>
                        <a:pt x="9" y="38"/>
                        <a:pt x="20" y="59"/>
                        <a:pt x="20" y="64"/>
                      </a:cubicBezTo>
                      <a:cubicBezTo>
                        <a:pt x="21" y="68"/>
                        <a:pt x="31" y="93"/>
                        <a:pt x="24" y="120"/>
                      </a:cubicBezTo>
                      <a:cubicBezTo>
                        <a:pt x="17" y="147"/>
                        <a:pt x="7" y="156"/>
                        <a:pt x="7" y="156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1" name="Freeform 181">
                  <a:extLst>
                    <a:ext uri="{FF2B5EF4-FFF2-40B4-BE49-F238E27FC236}">
                      <a16:creationId xmlns:a16="http://schemas.microsoft.com/office/drawing/2014/main" id="{42C741F4-1E19-48E3-9AA7-9ECE69406F2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52324" y="3861792"/>
                  <a:ext cx="222075" cy="165225"/>
                </a:xfrm>
                <a:custGeom>
                  <a:avLst/>
                  <a:gdLst>
                    <a:gd name="T0" fmla="*/ 53 w 53"/>
                    <a:gd name="T1" fmla="*/ 0 h 39"/>
                    <a:gd name="T2" fmla="*/ 29 w 53"/>
                    <a:gd name="T3" fmla="*/ 18 h 39"/>
                    <a:gd name="T4" fmla="*/ 10 w 53"/>
                    <a:gd name="T5" fmla="*/ 27 h 39"/>
                    <a:gd name="T6" fmla="*/ 14 w 53"/>
                    <a:gd name="T7" fmla="*/ 32 h 39"/>
                    <a:gd name="T8" fmla="*/ 34 w 53"/>
                    <a:gd name="T9" fmla="*/ 15 h 39"/>
                    <a:gd name="T10" fmla="*/ 53 w 53"/>
                    <a:gd name="T1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3" h="39">
                      <a:moveTo>
                        <a:pt x="53" y="0"/>
                      </a:moveTo>
                      <a:cubicBezTo>
                        <a:pt x="53" y="0"/>
                        <a:pt x="33" y="12"/>
                        <a:pt x="29" y="18"/>
                      </a:cubicBezTo>
                      <a:cubicBezTo>
                        <a:pt x="25" y="24"/>
                        <a:pt x="15" y="26"/>
                        <a:pt x="10" y="27"/>
                      </a:cubicBezTo>
                      <a:cubicBezTo>
                        <a:pt x="5" y="27"/>
                        <a:pt x="0" y="39"/>
                        <a:pt x="14" y="32"/>
                      </a:cubicBezTo>
                      <a:cubicBezTo>
                        <a:pt x="28" y="25"/>
                        <a:pt x="29" y="19"/>
                        <a:pt x="34" y="15"/>
                      </a:cubicBezTo>
                      <a:cubicBezTo>
                        <a:pt x="39" y="11"/>
                        <a:pt x="53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2" name="Freeform 182">
                  <a:extLst>
                    <a:ext uri="{FF2B5EF4-FFF2-40B4-BE49-F238E27FC236}">
                      <a16:creationId xmlns:a16="http://schemas.microsoft.com/office/drawing/2014/main" id="{E1A4FE2A-319A-4477-A8D0-13CD6964AA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82279" y="3522457"/>
                  <a:ext cx="357098" cy="92385"/>
                </a:xfrm>
                <a:custGeom>
                  <a:avLst/>
                  <a:gdLst>
                    <a:gd name="T0" fmla="*/ 0 w 85"/>
                    <a:gd name="T1" fmla="*/ 2 h 22"/>
                    <a:gd name="T2" fmla="*/ 42 w 85"/>
                    <a:gd name="T3" fmla="*/ 21 h 22"/>
                    <a:gd name="T4" fmla="*/ 75 w 85"/>
                    <a:gd name="T5" fmla="*/ 15 h 22"/>
                    <a:gd name="T6" fmla="*/ 85 w 85"/>
                    <a:gd name="T7" fmla="*/ 9 h 22"/>
                    <a:gd name="T8" fmla="*/ 43 w 85"/>
                    <a:gd name="T9" fmla="*/ 0 h 22"/>
                    <a:gd name="T10" fmla="*/ 0 w 85"/>
                    <a:gd name="T11" fmla="*/ 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5" h="22">
                      <a:moveTo>
                        <a:pt x="0" y="2"/>
                      </a:moveTo>
                      <a:cubicBezTo>
                        <a:pt x="0" y="2"/>
                        <a:pt x="28" y="20"/>
                        <a:pt x="42" y="21"/>
                      </a:cubicBezTo>
                      <a:cubicBezTo>
                        <a:pt x="56" y="22"/>
                        <a:pt x="66" y="20"/>
                        <a:pt x="75" y="15"/>
                      </a:cubicBezTo>
                      <a:cubicBezTo>
                        <a:pt x="83" y="9"/>
                        <a:pt x="85" y="9"/>
                        <a:pt x="85" y="9"/>
                      </a:cubicBezTo>
                      <a:cubicBezTo>
                        <a:pt x="85" y="9"/>
                        <a:pt x="49" y="0"/>
                        <a:pt x="43" y="0"/>
                      </a:cubicBezTo>
                      <a:cubicBezTo>
                        <a:pt x="37" y="0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3" name="Freeform 183">
                  <a:extLst>
                    <a:ext uri="{FF2B5EF4-FFF2-40B4-BE49-F238E27FC236}">
                      <a16:creationId xmlns:a16="http://schemas.microsoft.com/office/drawing/2014/main" id="{02E57FBF-4C1E-4309-8390-9D2BC68790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06903" y="3518904"/>
                  <a:ext cx="385525" cy="305578"/>
                </a:xfrm>
                <a:custGeom>
                  <a:avLst/>
                  <a:gdLst>
                    <a:gd name="T0" fmla="*/ 64 w 92"/>
                    <a:gd name="T1" fmla="*/ 1 h 73"/>
                    <a:gd name="T2" fmla="*/ 58 w 92"/>
                    <a:gd name="T3" fmla="*/ 6 h 73"/>
                    <a:gd name="T4" fmla="*/ 35 w 92"/>
                    <a:gd name="T5" fmla="*/ 6 h 73"/>
                    <a:gd name="T6" fmla="*/ 25 w 92"/>
                    <a:gd name="T7" fmla="*/ 4 h 73"/>
                    <a:gd name="T8" fmla="*/ 29 w 92"/>
                    <a:gd name="T9" fmla="*/ 10 h 73"/>
                    <a:gd name="T10" fmla="*/ 52 w 92"/>
                    <a:gd name="T11" fmla="*/ 19 h 73"/>
                    <a:gd name="T12" fmla="*/ 86 w 92"/>
                    <a:gd name="T13" fmla="*/ 31 h 73"/>
                    <a:gd name="T14" fmla="*/ 74 w 92"/>
                    <a:gd name="T15" fmla="*/ 32 h 73"/>
                    <a:gd name="T16" fmla="*/ 49 w 92"/>
                    <a:gd name="T17" fmla="*/ 22 h 73"/>
                    <a:gd name="T18" fmla="*/ 18 w 92"/>
                    <a:gd name="T19" fmla="*/ 15 h 73"/>
                    <a:gd name="T20" fmla="*/ 20 w 92"/>
                    <a:gd name="T21" fmla="*/ 22 h 73"/>
                    <a:gd name="T22" fmla="*/ 41 w 92"/>
                    <a:gd name="T23" fmla="*/ 37 h 73"/>
                    <a:gd name="T24" fmla="*/ 56 w 92"/>
                    <a:gd name="T25" fmla="*/ 50 h 73"/>
                    <a:gd name="T26" fmla="*/ 40 w 92"/>
                    <a:gd name="T27" fmla="*/ 42 h 73"/>
                    <a:gd name="T28" fmla="*/ 17 w 92"/>
                    <a:gd name="T29" fmla="*/ 26 h 73"/>
                    <a:gd name="T30" fmla="*/ 14 w 92"/>
                    <a:gd name="T31" fmla="*/ 34 h 73"/>
                    <a:gd name="T32" fmla="*/ 33 w 92"/>
                    <a:gd name="T33" fmla="*/ 61 h 73"/>
                    <a:gd name="T34" fmla="*/ 37 w 92"/>
                    <a:gd name="T35" fmla="*/ 73 h 73"/>
                    <a:gd name="T36" fmla="*/ 9 w 92"/>
                    <a:gd name="T37" fmla="*/ 48 h 73"/>
                    <a:gd name="T38" fmla="*/ 4 w 92"/>
                    <a:gd name="T39" fmla="*/ 7 h 73"/>
                    <a:gd name="T40" fmla="*/ 64 w 92"/>
                    <a:gd name="T41" fmla="*/ 1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2" h="73">
                      <a:moveTo>
                        <a:pt x="64" y="1"/>
                      </a:moveTo>
                      <a:cubicBezTo>
                        <a:pt x="64" y="1"/>
                        <a:pt x="62" y="6"/>
                        <a:pt x="58" y="6"/>
                      </a:cubicBezTo>
                      <a:cubicBezTo>
                        <a:pt x="53" y="7"/>
                        <a:pt x="38" y="7"/>
                        <a:pt x="35" y="6"/>
                      </a:cubicBezTo>
                      <a:cubicBezTo>
                        <a:pt x="31" y="5"/>
                        <a:pt x="25" y="4"/>
                        <a:pt x="25" y="4"/>
                      </a:cubicBezTo>
                      <a:cubicBezTo>
                        <a:pt x="25" y="4"/>
                        <a:pt x="14" y="6"/>
                        <a:pt x="29" y="10"/>
                      </a:cubicBezTo>
                      <a:cubicBezTo>
                        <a:pt x="44" y="14"/>
                        <a:pt x="44" y="16"/>
                        <a:pt x="52" y="19"/>
                      </a:cubicBezTo>
                      <a:cubicBezTo>
                        <a:pt x="60" y="22"/>
                        <a:pt x="80" y="31"/>
                        <a:pt x="86" y="31"/>
                      </a:cubicBezTo>
                      <a:cubicBezTo>
                        <a:pt x="92" y="30"/>
                        <a:pt x="85" y="38"/>
                        <a:pt x="74" y="32"/>
                      </a:cubicBezTo>
                      <a:cubicBezTo>
                        <a:pt x="62" y="26"/>
                        <a:pt x="60" y="25"/>
                        <a:pt x="49" y="22"/>
                      </a:cubicBezTo>
                      <a:cubicBezTo>
                        <a:pt x="38" y="19"/>
                        <a:pt x="19" y="17"/>
                        <a:pt x="18" y="15"/>
                      </a:cubicBezTo>
                      <a:cubicBezTo>
                        <a:pt x="16" y="12"/>
                        <a:pt x="15" y="19"/>
                        <a:pt x="20" y="22"/>
                      </a:cubicBezTo>
                      <a:cubicBezTo>
                        <a:pt x="26" y="26"/>
                        <a:pt x="33" y="33"/>
                        <a:pt x="41" y="37"/>
                      </a:cubicBezTo>
                      <a:cubicBezTo>
                        <a:pt x="50" y="41"/>
                        <a:pt x="56" y="48"/>
                        <a:pt x="56" y="50"/>
                      </a:cubicBezTo>
                      <a:cubicBezTo>
                        <a:pt x="56" y="53"/>
                        <a:pt x="51" y="47"/>
                        <a:pt x="40" y="42"/>
                      </a:cubicBezTo>
                      <a:cubicBezTo>
                        <a:pt x="30" y="37"/>
                        <a:pt x="21" y="32"/>
                        <a:pt x="17" y="26"/>
                      </a:cubicBezTo>
                      <a:cubicBezTo>
                        <a:pt x="14" y="20"/>
                        <a:pt x="10" y="27"/>
                        <a:pt x="14" y="34"/>
                      </a:cubicBezTo>
                      <a:cubicBezTo>
                        <a:pt x="18" y="42"/>
                        <a:pt x="31" y="57"/>
                        <a:pt x="33" y="61"/>
                      </a:cubicBezTo>
                      <a:cubicBezTo>
                        <a:pt x="36" y="66"/>
                        <a:pt x="42" y="72"/>
                        <a:pt x="37" y="73"/>
                      </a:cubicBezTo>
                      <a:cubicBezTo>
                        <a:pt x="33" y="73"/>
                        <a:pt x="12" y="56"/>
                        <a:pt x="9" y="48"/>
                      </a:cubicBezTo>
                      <a:cubicBezTo>
                        <a:pt x="7" y="40"/>
                        <a:pt x="4" y="7"/>
                        <a:pt x="4" y="7"/>
                      </a:cubicBezTo>
                      <a:cubicBezTo>
                        <a:pt x="4" y="7"/>
                        <a:pt x="0" y="0"/>
                        <a:pt x="64" y="1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4" name="Freeform 184">
                  <a:extLst>
                    <a:ext uri="{FF2B5EF4-FFF2-40B4-BE49-F238E27FC236}">
                      <a16:creationId xmlns:a16="http://schemas.microsoft.com/office/drawing/2014/main" id="{59820C0A-F39B-48E5-81E1-3C503082F8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67045" y="3614842"/>
                  <a:ext cx="307354" cy="92385"/>
                </a:xfrm>
                <a:custGeom>
                  <a:avLst/>
                  <a:gdLst>
                    <a:gd name="T0" fmla="*/ 6 w 73"/>
                    <a:gd name="T1" fmla="*/ 2 h 22"/>
                    <a:gd name="T2" fmla="*/ 7 w 73"/>
                    <a:gd name="T3" fmla="*/ 11 h 22"/>
                    <a:gd name="T4" fmla="*/ 38 w 73"/>
                    <a:gd name="T5" fmla="*/ 13 h 22"/>
                    <a:gd name="T6" fmla="*/ 33 w 73"/>
                    <a:gd name="T7" fmla="*/ 18 h 22"/>
                    <a:gd name="T8" fmla="*/ 50 w 73"/>
                    <a:gd name="T9" fmla="*/ 20 h 22"/>
                    <a:gd name="T10" fmla="*/ 69 w 73"/>
                    <a:gd name="T11" fmla="*/ 14 h 22"/>
                    <a:gd name="T12" fmla="*/ 73 w 73"/>
                    <a:gd name="T13" fmla="*/ 6 h 22"/>
                    <a:gd name="T14" fmla="*/ 60 w 73"/>
                    <a:gd name="T15" fmla="*/ 3 h 22"/>
                    <a:gd name="T16" fmla="*/ 46 w 73"/>
                    <a:gd name="T17" fmla="*/ 4 h 22"/>
                    <a:gd name="T18" fmla="*/ 6 w 73"/>
                    <a:gd name="T19" fmla="*/ 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22">
                      <a:moveTo>
                        <a:pt x="6" y="2"/>
                      </a:moveTo>
                      <a:cubicBezTo>
                        <a:pt x="6" y="2"/>
                        <a:pt x="0" y="8"/>
                        <a:pt x="7" y="11"/>
                      </a:cubicBezTo>
                      <a:cubicBezTo>
                        <a:pt x="14" y="15"/>
                        <a:pt x="29" y="15"/>
                        <a:pt x="38" y="13"/>
                      </a:cubicBezTo>
                      <a:cubicBezTo>
                        <a:pt x="47" y="12"/>
                        <a:pt x="38" y="17"/>
                        <a:pt x="33" y="18"/>
                      </a:cubicBezTo>
                      <a:cubicBezTo>
                        <a:pt x="29" y="19"/>
                        <a:pt x="37" y="22"/>
                        <a:pt x="50" y="20"/>
                      </a:cubicBezTo>
                      <a:cubicBezTo>
                        <a:pt x="63" y="18"/>
                        <a:pt x="67" y="17"/>
                        <a:pt x="69" y="14"/>
                      </a:cubicBezTo>
                      <a:cubicBezTo>
                        <a:pt x="71" y="10"/>
                        <a:pt x="73" y="6"/>
                        <a:pt x="73" y="6"/>
                      </a:cubicBezTo>
                      <a:cubicBezTo>
                        <a:pt x="73" y="6"/>
                        <a:pt x="68" y="3"/>
                        <a:pt x="60" y="3"/>
                      </a:cubicBezTo>
                      <a:cubicBezTo>
                        <a:pt x="52" y="3"/>
                        <a:pt x="62" y="5"/>
                        <a:pt x="46" y="4"/>
                      </a:cubicBezTo>
                      <a:cubicBezTo>
                        <a:pt x="30" y="3"/>
                        <a:pt x="7" y="0"/>
                        <a:pt x="6" y="2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5" name="Freeform 185">
                  <a:extLst>
                    <a:ext uri="{FF2B5EF4-FFF2-40B4-BE49-F238E27FC236}">
                      <a16:creationId xmlns:a16="http://schemas.microsoft.com/office/drawing/2014/main" id="{AED41804-9D88-4046-A210-5B81FAE8EA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89632" y="3685905"/>
                  <a:ext cx="193650" cy="147458"/>
                </a:xfrm>
                <a:custGeom>
                  <a:avLst/>
                  <a:gdLst>
                    <a:gd name="T0" fmla="*/ 44 w 46"/>
                    <a:gd name="T1" fmla="*/ 0 h 35"/>
                    <a:gd name="T2" fmla="*/ 34 w 46"/>
                    <a:gd name="T3" fmla="*/ 17 h 35"/>
                    <a:gd name="T4" fmla="*/ 14 w 46"/>
                    <a:gd name="T5" fmla="*/ 21 h 35"/>
                    <a:gd name="T6" fmla="*/ 18 w 46"/>
                    <a:gd name="T7" fmla="*/ 28 h 35"/>
                    <a:gd name="T8" fmla="*/ 44 w 46"/>
                    <a:gd name="T9" fmla="*/ 18 h 35"/>
                    <a:gd name="T10" fmla="*/ 44 w 46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35">
                      <a:moveTo>
                        <a:pt x="44" y="0"/>
                      </a:moveTo>
                      <a:cubicBezTo>
                        <a:pt x="44" y="0"/>
                        <a:pt x="38" y="15"/>
                        <a:pt x="34" y="17"/>
                      </a:cubicBezTo>
                      <a:cubicBezTo>
                        <a:pt x="30" y="19"/>
                        <a:pt x="21" y="21"/>
                        <a:pt x="14" y="21"/>
                      </a:cubicBezTo>
                      <a:cubicBezTo>
                        <a:pt x="6" y="21"/>
                        <a:pt x="0" y="35"/>
                        <a:pt x="18" y="28"/>
                      </a:cubicBezTo>
                      <a:cubicBezTo>
                        <a:pt x="36" y="22"/>
                        <a:pt x="43" y="20"/>
                        <a:pt x="44" y="18"/>
                      </a:cubicBezTo>
                      <a:cubicBezTo>
                        <a:pt x="46" y="16"/>
                        <a:pt x="44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6" name="Freeform 186">
                  <a:extLst>
                    <a:ext uri="{FF2B5EF4-FFF2-40B4-BE49-F238E27FC236}">
                      <a16:creationId xmlns:a16="http://schemas.microsoft.com/office/drawing/2014/main" id="{F2BCC84C-B72B-40F4-A636-7C06330674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31003" y="3359009"/>
                  <a:ext cx="151012" cy="200757"/>
                </a:xfrm>
                <a:custGeom>
                  <a:avLst/>
                  <a:gdLst>
                    <a:gd name="T0" fmla="*/ 0 w 36"/>
                    <a:gd name="T1" fmla="*/ 0 h 48"/>
                    <a:gd name="T2" fmla="*/ 16 w 36"/>
                    <a:gd name="T3" fmla="*/ 16 h 48"/>
                    <a:gd name="T4" fmla="*/ 33 w 36"/>
                    <a:gd name="T5" fmla="*/ 47 h 48"/>
                    <a:gd name="T6" fmla="*/ 18 w 36"/>
                    <a:gd name="T7" fmla="*/ 27 h 48"/>
                    <a:gd name="T8" fmla="*/ 0 w 36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48">
                      <a:moveTo>
                        <a:pt x="0" y="0"/>
                      </a:moveTo>
                      <a:cubicBezTo>
                        <a:pt x="0" y="0"/>
                        <a:pt x="14" y="11"/>
                        <a:pt x="16" y="16"/>
                      </a:cubicBezTo>
                      <a:cubicBezTo>
                        <a:pt x="18" y="22"/>
                        <a:pt x="31" y="45"/>
                        <a:pt x="33" y="47"/>
                      </a:cubicBezTo>
                      <a:cubicBezTo>
                        <a:pt x="36" y="48"/>
                        <a:pt x="26" y="40"/>
                        <a:pt x="18" y="27"/>
                      </a:cubicBezTo>
                      <a:cubicBezTo>
                        <a:pt x="10" y="14"/>
                        <a:pt x="4" y="4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7" name="Freeform 187">
                  <a:extLst>
                    <a:ext uri="{FF2B5EF4-FFF2-40B4-BE49-F238E27FC236}">
                      <a16:creationId xmlns:a16="http://schemas.microsoft.com/office/drawing/2014/main" id="{438B1505-B77B-41A5-AAA4-2BC5C108A7B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47766" y="2767398"/>
                  <a:ext cx="696433" cy="508111"/>
                </a:xfrm>
                <a:custGeom>
                  <a:avLst/>
                  <a:gdLst>
                    <a:gd name="T0" fmla="*/ 166 w 166"/>
                    <a:gd name="T1" fmla="*/ 112 h 121"/>
                    <a:gd name="T2" fmla="*/ 136 w 166"/>
                    <a:gd name="T3" fmla="*/ 104 h 121"/>
                    <a:gd name="T4" fmla="*/ 115 w 166"/>
                    <a:gd name="T5" fmla="*/ 96 h 121"/>
                    <a:gd name="T6" fmla="*/ 100 w 166"/>
                    <a:gd name="T7" fmla="*/ 94 h 121"/>
                    <a:gd name="T8" fmla="*/ 86 w 166"/>
                    <a:gd name="T9" fmla="*/ 84 h 121"/>
                    <a:gd name="T10" fmla="*/ 75 w 166"/>
                    <a:gd name="T11" fmla="*/ 77 h 121"/>
                    <a:gd name="T12" fmla="*/ 62 w 166"/>
                    <a:gd name="T13" fmla="*/ 72 h 121"/>
                    <a:gd name="T14" fmla="*/ 47 w 166"/>
                    <a:gd name="T15" fmla="*/ 60 h 121"/>
                    <a:gd name="T16" fmla="*/ 12 w 166"/>
                    <a:gd name="T17" fmla="*/ 16 h 121"/>
                    <a:gd name="T18" fmla="*/ 2 w 166"/>
                    <a:gd name="T19" fmla="*/ 1 h 121"/>
                    <a:gd name="T20" fmla="*/ 9 w 166"/>
                    <a:gd name="T21" fmla="*/ 19 h 121"/>
                    <a:gd name="T22" fmla="*/ 28 w 166"/>
                    <a:gd name="T23" fmla="*/ 44 h 121"/>
                    <a:gd name="T24" fmla="*/ 42 w 166"/>
                    <a:gd name="T25" fmla="*/ 69 h 121"/>
                    <a:gd name="T26" fmla="*/ 60 w 166"/>
                    <a:gd name="T27" fmla="*/ 91 h 121"/>
                    <a:gd name="T28" fmla="*/ 101 w 166"/>
                    <a:gd name="T29" fmla="*/ 104 h 121"/>
                    <a:gd name="T30" fmla="*/ 134 w 166"/>
                    <a:gd name="T31" fmla="*/ 110 h 121"/>
                    <a:gd name="T32" fmla="*/ 166 w 166"/>
                    <a:gd name="T33" fmla="*/ 119 h 121"/>
                    <a:gd name="T34" fmla="*/ 166 w 166"/>
                    <a:gd name="T35" fmla="*/ 11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6" h="121">
                      <a:moveTo>
                        <a:pt x="166" y="112"/>
                      </a:moveTo>
                      <a:cubicBezTo>
                        <a:pt x="166" y="112"/>
                        <a:pt x="145" y="108"/>
                        <a:pt x="136" y="104"/>
                      </a:cubicBezTo>
                      <a:cubicBezTo>
                        <a:pt x="127" y="101"/>
                        <a:pt x="119" y="98"/>
                        <a:pt x="115" y="96"/>
                      </a:cubicBezTo>
                      <a:cubicBezTo>
                        <a:pt x="112" y="95"/>
                        <a:pt x="108" y="93"/>
                        <a:pt x="100" y="94"/>
                      </a:cubicBezTo>
                      <a:cubicBezTo>
                        <a:pt x="93" y="95"/>
                        <a:pt x="90" y="89"/>
                        <a:pt x="86" y="84"/>
                      </a:cubicBezTo>
                      <a:cubicBezTo>
                        <a:pt x="81" y="80"/>
                        <a:pt x="77" y="77"/>
                        <a:pt x="75" y="77"/>
                      </a:cubicBezTo>
                      <a:cubicBezTo>
                        <a:pt x="72" y="77"/>
                        <a:pt x="65" y="76"/>
                        <a:pt x="62" y="72"/>
                      </a:cubicBezTo>
                      <a:cubicBezTo>
                        <a:pt x="60" y="68"/>
                        <a:pt x="54" y="69"/>
                        <a:pt x="47" y="60"/>
                      </a:cubicBezTo>
                      <a:cubicBezTo>
                        <a:pt x="40" y="51"/>
                        <a:pt x="29" y="41"/>
                        <a:pt x="12" y="16"/>
                      </a:cubicBezTo>
                      <a:cubicBezTo>
                        <a:pt x="12" y="16"/>
                        <a:pt x="3" y="2"/>
                        <a:pt x="2" y="1"/>
                      </a:cubicBezTo>
                      <a:cubicBezTo>
                        <a:pt x="0" y="0"/>
                        <a:pt x="7" y="17"/>
                        <a:pt x="9" y="19"/>
                      </a:cubicBezTo>
                      <a:cubicBezTo>
                        <a:pt x="11" y="21"/>
                        <a:pt x="23" y="39"/>
                        <a:pt x="28" y="44"/>
                      </a:cubicBezTo>
                      <a:cubicBezTo>
                        <a:pt x="33" y="50"/>
                        <a:pt x="35" y="64"/>
                        <a:pt x="42" y="69"/>
                      </a:cubicBezTo>
                      <a:cubicBezTo>
                        <a:pt x="49" y="73"/>
                        <a:pt x="50" y="80"/>
                        <a:pt x="60" y="91"/>
                      </a:cubicBezTo>
                      <a:cubicBezTo>
                        <a:pt x="69" y="101"/>
                        <a:pt x="82" y="105"/>
                        <a:pt x="101" y="104"/>
                      </a:cubicBezTo>
                      <a:cubicBezTo>
                        <a:pt x="120" y="103"/>
                        <a:pt x="117" y="104"/>
                        <a:pt x="134" y="110"/>
                      </a:cubicBezTo>
                      <a:cubicBezTo>
                        <a:pt x="151" y="116"/>
                        <a:pt x="166" y="121"/>
                        <a:pt x="166" y="119"/>
                      </a:cubicBezTo>
                      <a:cubicBezTo>
                        <a:pt x="166" y="118"/>
                        <a:pt x="166" y="112"/>
                        <a:pt x="166" y="112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8" name="Freeform 188">
                  <a:extLst>
                    <a:ext uri="{FF2B5EF4-FFF2-40B4-BE49-F238E27FC236}">
                      <a16:creationId xmlns:a16="http://schemas.microsoft.com/office/drawing/2014/main" id="{A849E0FC-DF2B-498E-B274-230A7FC0C00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60202" y="3103177"/>
                  <a:ext cx="159894" cy="138576"/>
                </a:xfrm>
                <a:custGeom>
                  <a:avLst/>
                  <a:gdLst>
                    <a:gd name="T0" fmla="*/ 16 w 38"/>
                    <a:gd name="T1" fmla="*/ 18 h 33"/>
                    <a:gd name="T2" fmla="*/ 29 w 38"/>
                    <a:gd name="T3" fmla="*/ 4 h 33"/>
                    <a:gd name="T4" fmla="*/ 28 w 38"/>
                    <a:gd name="T5" fmla="*/ 11 h 33"/>
                    <a:gd name="T6" fmla="*/ 4 w 38"/>
                    <a:gd name="T7" fmla="*/ 33 h 33"/>
                    <a:gd name="T8" fmla="*/ 16 w 38"/>
                    <a:gd name="T9" fmla="*/ 1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33">
                      <a:moveTo>
                        <a:pt x="16" y="18"/>
                      </a:moveTo>
                      <a:cubicBezTo>
                        <a:pt x="16" y="18"/>
                        <a:pt x="24" y="8"/>
                        <a:pt x="29" y="4"/>
                      </a:cubicBezTo>
                      <a:cubicBezTo>
                        <a:pt x="35" y="0"/>
                        <a:pt x="38" y="0"/>
                        <a:pt x="28" y="11"/>
                      </a:cubicBezTo>
                      <a:cubicBezTo>
                        <a:pt x="18" y="21"/>
                        <a:pt x="8" y="32"/>
                        <a:pt x="4" y="33"/>
                      </a:cubicBezTo>
                      <a:cubicBezTo>
                        <a:pt x="0" y="33"/>
                        <a:pt x="16" y="18"/>
                        <a:pt x="16" y="18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9" name="Freeform 189">
                  <a:extLst>
                    <a:ext uri="{FF2B5EF4-FFF2-40B4-BE49-F238E27FC236}">
                      <a16:creationId xmlns:a16="http://schemas.microsoft.com/office/drawing/2014/main" id="{F5F56F59-C683-4EC7-B598-E167563DD5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69084" y="2490245"/>
                  <a:ext cx="230960" cy="58629"/>
                </a:xfrm>
                <a:custGeom>
                  <a:avLst/>
                  <a:gdLst>
                    <a:gd name="T0" fmla="*/ 0 w 55"/>
                    <a:gd name="T1" fmla="*/ 8 h 14"/>
                    <a:gd name="T2" fmla="*/ 20 w 55"/>
                    <a:gd name="T3" fmla="*/ 0 h 14"/>
                    <a:gd name="T4" fmla="*/ 55 w 55"/>
                    <a:gd name="T5" fmla="*/ 11 h 14"/>
                    <a:gd name="T6" fmla="*/ 40 w 55"/>
                    <a:gd name="T7" fmla="*/ 12 h 14"/>
                    <a:gd name="T8" fmla="*/ 23 w 55"/>
                    <a:gd name="T9" fmla="*/ 5 h 14"/>
                    <a:gd name="T10" fmla="*/ 0 w 55"/>
                    <a:gd name="T11" fmla="*/ 8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5" h="14">
                      <a:moveTo>
                        <a:pt x="0" y="8"/>
                      </a:moveTo>
                      <a:cubicBezTo>
                        <a:pt x="0" y="8"/>
                        <a:pt x="15" y="0"/>
                        <a:pt x="20" y="0"/>
                      </a:cubicBezTo>
                      <a:cubicBezTo>
                        <a:pt x="25" y="0"/>
                        <a:pt x="44" y="4"/>
                        <a:pt x="55" y="11"/>
                      </a:cubicBezTo>
                      <a:cubicBezTo>
                        <a:pt x="55" y="11"/>
                        <a:pt x="47" y="14"/>
                        <a:pt x="40" y="12"/>
                      </a:cubicBezTo>
                      <a:cubicBezTo>
                        <a:pt x="34" y="11"/>
                        <a:pt x="36" y="5"/>
                        <a:pt x="23" y="5"/>
                      </a:cubicBezTo>
                      <a:cubicBezTo>
                        <a:pt x="10" y="5"/>
                        <a:pt x="3" y="6"/>
                        <a:pt x="0" y="8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0" name="Freeform 190">
                  <a:extLst>
                    <a:ext uri="{FF2B5EF4-FFF2-40B4-BE49-F238E27FC236}">
                      <a16:creationId xmlns:a16="http://schemas.microsoft.com/office/drawing/2014/main" id="{2FA863E8-F420-4DD3-A274-ED72F20EF6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38883" y="2573745"/>
                  <a:ext cx="184768" cy="67511"/>
                </a:xfrm>
                <a:custGeom>
                  <a:avLst/>
                  <a:gdLst>
                    <a:gd name="T0" fmla="*/ 2 w 44"/>
                    <a:gd name="T1" fmla="*/ 1 h 16"/>
                    <a:gd name="T2" fmla="*/ 17 w 44"/>
                    <a:gd name="T3" fmla="*/ 0 h 16"/>
                    <a:gd name="T4" fmla="*/ 44 w 44"/>
                    <a:gd name="T5" fmla="*/ 0 h 16"/>
                    <a:gd name="T6" fmla="*/ 29 w 44"/>
                    <a:gd name="T7" fmla="*/ 4 h 16"/>
                    <a:gd name="T8" fmla="*/ 16 w 44"/>
                    <a:gd name="T9" fmla="*/ 10 h 16"/>
                    <a:gd name="T10" fmla="*/ 1 w 44"/>
                    <a:gd name="T11" fmla="*/ 16 h 16"/>
                    <a:gd name="T12" fmla="*/ 2 w 44"/>
                    <a:gd name="T13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4" h="16">
                      <a:moveTo>
                        <a:pt x="2" y="1"/>
                      </a:moveTo>
                      <a:cubicBezTo>
                        <a:pt x="2" y="1"/>
                        <a:pt x="12" y="0"/>
                        <a:pt x="17" y="0"/>
                      </a:cubicBezTo>
                      <a:cubicBezTo>
                        <a:pt x="22" y="0"/>
                        <a:pt x="35" y="1"/>
                        <a:pt x="44" y="0"/>
                      </a:cubicBezTo>
                      <a:cubicBezTo>
                        <a:pt x="44" y="0"/>
                        <a:pt x="36" y="4"/>
                        <a:pt x="29" y="4"/>
                      </a:cubicBezTo>
                      <a:cubicBezTo>
                        <a:pt x="22" y="4"/>
                        <a:pt x="21" y="6"/>
                        <a:pt x="16" y="10"/>
                      </a:cubicBezTo>
                      <a:cubicBezTo>
                        <a:pt x="10" y="14"/>
                        <a:pt x="1" y="16"/>
                        <a:pt x="1" y="16"/>
                      </a:cubicBezTo>
                      <a:cubicBezTo>
                        <a:pt x="1" y="16"/>
                        <a:pt x="0" y="0"/>
                        <a:pt x="2" y="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1" name="Freeform 191">
                  <a:extLst>
                    <a:ext uri="{FF2B5EF4-FFF2-40B4-BE49-F238E27FC236}">
                      <a16:creationId xmlns:a16="http://schemas.microsoft.com/office/drawing/2014/main" id="{E07DE278-CAAE-4D8A-8CF2-B25DD66ADA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12482" y="2490245"/>
                  <a:ext cx="120810" cy="277153"/>
                </a:xfrm>
                <a:custGeom>
                  <a:avLst/>
                  <a:gdLst>
                    <a:gd name="T0" fmla="*/ 0 w 29"/>
                    <a:gd name="T1" fmla="*/ 0 h 66"/>
                    <a:gd name="T2" fmla="*/ 9 w 29"/>
                    <a:gd name="T3" fmla="*/ 18 h 66"/>
                    <a:gd name="T4" fmla="*/ 17 w 29"/>
                    <a:gd name="T5" fmla="*/ 42 h 66"/>
                    <a:gd name="T6" fmla="*/ 27 w 29"/>
                    <a:gd name="T7" fmla="*/ 64 h 66"/>
                    <a:gd name="T8" fmla="*/ 19 w 29"/>
                    <a:gd name="T9" fmla="*/ 37 h 66"/>
                    <a:gd name="T10" fmla="*/ 15 w 29"/>
                    <a:gd name="T11" fmla="*/ 21 h 66"/>
                    <a:gd name="T12" fmla="*/ 0 w 29"/>
                    <a:gd name="T13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66">
                      <a:moveTo>
                        <a:pt x="0" y="0"/>
                      </a:moveTo>
                      <a:cubicBezTo>
                        <a:pt x="0" y="0"/>
                        <a:pt x="8" y="13"/>
                        <a:pt x="9" y="18"/>
                      </a:cubicBezTo>
                      <a:cubicBezTo>
                        <a:pt x="10" y="23"/>
                        <a:pt x="12" y="35"/>
                        <a:pt x="17" y="42"/>
                      </a:cubicBezTo>
                      <a:cubicBezTo>
                        <a:pt x="21" y="48"/>
                        <a:pt x="25" y="62"/>
                        <a:pt x="27" y="64"/>
                      </a:cubicBezTo>
                      <a:cubicBezTo>
                        <a:pt x="29" y="66"/>
                        <a:pt x="21" y="40"/>
                        <a:pt x="19" y="37"/>
                      </a:cubicBezTo>
                      <a:cubicBezTo>
                        <a:pt x="18" y="34"/>
                        <a:pt x="18" y="33"/>
                        <a:pt x="15" y="21"/>
                      </a:cubicBezTo>
                      <a:cubicBezTo>
                        <a:pt x="11" y="10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2" name="Freeform 192">
                  <a:extLst>
                    <a:ext uri="{FF2B5EF4-FFF2-40B4-BE49-F238E27FC236}">
                      <a16:creationId xmlns:a16="http://schemas.microsoft.com/office/drawing/2014/main" id="{07FF2F6E-8B78-462E-9A96-FFFAFA5D89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7504" y="2770951"/>
                  <a:ext cx="364205" cy="156342"/>
                </a:xfrm>
                <a:custGeom>
                  <a:avLst/>
                  <a:gdLst>
                    <a:gd name="T0" fmla="*/ 0 w 87"/>
                    <a:gd name="T1" fmla="*/ 0 h 37"/>
                    <a:gd name="T2" fmla="*/ 10 w 87"/>
                    <a:gd name="T3" fmla="*/ 14 h 37"/>
                    <a:gd name="T4" fmla="*/ 15 w 87"/>
                    <a:gd name="T5" fmla="*/ 21 h 37"/>
                    <a:gd name="T6" fmla="*/ 24 w 87"/>
                    <a:gd name="T7" fmla="*/ 30 h 37"/>
                    <a:gd name="T8" fmla="*/ 37 w 87"/>
                    <a:gd name="T9" fmla="*/ 35 h 37"/>
                    <a:gd name="T10" fmla="*/ 45 w 87"/>
                    <a:gd name="T11" fmla="*/ 33 h 37"/>
                    <a:gd name="T12" fmla="*/ 58 w 87"/>
                    <a:gd name="T13" fmla="*/ 31 h 37"/>
                    <a:gd name="T14" fmla="*/ 82 w 87"/>
                    <a:gd name="T15" fmla="*/ 31 h 37"/>
                    <a:gd name="T16" fmla="*/ 57 w 87"/>
                    <a:gd name="T17" fmla="*/ 27 h 37"/>
                    <a:gd name="T18" fmla="*/ 34 w 87"/>
                    <a:gd name="T19" fmla="*/ 30 h 37"/>
                    <a:gd name="T20" fmla="*/ 19 w 87"/>
                    <a:gd name="T21" fmla="*/ 18 h 37"/>
                    <a:gd name="T22" fmla="*/ 13 w 87"/>
                    <a:gd name="T23" fmla="*/ 11 h 37"/>
                    <a:gd name="T24" fmla="*/ 0 w 87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7" h="37">
                      <a:moveTo>
                        <a:pt x="0" y="0"/>
                      </a:moveTo>
                      <a:cubicBezTo>
                        <a:pt x="0" y="0"/>
                        <a:pt x="13" y="10"/>
                        <a:pt x="10" y="14"/>
                      </a:cubicBezTo>
                      <a:cubicBezTo>
                        <a:pt x="7" y="18"/>
                        <a:pt x="3" y="18"/>
                        <a:pt x="15" y="21"/>
                      </a:cubicBezTo>
                      <a:cubicBezTo>
                        <a:pt x="15" y="21"/>
                        <a:pt x="21" y="27"/>
                        <a:pt x="24" y="30"/>
                      </a:cubicBezTo>
                      <a:cubicBezTo>
                        <a:pt x="24" y="30"/>
                        <a:pt x="29" y="33"/>
                        <a:pt x="37" y="35"/>
                      </a:cubicBezTo>
                      <a:cubicBezTo>
                        <a:pt x="44" y="37"/>
                        <a:pt x="41" y="34"/>
                        <a:pt x="45" y="33"/>
                      </a:cubicBezTo>
                      <a:cubicBezTo>
                        <a:pt x="48" y="33"/>
                        <a:pt x="52" y="30"/>
                        <a:pt x="58" y="31"/>
                      </a:cubicBezTo>
                      <a:cubicBezTo>
                        <a:pt x="65" y="31"/>
                        <a:pt x="77" y="31"/>
                        <a:pt x="82" y="31"/>
                      </a:cubicBezTo>
                      <a:cubicBezTo>
                        <a:pt x="87" y="31"/>
                        <a:pt x="66" y="27"/>
                        <a:pt x="57" y="27"/>
                      </a:cubicBezTo>
                      <a:cubicBezTo>
                        <a:pt x="57" y="27"/>
                        <a:pt x="39" y="32"/>
                        <a:pt x="34" y="30"/>
                      </a:cubicBezTo>
                      <a:cubicBezTo>
                        <a:pt x="29" y="29"/>
                        <a:pt x="23" y="21"/>
                        <a:pt x="19" y="18"/>
                      </a:cubicBezTo>
                      <a:cubicBezTo>
                        <a:pt x="16" y="15"/>
                        <a:pt x="14" y="18"/>
                        <a:pt x="13" y="11"/>
                      </a:cubicBezTo>
                      <a:cubicBezTo>
                        <a:pt x="12" y="4"/>
                        <a:pt x="1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3" name="Freeform 193">
                  <a:extLst>
                    <a:ext uri="{FF2B5EF4-FFF2-40B4-BE49-F238E27FC236}">
                      <a16:creationId xmlns:a16="http://schemas.microsoft.com/office/drawing/2014/main" id="{03B0E832-EE63-4D5A-87B6-153E385713D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6237" y="2863334"/>
                  <a:ext cx="184768" cy="42639"/>
                </a:xfrm>
                <a:custGeom>
                  <a:avLst/>
                  <a:gdLst>
                    <a:gd name="T0" fmla="*/ 35 w 44"/>
                    <a:gd name="T1" fmla="*/ 1 h 10"/>
                    <a:gd name="T2" fmla="*/ 0 w 44"/>
                    <a:gd name="T3" fmla="*/ 10 h 10"/>
                    <a:gd name="T4" fmla="*/ 18 w 44"/>
                    <a:gd name="T5" fmla="*/ 7 h 10"/>
                    <a:gd name="T6" fmla="*/ 43 w 44"/>
                    <a:gd name="T7" fmla="*/ 4 h 10"/>
                    <a:gd name="T8" fmla="*/ 35 w 44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10">
                      <a:moveTo>
                        <a:pt x="35" y="1"/>
                      </a:moveTo>
                      <a:cubicBezTo>
                        <a:pt x="35" y="1"/>
                        <a:pt x="7" y="0"/>
                        <a:pt x="0" y="10"/>
                      </a:cubicBezTo>
                      <a:cubicBezTo>
                        <a:pt x="0" y="10"/>
                        <a:pt x="6" y="7"/>
                        <a:pt x="18" y="7"/>
                      </a:cubicBezTo>
                      <a:cubicBezTo>
                        <a:pt x="29" y="8"/>
                        <a:pt x="44" y="8"/>
                        <a:pt x="43" y="4"/>
                      </a:cubicBezTo>
                      <a:cubicBezTo>
                        <a:pt x="42" y="1"/>
                        <a:pt x="37" y="0"/>
                        <a:pt x="35" y="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4" name="Freeform 194">
                  <a:extLst>
                    <a:ext uri="{FF2B5EF4-FFF2-40B4-BE49-F238E27FC236}">
                      <a16:creationId xmlns:a16="http://schemas.microsoft.com/office/drawing/2014/main" id="{5ABF69CE-AB64-49B8-8B4F-10DB88B235C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87099" y="2909526"/>
                  <a:ext cx="165225" cy="122586"/>
                </a:xfrm>
                <a:custGeom>
                  <a:avLst/>
                  <a:gdLst>
                    <a:gd name="T0" fmla="*/ 39 w 39"/>
                    <a:gd name="T1" fmla="*/ 0 h 29"/>
                    <a:gd name="T2" fmla="*/ 22 w 39"/>
                    <a:gd name="T3" fmla="*/ 19 h 29"/>
                    <a:gd name="T4" fmla="*/ 3 w 39"/>
                    <a:gd name="T5" fmla="*/ 21 h 29"/>
                    <a:gd name="T6" fmla="*/ 20 w 39"/>
                    <a:gd name="T7" fmla="*/ 23 h 29"/>
                    <a:gd name="T8" fmla="*/ 39 w 39"/>
                    <a:gd name="T9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29">
                      <a:moveTo>
                        <a:pt x="39" y="0"/>
                      </a:moveTo>
                      <a:cubicBezTo>
                        <a:pt x="39" y="0"/>
                        <a:pt x="32" y="16"/>
                        <a:pt x="22" y="19"/>
                      </a:cubicBezTo>
                      <a:cubicBezTo>
                        <a:pt x="13" y="22"/>
                        <a:pt x="7" y="20"/>
                        <a:pt x="3" y="21"/>
                      </a:cubicBezTo>
                      <a:cubicBezTo>
                        <a:pt x="0" y="21"/>
                        <a:pt x="4" y="29"/>
                        <a:pt x="20" y="23"/>
                      </a:cubicBezTo>
                      <a:cubicBezTo>
                        <a:pt x="35" y="17"/>
                        <a:pt x="37" y="7"/>
                        <a:pt x="39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5" name="Freeform 195">
                  <a:extLst>
                    <a:ext uri="{FF2B5EF4-FFF2-40B4-BE49-F238E27FC236}">
                      <a16:creationId xmlns:a16="http://schemas.microsoft.com/office/drawing/2014/main" id="{6B223EC3-B326-417D-8210-DFF14AB0A6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2016" y="3035666"/>
                  <a:ext cx="62181" cy="95937"/>
                </a:xfrm>
                <a:custGeom>
                  <a:avLst/>
                  <a:gdLst>
                    <a:gd name="T0" fmla="*/ 0 w 15"/>
                    <a:gd name="T1" fmla="*/ 0 h 23"/>
                    <a:gd name="T2" fmla="*/ 14 w 15"/>
                    <a:gd name="T3" fmla="*/ 10 h 23"/>
                    <a:gd name="T4" fmla="*/ 15 w 15"/>
                    <a:gd name="T5" fmla="*/ 23 h 23"/>
                    <a:gd name="T6" fmla="*/ 0 w 15"/>
                    <a:gd name="T7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23">
                      <a:moveTo>
                        <a:pt x="0" y="0"/>
                      </a:moveTo>
                      <a:cubicBezTo>
                        <a:pt x="0" y="0"/>
                        <a:pt x="15" y="6"/>
                        <a:pt x="14" y="10"/>
                      </a:cubicBezTo>
                      <a:cubicBezTo>
                        <a:pt x="14" y="13"/>
                        <a:pt x="15" y="23"/>
                        <a:pt x="15" y="23"/>
                      </a:cubicBezTo>
                      <a:cubicBezTo>
                        <a:pt x="15" y="23"/>
                        <a:pt x="7" y="9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6" name="Freeform 196">
                  <a:extLst>
                    <a:ext uri="{FF2B5EF4-FFF2-40B4-BE49-F238E27FC236}">
                      <a16:creationId xmlns:a16="http://schemas.microsoft.com/office/drawing/2014/main" id="{B271B6D6-745C-43EF-89EC-F509DA4E45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64251" y="2973485"/>
                  <a:ext cx="135023" cy="129692"/>
                </a:xfrm>
                <a:custGeom>
                  <a:avLst/>
                  <a:gdLst>
                    <a:gd name="T0" fmla="*/ 30 w 32"/>
                    <a:gd name="T1" fmla="*/ 26 h 31"/>
                    <a:gd name="T2" fmla="*/ 24 w 32"/>
                    <a:gd name="T3" fmla="*/ 5 h 31"/>
                    <a:gd name="T4" fmla="*/ 18 w 32"/>
                    <a:gd name="T5" fmla="*/ 0 h 31"/>
                    <a:gd name="T6" fmla="*/ 13 w 32"/>
                    <a:gd name="T7" fmla="*/ 11 h 31"/>
                    <a:gd name="T8" fmla="*/ 1 w 32"/>
                    <a:gd name="T9" fmla="*/ 11 h 31"/>
                    <a:gd name="T10" fmla="*/ 18 w 32"/>
                    <a:gd name="T11" fmla="*/ 25 h 31"/>
                    <a:gd name="T12" fmla="*/ 30 w 32"/>
                    <a:gd name="T13" fmla="*/ 2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" h="31">
                      <a:moveTo>
                        <a:pt x="30" y="26"/>
                      </a:moveTo>
                      <a:cubicBezTo>
                        <a:pt x="30" y="26"/>
                        <a:pt x="32" y="14"/>
                        <a:pt x="24" y="5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0"/>
                        <a:pt x="23" y="8"/>
                        <a:pt x="13" y="11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1"/>
                        <a:pt x="0" y="15"/>
                        <a:pt x="18" y="25"/>
                      </a:cubicBezTo>
                      <a:cubicBezTo>
                        <a:pt x="18" y="25"/>
                        <a:pt x="31" y="31"/>
                        <a:pt x="30" y="26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7" name="Freeform 197">
                  <a:extLst>
                    <a:ext uri="{FF2B5EF4-FFF2-40B4-BE49-F238E27FC236}">
                      <a16:creationId xmlns:a16="http://schemas.microsoft.com/office/drawing/2014/main" id="{21273E3E-159C-47B5-8265-05A78E7FC9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95720" y="3069422"/>
                  <a:ext cx="158118" cy="21319"/>
                </a:xfrm>
                <a:custGeom>
                  <a:avLst/>
                  <a:gdLst>
                    <a:gd name="T0" fmla="*/ 38 w 38"/>
                    <a:gd name="T1" fmla="*/ 0 h 5"/>
                    <a:gd name="T2" fmla="*/ 0 w 38"/>
                    <a:gd name="T3" fmla="*/ 5 h 5"/>
                    <a:gd name="T4" fmla="*/ 38 w 38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8" h="5">
                      <a:moveTo>
                        <a:pt x="38" y="0"/>
                      </a:moveTo>
                      <a:cubicBezTo>
                        <a:pt x="38" y="0"/>
                        <a:pt x="5" y="1"/>
                        <a:pt x="0" y="5"/>
                      </a:cubicBezTo>
                      <a:cubicBezTo>
                        <a:pt x="0" y="5"/>
                        <a:pt x="28" y="5"/>
                        <a:pt x="38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8" name="Freeform 198">
                  <a:extLst>
                    <a:ext uri="{FF2B5EF4-FFF2-40B4-BE49-F238E27FC236}">
                      <a16:creationId xmlns:a16="http://schemas.microsoft.com/office/drawing/2014/main" id="{54E37595-85B9-4C36-B403-2A7DA56AA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01312" y="2564864"/>
                  <a:ext cx="397961" cy="332226"/>
                </a:xfrm>
                <a:custGeom>
                  <a:avLst/>
                  <a:gdLst>
                    <a:gd name="T0" fmla="*/ 3 w 95"/>
                    <a:gd name="T1" fmla="*/ 0 h 79"/>
                    <a:gd name="T2" fmla="*/ 16 w 95"/>
                    <a:gd name="T3" fmla="*/ 14 h 79"/>
                    <a:gd name="T4" fmla="*/ 61 w 95"/>
                    <a:gd name="T5" fmla="*/ 52 h 79"/>
                    <a:gd name="T6" fmla="*/ 91 w 95"/>
                    <a:gd name="T7" fmla="*/ 76 h 79"/>
                    <a:gd name="T8" fmla="*/ 93 w 95"/>
                    <a:gd name="T9" fmla="*/ 79 h 79"/>
                    <a:gd name="T10" fmla="*/ 71 w 95"/>
                    <a:gd name="T11" fmla="*/ 64 h 79"/>
                    <a:gd name="T12" fmla="*/ 33 w 95"/>
                    <a:gd name="T13" fmla="*/ 31 h 79"/>
                    <a:gd name="T14" fmla="*/ 3 w 95"/>
                    <a:gd name="T15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5" h="79">
                      <a:moveTo>
                        <a:pt x="3" y="0"/>
                      </a:moveTo>
                      <a:cubicBezTo>
                        <a:pt x="3" y="0"/>
                        <a:pt x="11" y="10"/>
                        <a:pt x="16" y="14"/>
                      </a:cubicBezTo>
                      <a:cubicBezTo>
                        <a:pt x="21" y="19"/>
                        <a:pt x="59" y="48"/>
                        <a:pt x="61" y="52"/>
                      </a:cubicBezTo>
                      <a:cubicBezTo>
                        <a:pt x="63" y="56"/>
                        <a:pt x="91" y="74"/>
                        <a:pt x="91" y="76"/>
                      </a:cubicBezTo>
                      <a:cubicBezTo>
                        <a:pt x="91" y="76"/>
                        <a:pt x="95" y="78"/>
                        <a:pt x="93" y="79"/>
                      </a:cubicBezTo>
                      <a:cubicBezTo>
                        <a:pt x="90" y="79"/>
                        <a:pt x="74" y="68"/>
                        <a:pt x="71" y="64"/>
                      </a:cubicBezTo>
                      <a:cubicBezTo>
                        <a:pt x="68" y="61"/>
                        <a:pt x="35" y="32"/>
                        <a:pt x="33" y="31"/>
                      </a:cubicBezTo>
                      <a:cubicBezTo>
                        <a:pt x="30" y="30"/>
                        <a:pt x="0" y="7"/>
                        <a:pt x="3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9" name="Freeform 199">
                  <a:extLst>
                    <a:ext uri="{FF2B5EF4-FFF2-40B4-BE49-F238E27FC236}">
                      <a16:creationId xmlns:a16="http://schemas.microsoft.com/office/drawing/2014/main" id="{16059560-3F82-4AF3-9B2A-436CEF3406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2456489"/>
                  <a:ext cx="92384" cy="167002"/>
                </a:xfrm>
                <a:custGeom>
                  <a:avLst/>
                  <a:gdLst>
                    <a:gd name="T0" fmla="*/ 6 w 22"/>
                    <a:gd name="T1" fmla="*/ 0 h 40"/>
                    <a:gd name="T2" fmla="*/ 4 w 22"/>
                    <a:gd name="T3" fmla="*/ 9 h 40"/>
                    <a:gd name="T4" fmla="*/ 5 w 22"/>
                    <a:gd name="T5" fmla="*/ 20 h 40"/>
                    <a:gd name="T6" fmla="*/ 22 w 22"/>
                    <a:gd name="T7" fmla="*/ 40 h 40"/>
                    <a:gd name="T8" fmla="*/ 15 w 22"/>
                    <a:gd name="T9" fmla="*/ 19 h 40"/>
                    <a:gd name="T10" fmla="*/ 6 w 22"/>
                    <a:gd name="T11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40">
                      <a:moveTo>
                        <a:pt x="6" y="0"/>
                      </a:moveTo>
                      <a:cubicBezTo>
                        <a:pt x="6" y="0"/>
                        <a:pt x="7" y="2"/>
                        <a:pt x="4" y="9"/>
                      </a:cubicBezTo>
                      <a:cubicBezTo>
                        <a:pt x="4" y="9"/>
                        <a:pt x="0" y="14"/>
                        <a:pt x="5" y="20"/>
                      </a:cubicBezTo>
                      <a:cubicBezTo>
                        <a:pt x="11" y="27"/>
                        <a:pt x="22" y="40"/>
                        <a:pt x="22" y="40"/>
                      </a:cubicBezTo>
                      <a:cubicBezTo>
                        <a:pt x="22" y="40"/>
                        <a:pt x="17" y="21"/>
                        <a:pt x="15" y="19"/>
                      </a:cubicBezTo>
                      <a:cubicBezTo>
                        <a:pt x="13" y="16"/>
                        <a:pt x="15" y="8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0" name="Freeform 200">
                  <a:extLst>
                    <a:ext uri="{FF2B5EF4-FFF2-40B4-BE49-F238E27FC236}">
                      <a16:creationId xmlns:a16="http://schemas.microsoft.com/office/drawing/2014/main" id="{3A3B49D8-A497-4F58-BFA5-B51B9204C10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98516" y="2532885"/>
                  <a:ext cx="138576" cy="225629"/>
                </a:xfrm>
                <a:custGeom>
                  <a:avLst/>
                  <a:gdLst>
                    <a:gd name="T0" fmla="*/ 0 w 33"/>
                    <a:gd name="T1" fmla="*/ 0 h 54"/>
                    <a:gd name="T2" fmla="*/ 11 w 33"/>
                    <a:gd name="T3" fmla="*/ 18 h 54"/>
                    <a:gd name="T4" fmla="*/ 28 w 33"/>
                    <a:gd name="T5" fmla="*/ 43 h 54"/>
                    <a:gd name="T6" fmla="*/ 32 w 33"/>
                    <a:gd name="T7" fmla="*/ 54 h 54"/>
                    <a:gd name="T8" fmla="*/ 24 w 33"/>
                    <a:gd name="T9" fmla="*/ 29 h 54"/>
                    <a:gd name="T10" fmla="*/ 0 w 33"/>
                    <a:gd name="T1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54">
                      <a:moveTo>
                        <a:pt x="0" y="0"/>
                      </a:moveTo>
                      <a:cubicBezTo>
                        <a:pt x="0" y="0"/>
                        <a:pt x="8" y="14"/>
                        <a:pt x="11" y="18"/>
                      </a:cubicBezTo>
                      <a:cubicBezTo>
                        <a:pt x="13" y="22"/>
                        <a:pt x="27" y="36"/>
                        <a:pt x="28" y="43"/>
                      </a:cubicBezTo>
                      <a:cubicBezTo>
                        <a:pt x="30" y="49"/>
                        <a:pt x="32" y="54"/>
                        <a:pt x="32" y="54"/>
                      </a:cubicBezTo>
                      <a:cubicBezTo>
                        <a:pt x="32" y="54"/>
                        <a:pt x="33" y="38"/>
                        <a:pt x="24" y="29"/>
                      </a:cubicBezTo>
                      <a:cubicBezTo>
                        <a:pt x="14" y="21"/>
                        <a:pt x="4" y="5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1" name="Freeform 201">
                  <a:extLst>
                    <a:ext uri="{FF2B5EF4-FFF2-40B4-BE49-F238E27FC236}">
                      <a16:creationId xmlns:a16="http://schemas.microsoft.com/office/drawing/2014/main" id="{8217B5AA-3C56-455A-8E2D-0E144288F60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31762" y="2687449"/>
                  <a:ext cx="122586" cy="234513"/>
                </a:xfrm>
                <a:custGeom>
                  <a:avLst/>
                  <a:gdLst>
                    <a:gd name="T0" fmla="*/ 29 w 29"/>
                    <a:gd name="T1" fmla="*/ 24 h 56"/>
                    <a:gd name="T2" fmla="*/ 27 w 29"/>
                    <a:gd name="T3" fmla="*/ 54 h 56"/>
                    <a:gd name="T4" fmla="*/ 23 w 29"/>
                    <a:gd name="T5" fmla="*/ 51 h 56"/>
                    <a:gd name="T6" fmla="*/ 3 w 29"/>
                    <a:gd name="T7" fmla="*/ 7 h 56"/>
                    <a:gd name="T8" fmla="*/ 22 w 29"/>
                    <a:gd name="T9" fmla="*/ 39 h 56"/>
                    <a:gd name="T10" fmla="*/ 26 w 29"/>
                    <a:gd name="T11" fmla="*/ 29 h 56"/>
                    <a:gd name="T12" fmla="*/ 24 w 29"/>
                    <a:gd name="T13" fmla="*/ 17 h 56"/>
                    <a:gd name="T14" fmla="*/ 29 w 29"/>
                    <a:gd name="T15" fmla="*/ 2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56">
                      <a:moveTo>
                        <a:pt x="29" y="24"/>
                      </a:moveTo>
                      <a:cubicBezTo>
                        <a:pt x="29" y="24"/>
                        <a:pt x="29" y="53"/>
                        <a:pt x="27" y="54"/>
                      </a:cubicBezTo>
                      <a:cubicBezTo>
                        <a:pt x="24" y="55"/>
                        <a:pt x="23" y="56"/>
                        <a:pt x="23" y="51"/>
                      </a:cubicBezTo>
                      <a:cubicBezTo>
                        <a:pt x="23" y="45"/>
                        <a:pt x="6" y="14"/>
                        <a:pt x="3" y="7"/>
                      </a:cubicBezTo>
                      <a:cubicBezTo>
                        <a:pt x="0" y="0"/>
                        <a:pt x="20" y="42"/>
                        <a:pt x="22" y="39"/>
                      </a:cubicBezTo>
                      <a:cubicBezTo>
                        <a:pt x="24" y="37"/>
                        <a:pt x="26" y="35"/>
                        <a:pt x="26" y="29"/>
                      </a:cubicBezTo>
                      <a:cubicBezTo>
                        <a:pt x="25" y="23"/>
                        <a:pt x="22" y="14"/>
                        <a:pt x="24" y="17"/>
                      </a:cubicBezTo>
                      <a:cubicBezTo>
                        <a:pt x="27" y="19"/>
                        <a:pt x="28" y="18"/>
                        <a:pt x="29" y="24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2" name="Freeform 202">
                  <a:extLst>
                    <a:ext uri="{FF2B5EF4-FFF2-40B4-BE49-F238E27FC236}">
                      <a16:creationId xmlns:a16="http://schemas.microsoft.com/office/drawing/2014/main" id="{495FE520-710C-457D-B64C-C6253D118A6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53082" y="2913079"/>
                  <a:ext cx="213194" cy="122586"/>
                </a:xfrm>
                <a:custGeom>
                  <a:avLst/>
                  <a:gdLst>
                    <a:gd name="T0" fmla="*/ 0 w 51"/>
                    <a:gd name="T1" fmla="*/ 0 h 29"/>
                    <a:gd name="T2" fmla="*/ 35 w 51"/>
                    <a:gd name="T3" fmla="*/ 28 h 29"/>
                    <a:gd name="T4" fmla="*/ 51 w 51"/>
                    <a:gd name="T5" fmla="*/ 28 h 29"/>
                    <a:gd name="T6" fmla="*/ 0 w 51"/>
                    <a:gd name="T7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1" h="29">
                      <a:moveTo>
                        <a:pt x="0" y="0"/>
                      </a:moveTo>
                      <a:cubicBezTo>
                        <a:pt x="0" y="0"/>
                        <a:pt x="25" y="26"/>
                        <a:pt x="35" y="28"/>
                      </a:cubicBezTo>
                      <a:cubicBezTo>
                        <a:pt x="45" y="29"/>
                        <a:pt x="51" y="28"/>
                        <a:pt x="51" y="28"/>
                      </a:cubicBezTo>
                      <a:cubicBezTo>
                        <a:pt x="51" y="28"/>
                        <a:pt x="32" y="29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3" name="Freeform 203">
                  <a:extLst>
                    <a:ext uri="{FF2B5EF4-FFF2-40B4-BE49-F238E27FC236}">
                      <a16:creationId xmlns:a16="http://schemas.microsoft.com/office/drawing/2014/main" id="{B2C86AAA-1194-46EE-ABFD-28BB6465F9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12482" y="2351669"/>
                  <a:ext cx="197204" cy="113703"/>
                </a:xfrm>
                <a:custGeom>
                  <a:avLst/>
                  <a:gdLst>
                    <a:gd name="T0" fmla="*/ 0 w 47"/>
                    <a:gd name="T1" fmla="*/ 0 h 27"/>
                    <a:gd name="T2" fmla="*/ 45 w 47"/>
                    <a:gd name="T3" fmla="*/ 22 h 27"/>
                    <a:gd name="T4" fmla="*/ 38 w 47"/>
                    <a:gd name="T5" fmla="*/ 27 h 27"/>
                    <a:gd name="T6" fmla="*/ 0 w 47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" h="27">
                      <a:moveTo>
                        <a:pt x="0" y="0"/>
                      </a:moveTo>
                      <a:cubicBezTo>
                        <a:pt x="0" y="0"/>
                        <a:pt x="24" y="22"/>
                        <a:pt x="45" y="22"/>
                      </a:cubicBezTo>
                      <a:cubicBezTo>
                        <a:pt x="45" y="22"/>
                        <a:pt x="47" y="26"/>
                        <a:pt x="38" y="27"/>
                      </a:cubicBezTo>
                      <a:cubicBezTo>
                        <a:pt x="28" y="27"/>
                        <a:pt x="3" y="8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4" name="Freeform 204">
                  <a:extLst>
                    <a:ext uri="{FF2B5EF4-FFF2-40B4-BE49-F238E27FC236}">
                      <a16:creationId xmlns:a16="http://schemas.microsoft.com/office/drawing/2014/main" id="{38465910-A801-45CA-B6E6-725121B987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2502682"/>
                  <a:ext cx="24873" cy="79947"/>
                </a:xfrm>
                <a:custGeom>
                  <a:avLst/>
                  <a:gdLst>
                    <a:gd name="T0" fmla="*/ 2 w 6"/>
                    <a:gd name="T1" fmla="*/ 0 h 19"/>
                    <a:gd name="T2" fmla="*/ 3 w 6"/>
                    <a:gd name="T3" fmla="*/ 13 h 19"/>
                    <a:gd name="T4" fmla="*/ 5 w 6"/>
                    <a:gd name="T5" fmla="*/ 11 h 19"/>
                    <a:gd name="T6" fmla="*/ 2 w 6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9">
                      <a:moveTo>
                        <a:pt x="2" y="0"/>
                      </a:moveTo>
                      <a:cubicBezTo>
                        <a:pt x="2" y="0"/>
                        <a:pt x="0" y="8"/>
                        <a:pt x="3" y="13"/>
                      </a:cubicBezTo>
                      <a:cubicBezTo>
                        <a:pt x="5" y="19"/>
                        <a:pt x="6" y="14"/>
                        <a:pt x="5" y="11"/>
                      </a:cubicBezTo>
                      <a:cubicBezTo>
                        <a:pt x="4" y="7"/>
                        <a:pt x="1" y="2"/>
                        <a:pt x="2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5" name="Freeform 205">
                  <a:extLst>
                    <a:ext uri="{FF2B5EF4-FFF2-40B4-BE49-F238E27FC236}">
                      <a16:creationId xmlns:a16="http://schemas.microsoft.com/office/drawing/2014/main" id="{157328F2-6C74-4B47-A68C-68BFB9954D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82277" y="2401415"/>
                  <a:ext cx="110150" cy="135023"/>
                </a:xfrm>
                <a:custGeom>
                  <a:avLst/>
                  <a:gdLst>
                    <a:gd name="T0" fmla="*/ 0 w 26"/>
                    <a:gd name="T1" fmla="*/ 0 h 32"/>
                    <a:gd name="T2" fmla="*/ 16 w 26"/>
                    <a:gd name="T3" fmla="*/ 19 h 32"/>
                    <a:gd name="T4" fmla="*/ 26 w 26"/>
                    <a:gd name="T5" fmla="*/ 32 h 32"/>
                    <a:gd name="T6" fmla="*/ 0 w 26"/>
                    <a:gd name="T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32">
                      <a:moveTo>
                        <a:pt x="0" y="0"/>
                      </a:moveTo>
                      <a:cubicBezTo>
                        <a:pt x="0" y="0"/>
                        <a:pt x="13" y="11"/>
                        <a:pt x="16" y="19"/>
                      </a:cubicBezTo>
                      <a:cubicBezTo>
                        <a:pt x="20" y="27"/>
                        <a:pt x="26" y="32"/>
                        <a:pt x="26" y="32"/>
                      </a:cubicBezTo>
                      <a:cubicBezTo>
                        <a:pt x="26" y="32"/>
                        <a:pt x="2" y="8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6" name="Freeform 206">
                  <a:extLst>
                    <a:ext uri="{FF2B5EF4-FFF2-40B4-BE49-F238E27FC236}">
                      <a16:creationId xmlns:a16="http://schemas.microsoft.com/office/drawing/2014/main" id="{BBBF43C4-BF44-489B-9A01-59BB997980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60828" y="2048756"/>
                  <a:ext cx="95937" cy="71065"/>
                </a:xfrm>
                <a:custGeom>
                  <a:avLst/>
                  <a:gdLst>
                    <a:gd name="T0" fmla="*/ 23 w 23"/>
                    <a:gd name="T1" fmla="*/ 0 h 17"/>
                    <a:gd name="T2" fmla="*/ 11 w 23"/>
                    <a:gd name="T3" fmla="*/ 15 h 17"/>
                    <a:gd name="T4" fmla="*/ 0 w 23"/>
                    <a:gd name="T5" fmla="*/ 17 h 17"/>
                    <a:gd name="T6" fmla="*/ 23 w 23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7">
                      <a:moveTo>
                        <a:pt x="23" y="0"/>
                      </a:moveTo>
                      <a:cubicBezTo>
                        <a:pt x="23" y="0"/>
                        <a:pt x="17" y="14"/>
                        <a:pt x="11" y="15"/>
                      </a:cubicBezTo>
                      <a:cubicBezTo>
                        <a:pt x="4" y="16"/>
                        <a:pt x="0" y="17"/>
                        <a:pt x="0" y="17"/>
                      </a:cubicBezTo>
                      <a:cubicBezTo>
                        <a:pt x="0" y="17"/>
                        <a:pt x="10" y="12"/>
                        <a:pt x="23" y="0"/>
                      </a:cubicBezTo>
                      <a:close/>
                    </a:path>
                  </a:pathLst>
                </a:custGeom>
                <a:solidFill>
                  <a:srgbClr val="4C39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7" name="Freeform 207">
                  <a:extLst>
                    <a:ext uri="{FF2B5EF4-FFF2-40B4-BE49-F238E27FC236}">
                      <a16:creationId xmlns:a16="http://schemas.microsoft.com/office/drawing/2014/main" id="{854E6EF7-46AE-441B-99DE-0E0CEA6F36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02826" y="2913080"/>
                  <a:ext cx="122586" cy="17766"/>
                </a:xfrm>
                <a:custGeom>
                  <a:avLst/>
                  <a:gdLst>
                    <a:gd name="T0" fmla="*/ 0 w 29"/>
                    <a:gd name="T1" fmla="*/ 2 h 4"/>
                    <a:gd name="T2" fmla="*/ 25 w 29"/>
                    <a:gd name="T3" fmla="*/ 1 h 4"/>
                    <a:gd name="T4" fmla="*/ 23 w 29"/>
                    <a:gd name="T5" fmla="*/ 4 h 4"/>
                    <a:gd name="T6" fmla="*/ 0 w 29"/>
                    <a:gd name="T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4">
                      <a:moveTo>
                        <a:pt x="0" y="2"/>
                      </a:moveTo>
                      <a:cubicBezTo>
                        <a:pt x="0" y="2"/>
                        <a:pt x="21" y="1"/>
                        <a:pt x="25" y="1"/>
                      </a:cubicBezTo>
                      <a:cubicBezTo>
                        <a:pt x="29" y="0"/>
                        <a:pt x="26" y="4"/>
                        <a:pt x="23" y="4"/>
                      </a:cubicBezTo>
                      <a:cubicBezTo>
                        <a:pt x="21" y="4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8" name="Freeform 163">
                  <a:extLst>
                    <a:ext uri="{FF2B5EF4-FFF2-40B4-BE49-F238E27FC236}">
                      <a16:creationId xmlns:a16="http://schemas.microsoft.com/office/drawing/2014/main" id="{058BA2D9-FBEC-4233-96B5-D30C8EF24D1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55877" y="2905974"/>
                  <a:ext cx="222075" cy="113703"/>
                </a:xfrm>
                <a:custGeom>
                  <a:avLst/>
                  <a:gdLst>
                    <a:gd name="T0" fmla="*/ 28 w 53"/>
                    <a:gd name="T1" fmla="*/ 4 h 27"/>
                    <a:gd name="T2" fmla="*/ 15 w 53"/>
                    <a:gd name="T3" fmla="*/ 5 h 27"/>
                    <a:gd name="T4" fmla="*/ 0 w 53"/>
                    <a:gd name="T5" fmla="*/ 0 h 27"/>
                    <a:gd name="T6" fmla="*/ 3 w 53"/>
                    <a:gd name="T7" fmla="*/ 6 h 27"/>
                    <a:gd name="T8" fmla="*/ 16 w 53"/>
                    <a:gd name="T9" fmla="*/ 19 h 27"/>
                    <a:gd name="T10" fmla="*/ 24 w 53"/>
                    <a:gd name="T11" fmla="*/ 26 h 27"/>
                    <a:gd name="T12" fmla="*/ 46 w 53"/>
                    <a:gd name="T13" fmla="*/ 27 h 27"/>
                    <a:gd name="T14" fmla="*/ 50 w 53"/>
                    <a:gd name="T15" fmla="*/ 21 h 27"/>
                    <a:gd name="T16" fmla="*/ 28 w 53"/>
                    <a:gd name="T17" fmla="*/ 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" h="27">
                      <a:moveTo>
                        <a:pt x="28" y="4"/>
                      </a:moveTo>
                      <a:cubicBezTo>
                        <a:pt x="28" y="4"/>
                        <a:pt x="18" y="5"/>
                        <a:pt x="15" y="5"/>
                      </a:cubicBezTo>
                      <a:cubicBezTo>
                        <a:pt x="12" y="4"/>
                        <a:pt x="2" y="0"/>
                        <a:pt x="0" y="0"/>
                      </a:cubicBezTo>
                      <a:cubicBezTo>
                        <a:pt x="0" y="0"/>
                        <a:pt x="4" y="5"/>
                        <a:pt x="3" y="6"/>
                      </a:cubicBezTo>
                      <a:cubicBezTo>
                        <a:pt x="3" y="8"/>
                        <a:pt x="10" y="9"/>
                        <a:pt x="16" y="19"/>
                      </a:cubicBezTo>
                      <a:cubicBezTo>
                        <a:pt x="16" y="19"/>
                        <a:pt x="21" y="25"/>
                        <a:pt x="24" y="26"/>
                      </a:cubicBezTo>
                      <a:cubicBezTo>
                        <a:pt x="27" y="27"/>
                        <a:pt x="43" y="27"/>
                        <a:pt x="46" y="27"/>
                      </a:cubicBezTo>
                      <a:cubicBezTo>
                        <a:pt x="48" y="27"/>
                        <a:pt x="53" y="27"/>
                        <a:pt x="50" y="21"/>
                      </a:cubicBezTo>
                      <a:cubicBezTo>
                        <a:pt x="47" y="15"/>
                        <a:pt x="33" y="6"/>
                        <a:pt x="28" y="4"/>
                      </a:cubicBezTo>
                      <a:close/>
                    </a:path>
                  </a:pathLst>
                </a:custGeom>
                <a:solidFill>
                  <a:srgbClr val="D2A578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9" name="Freeform 166">
                  <a:extLst>
                    <a:ext uri="{FF2B5EF4-FFF2-40B4-BE49-F238E27FC236}">
                      <a16:creationId xmlns:a16="http://schemas.microsoft.com/office/drawing/2014/main" id="{05ED708A-1D60-479D-B7CE-269327550C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69581" y="2913080"/>
                  <a:ext cx="87054" cy="110150"/>
                </a:xfrm>
                <a:custGeom>
                  <a:avLst/>
                  <a:gdLst>
                    <a:gd name="T0" fmla="*/ 3 w 21"/>
                    <a:gd name="T1" fmla="*/ 23 h 26"/>
                    <a:gd name="T2" fmla="*/ 8 w 21"/>
                    <a:gd name="T3" fmla="*/ 15 h 26"/>
                    <a:gd name="T4" fmla="*/ 0 w 21"/>
                    <a:gd name="T5" fmla="*/ 3 h 26"/>
                    <a:gd name="T6" fmla="*/ 15 w 21"/>
                    <a:gd name="T7" fmla="*/ 11 h 26"/>
                    <a:gd name="T8" fmla="*/ 15 w 21"/>
                    <a:gd name="T9" fmla="*/ 24 h 26"/>
                    <a:gd name="T10" fmla="*/ 3 w 21"/>
                    <a:gd name="T11" fmla="*/ 2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26">
                      <a:moveTo>
                        <a:pt x="3" y="23"/>
                      </a:moveTo>
                      <a:cubicBezTo>
                        <a:pt x="3" y="23"/>
                        <a:pt x="9" y="18"/>
                        <a:pt x="8" y="15"/>
                      </a:cubicBezTo>
                      <a:cubicBezTo>
                        <a:pt x="8" y="13"/>
                        <a:pt x="2" y="6"/>
                        <a:pt x="0" y="3"/>
                      </a:cubicBezTo>
                      <a:cubicBezTo>
                        <a:pt x="0" y="3"/>
                        <a:pt x="2" y="0"/>
                        <a:pt x="15" y="11"/>
                      </a:cubicBezTo>
                      <a:cubicBezTo>
                        <a:pt x="15" y="11"/>
                        <a:pt x="21" y="21"/>
                        <a:pt x="15" y="24"/>
                      </a:cubicBezTo>
                      <a:cubicBezTo>
                        <a:pt x="15" y="24"/>
                        <a:pt x="11" y="26"/>
                        <a:pt x="3" y="2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</p:grpSp>
        <p:grpSp>
          <p:nvGrpSpPr>
            <p:cNvPr id="279" name="Gruppieren 141">
              <a:extLst>
                <a:ext uri="{FF2B5EF4-FFF2-40B4-BE49-F238E27FC236}">
                  <a16:creationId xmlns:a16="http://schemas.microsoft.com/office/drawing/2014/main" id="{C04446DE-65A2-4297-9AC5-22B53277ABBC}"/>
                </a:ext>
              </a:extLst>
            </p:cNvPr>
            <p:cNvGrpSpPr/>
            <p:nvPr/>
          </p:nvGrpSpPr>
          <p:grpSpPr bwMode="gray">
            <a:xfrm>
              <a:off x="6475840" y="1237692"/>
              <a:ext cx="2142104" cy="4954583"/>
              <a:chOff x="6913133" y="1577360"/>
              <a:chExt cx="1848392" cy="4275240"/>
            </a:xfrm>
          </p:grpSpPr>
          <p:sp>
            <p:nvSpPr>
              <p:cNvPr id="280" name="Ellipse 30">
                <a:extLst>
                  <a:ext uri="{FF2B5EF4-FFF2-40B4-BE49-F238E27FC236}">
                    <a16:creationId xmlns:a16="http://schemas.microsoft.com/office/drawing/2014/main" id="{BCC168DE-F3E0-4630-BA23-E90641B2C59B}"/>
                  </a:ext>
                </a:extLst>
              </p:cNvPr>
              <p:cNvSpPr/>
              <p:nvPr/>
            </p:nvSpPr>
            <p:spPr bwMode="gray">
              <a:xfrm>
                <a:off x="7569726" y="5326494"/>
                <a:ext cx="1191799" cy="52610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281" name="Gruppieren 143">
                <a:extLst>
                  <a:ext uri="{FF2B5EF4-FFF2-40B4-BE49-F238E27FC236}">
                    <a16:creationId xmlns:a16="http://schemas.microsoft.com/office/drawing/2014/main" id="{9A6CAC34-8D13-44C9-A453-B92CD7A94452}"/>
                  </a:ext>
                </a:extLst>
              </p:cNvPr>
              <p:cNvGrpSpPr/>
              <p:nvPr/>
            </p:nvGrpSpPr>
            <p:grpSpPr bwMode="gray">
              <a:xfrm>
                <a:off x="6913133" y="1577360"/>
                <a:ext cx="1818210" cy="4175043"/>
                <a:chOff x="6861691" y="1584172"/>
                <a:chExt cx="1961144" cy="4175043"/>
              </a:xfrm>
            </p:grpSpPr>
            <p:sp>
              <p:nvSpPr>
                <p:cNvPr id="282" name="Freeform 153">
                  <a:extLst>
                    <a:ext uri="{FF2B5EF4-FFF2-40B4-BE49-F238E27FC236}">
                      <a16:creationId xmlns:a16="http://schemas.microsoft.com/office/drawing/2014/main" id="{FDFB4659-4F36-4979-AF76-E40895D31B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38331" y="2062079"/>
                  <a:ext cx="1584504" cy="1968253"/>
                </a:xfrm>
                <a:custGeom>
                  <a:avLst/>
                  <a:gdLst>
                    <a:gd name="T0" fmla="*/ 373 w 379"/>
                    <a:gd name="T1" fmla="*/ 173 h 462"/>
                    <a:gd name="T2" fmla="*/ 366 w 379"/>
                    <a:gd name="T3" fmla="*/ 137 h 462"/>
                    <a:gd name="T4" fmla="*/ 358 w 379"/>
                    <a:gd name="T5" fmla="*/ 70 h 462"/>
                    <a:gd name="T6" fmla="*/ 307 w 379"/>
                    <a:gd name="T7" fmla="*/ 26 h 462"/>
                    <a:gd name="T8" fmla="*/ 288 w 379"/>
                    <a:gd name="T9" fmla="*/ 18 h 462"/>
                    <a:gd name="T10" fmla="*/ 264 w 379"/>
                    <a:gd name="T11" fmla="*/ 1 h 462"/>
                    <a:gd name="T12" fmla="*/ 258 w 379"/>
                    <a:gd name="T13" fmla="*/ 9 h 462"/>
                    <a:gd name="T14" fmla="*/ 210 w 379"/>
                    <a:gd name="T15" fmla="*/ 71 h 462"/>
                    <a:gd name="T16" fmla="*/ 204 w 379"/>
                    <a:gd name="T17" fmla="*/ 84 h 462"/>
                    <a:gd name="T18" fmla="*/ 179 w 379"/>
                    <a:gd name="T19" fmla="*/ 105 h 462"/>
                    <a:gd name="T20" fmla="*/ 195 w 379"/>
                    <a:gd name="T21" fmla="*/ 54 h 462"/>
                    <a:gd name="T22" fmla="*/ 196 w 379"/>
                    <a:gd name="T23" fmla="*/ 51 h 462"/>
                    <a:gd name="T24" fmla="*/ 196 w 379"/>
                    <a:gd name="T25" fmla="*/ 40 h 462"/>
                    <a:gd name="T26" fmla="*/ 172 w 379"/>
                    <a:gd name="T27" fmla="*/ 63 h 462"/>
                    <a:gd name="T28" fmla="*/ 139 w 379"/>
                    <a:gd name="T29" fmla="*/ 115 h 462"/>
                    <a:gd name="T30" fmla="*/ 134 w 379"/>
                    <a:gd name="T31" fmla="*/ 149 h 462"/>
                    <a:gd name="T32" fmla="*/ 125 w 379"/>
                    <a:gd name="T33" fmla="*/ 181 h 462"/>
                    <a:gd name="T34" fmla="*/ 111 w 379"/>
                    <a:gd name="T35" fmla="*/ 193 h 462"/>
                    <a:gd name="T36" fmla="*/ 71 w 379"/>
                    <a:gd name="T37" fmla="*/ 197 h 462"/>
                    <a:gd name="T38" fmla="*/ 50 w 379"/>
                    <a:gd name="T39" fmla="*/ 193 h 462"/>
                    <a:gd name="T40" fmla="*/ 5 w 379"/>
                    <a:gd name="T41" fmla="*/ 189 h 462"/>
                    <a:gd name="T42" fmla="*/ 5 w 379"/>
                    <a:gd name="T43" fmla="*/ 222 h 462"/>
                    <a:gd name="T44" fmla="*/ 3 w 379"/>
                    <a:gd name="T45" fmla="*/ 254 h 462"/>
                    <a:gd name="T46" fmla="*/ 72 w 379"/>
                    <a:gd name="T47" fmla="*/ 257 h 462"/>
                    <a:gd name="T48" fmla="*/ 143 w 379"/>
                    <a:gd name="T49" fmla="*/ 254 h 462"/>
                    <a:gd name="T50" fmla="*/ 141 w 379"/>
                    <a:gd name="T51" fmla="*/ 333 h 462"/>
                    <a:gd name="T52" fmla="*/ 140 w 379"/>
                    <a:gd name="T53" fmla="*/ 449 h 462"/>
                    <a:gd name="T54" fmla="*/ 149 w 379"/>
                    <a:gd name="T55" fmla="*/ 448 h 462"/>
                    <a:gd name="T56" fmla="*/ 163 w 379"/>
                    <a:gd name="T57" fmla="*/ 447 h 462"/>
                    <a:gd name="T58" fmla="*/ 324 w 379"/>
                    <a:gd name="T59" fmla="*/ 451 h 462"/>
                    <a:gd name="T60" fmla="*/ 339 w 379"/>
                    <a:gd name="T61" fmla="*/ 433 h 462"/>
                    <a:gd name="T62" fmla="*/ 328 w 379"/>
                    <a:gd name="T63" fmla="*/ 288 h 462"/>
                    <a:gd name="T64" fmla="*/ 364 w 379"/>
                    <a:gd name="T65" fmla="*/ 251 h 462"/>
                    <a:gd name="T66" fmla="*/ 377 w 379"/>
                    <a:gd name="T67" fmla="*/ 198 h 462"/>
                    <a:gd name="connsiteX0" fmla="*/ 9947 w 9965"/>
                    <a:gd name="connsiteY0" fmla="*/ 4286 h 9961"/>
                    <a:gd name="connsiteX1" fmla="*/ 9842 w 9965"/>
                    <a:gd name="connsiteY1" fmla="*/ 3745 h 9961"/>
                    <a:gd name="connsiteX2" fmla="*/ 9789 w 9965"/>
                    <a:gd name="connsiteY2" fmla="*/ 3268 h 9961"/>
                    <a:gd name="connsiteX3" fmla="*/ 9657 w 9965"/>
                    <a:gd name="connsiteY3" fmla="*/ 2965 h 9961"/>
                    <a:gd name="connsiteX4" fmla="*/ 9631 w 9965"/>
                    <a:gd name="connsiteY4" fmla="*/ 2381 h 9961"/>
                    <a:gd name="connsiteX5" fmla="*/ 9446 w 9965"/>
                    <a:gd name="connsiteY5" fmla="*/ 1515 h 9961"/>
                    <a:gd name="connsiteX6" fmla="*/ 8997 w 9965"/>
                    <a:gd name="connsiteY6" fmla="*/ 909 h 9961"/>
                    <a:gd name="connsiteX7" fmla="*/ 8100 w 9965"/>
                    <a:gd name="connsiteY7" fmla="*/ 563 h 9961"/>
                    <a:gd name="connsiteX8" fmla="*/ 7916 w 9965"/>
                    <a:gd name="connsiteY8" fmla="*/ 476 h 9961"/>
                    <a:gd name="connsiteX9" fmla="*/ 7599 w 9965"/>
                    <a:gd name="connsiteY9" fmla="*/ 390 h 9961"/>
                    <a:gd name="connsiteX10" fmla="*/ 7177 w 9965"/>
                    <a:gd name="connsiteY10" fmla="*/ 0 h 9961"/>
                    <a:gd name="connsiteX11" fmla="*/ 6966 w 9965"/>
                    <a:gd name="connsiteY11" fmla="*/ 22 h 9961"/>
                    <a:gd name="connsiteX12" fmla="*/ 6966 w 9965"/>
                    <a:gd name="connsiteY12" fmla="*/ 43 h 9961"/>
                    <a:gd name="connsiteX13" fmla="*/ 6807 w 9965"/>
                    <a:gd name="connsiteY13" fmla="*/ 195 h 9961"/>
                    <a:gd name="connsiteX14" fmla="*/ 6174 w 9965"/>
                    <a:gd name="connsiteY14" fmla="*/ 693 h 9961"/>
                    <a:gd name="connsiteX15" fmla="*/ 5541 w 9965"/>
                    <a:gd name="connsiteY15" fmla="*/ 1537 h 9961"/>
                    <a:gd name="connsiteX16" fmla="*/ 5409 w 9965"/>
                    <a:gd name="connsiteY16" fmla="*/ 1797 h 9961"/>
                    <a:gd name="connsiteX17" fmla="*/ 5383 w 9965"/>
                    <a:gd name="connsiteY17" fmla="*/ 1818 h 9961"/>
                    <a:gd name="connsiteX18" fmla="*/ 4565 w 9965"/>
                    <a:gd name="connsiteY18" fmla="*/ 3290 h 9961"/>
                    <a:gd name="connsiteX19" fmla="*/ 4723 w 9965"/>
                    <a:gd name="connsiteY19" fmla="*/ 2273 h 9961"/>
                    <a:gd name="connsiteX20" fmla="*/ 4960 w 9965"/>
                    <a:gd name="connsiteY20" fmla="*/ 1472 h 9961"/>
                    <a:gd name="connsiteX21" fmla="*/ 5145 w 9965"/>
                    <a:gd name="connsiteY21" fmla="*/ 1169 h 9961"/>
                    <a:gd name="connsiteX22" fmla="*/ 5172 w 9965"/>
                    <a:gd name="connsiteY22" fmla="*/ 1147 h 9961"/>
                    <a:gd name="connsiteX23" fmla="*/ 5172 w 9965"/>
                    <a:gd name="connsiteY23" fmla="*/ 1104 h 9961"/>
                    <a:gd name="connsiteX24" fmla="*/ 5198 w 9965"/>
                    <a:gd name="connsiteY24" fmla="*/ 844 h 9961"/>
                    <a:gd name="connsiteX25" fmla="*/ 5172 w 9965"/>
                    <a:gd name="connsiteY25" fmla="*/ 866 h 9961"/>
                    <a:gd name="connsiteX26" fmla="*/ 5040 w 9965"/>
                    <a:gd name="connsiteY26" fmla="*/ 1017 h 9961"/>
                    <a:gd name="connsiteX27" fmla="*/ 4538 w 9965"/>
                    <a:gd name="connsiteY27" fmla="*/ 1364 h 9961"/>
                    <a:gd name="connsiteX28" fmla="*/ 3958 w 9965"/>
                    <a:gd name="connsiteY28" fmla="*/ 1797 h 9961"/>
                    <a:gd name="connsiteX29" fmla="*/ 3668 w 9965"/>
                    <a:gd name="connsiteY29" fmla="*/ 2489 h 9961"/>
                    <a:gd name="connsiteX30" fmla="*/ 3641 w 9965"/>
                    <a:gd name="connsiteY30" fmla="*/ 2965 h 9961"/>
                    <a:gd name="connsiteX31" fmla="*/ 3536 w 9965"/>
                    <a:gd name="connsiteY31" fmla="*/ 3225 h 9961"/>
                    <a:gd name="connsiteX32" fmla="*/ 3325 w 9965"/>
                    <a:gd name="connsiteY32" fmla="*/ 3593 h 9961"/>
                    <a:gd name="connsiteX33" fmla="*/ 3298 w 9965"/>
                    <a:gd name="connsiteY33" fmla="*/ 3918 h 9961"/>
                    <a:gd name="connsiteX34" fmla="*/ 3140 w 9965"/>
                    <a:gd name="connsiteY34" fmla="*/ 4004 h 9961"/>
                    <a:gd name="connsiteX35" fmla="*/ 2929 w 9965"/>
                    <a:gd name="connsiteY35" fmla="*/ 4177 h 9961"/>
                    <a:gd name="connsiteX36" fmla="*/ 2322 w 9965"/>
                    <a:gd name="connsiteY36" fmla="*/ 4286 h 9961"/>
                    <a:gd name="connsiteX37" fmla="*/ 1873 w 9965"/>
                    <a:gd name="connsiteY37" fmla="*/ 4264 h 9961"/>
                    <a:gd name="connsiteX38" fmla="*/ 1821 w 9965"/>
                    <a:gd name="connsiteY38" fmla="*/ 4264 h 9961"/>
                    <a:gd name="connsiteX39" fmla="*/ 1319 w 9965"/>
                    <a:gd name="connsiteY39" fmla="*/ 4177 h 9961"/>
                    <a:gd name="connsiteX40" fmla="*/ 554 w 9965"/>
                    <a:gd name="connsiteY40" fmla="*/ 4134 h 9961"/>
                    <a:gd name="connsiteX41" fmla="*/ 132 w 9965"/>
                    <a:gd name="connsiteY41" fmla="*/ 4091 h 9961"/>
                    <a:gd name="connsiteX42" fmla="*/ 106 w 9965"/>
                    <a:gd name="connsiteY42" fmla="*/ 4113 h 9961"/>
                    <a:gd name="connsiteX43" fmla="*/ 132 w 9965"/>
                    <a:gd name="connsiteY43" fmla="*/ 4805 h 9961"/>
                    <a:gd name="connsiteX44" fmla="*/ 0 w 9965"/>
                    <a:gd name="connsiteY44" fmla="*/ 4827 h 9961"/>
                    <a:gd name="connsiteX45" fmla="*/ 79 w 9965"/>
                    <a:gd name="connsiteY45" fmla="*/ 5498 h 9961"/>
                    <a:gd name="connsiteX46" fmla="*/ 1319 w 9965"/>
                    <a:gd name="connsiteY46" fmla="*/ 5563 h 9961"/>
                    <a:gd name="connsiteX47" fmla="*/ 1900 w 9965"/>
                    <a:gd name="connsiteY47" fmla="*/ 5563 h 9961"/>
                    <a:gd name="connsiteX48" fmla="*/ 3298 w 9965"/>
                    <a:gd name="connsiteY48" fmla="*/ 5541 h 9961"/>
                    <a:gd name="connsiteX49" fmla="*/ 3773 w 9965"/>
                    <a:gd name="connsiteY49" fmla="*/ 5498 h 9961"/>
                    <a:gd name="connsiteX50" fmla="*/ 3720 w 9965"/>
                    <a:gd name="connsiteY50" fmla="*/ 6537 h 9961"/>
                    <a:gd name="connsiteX51" fmla="*/ 3720 w 9965"/>
                    <a:gd name="connsiteY51" fmla="*/ 7208 h 9961"/>
                    <a:gd name="connsiteX52" fmla="*/ 3615 w 9965"/>
                    <a:gd name="connsiteY52" fmla="*/ 9329 h 9961"/>
                    <a:gd name="connsiteX53" fmla="*/ 3694 w 9965"/>
                    <a:gd name="connsiteY53" fmla="*/ 9719 h 9961"/>
                    <a:gd name="connsiteX54" fmla="*/ 3694 w 9965"/>
                    <a:gd name="connsiteY54" fmla="*/ 9610 h 9961"/>
                    <a:gd name="connsiteX55" fmla="*/ 3931 w 9965"/>
                    <a:gd name="connsiteY55" fmla="*/ 9697 h 9961"/>
                    <a:gd name="connsiteX56" fmla="*/ 4116 w 9965"/>
                    <a:gd name="connsiteY56" fmla="*/ 9502 h 9961"/>
                    <a:gd name="connsiteX57" fmla="*/ 4301 w 9965"/>
                    <a:gd name="connsiteY57" fmla="*/ 9675 h 9961"/>
                    <a:gd name="connsiteX58" fmla="*/ 5865 w 9965"/>
                    <a:gd name="connsiteY58" fmla="*/ 9933 h 9961"/>
                    <a:gd name="connsiteX59" fmla="*/ 8549 w 9965"/>
                    <a:gd name="connsiteY59" fmla="*/ 9762 h 9961"/>
                    <a:gd name="connsiteX60" fmla="*/ 8786 w 9965"/>
                    <a:gd name="connsiteY60" fmla="*/ 9654 h 9961"/>
                    <a:gd name="connsiteX61" fmla="*/ 8945 w 9965"/>
                    <a:gd name="connsiteY61" fmla="*/ 9372 h 9961"/>
                    <a:gd name="connsiteX62" fmla="*/ 8865 w 9965"/>
                    <a:gd name="connsiteY62" fmla="*/ 7900 h 9961"/>
                    <a:gd name="connsiteX63" fmla="*/ 8654 w 9965"/>
                    <a:gd name="connsiteY63" fmla="*/ 6234 h 9961"/>
                    <a:gd name="connsiteX64" fmla="*/ 8707 w 9965"/>
                    <a:gd name="connsiteY64" fmla="*/ 5823 h 9961"/>
                    <a:gd name="connsiteX65" fmla="*/ 9604 w 9965"/>
                    <a:gd name="connsiteY65" fmla="*/ 5433 h 9961"/>
                    <a:gd name="connsiteX66" fmla="*/ 9921 w 9965"/>
                    <a:gd name="connsiteY66" fmla="*/ 4913 h 9961"/>
                    <a:gd name="connsiteX67" fmla="*/ 9947 w 9965"/>
                    <a:gd name="connsiteY67" fmla="*/ 4286 h 9961"/>
                    <a:gd name="connsiteX0" fmla="*/ 9982 w 10000"/>
                    <a:gd name="connsiteY0" fmla="*/ 4303 h 9972"/>
                    <a:gd name="connsiteX1" fmla="*/ 9877 w 10000"/>
                    <a:gd name="connsiteY1" fmla="*/ 3760 h 9972"/>
                    <a:gd name="connsiteX2" fmla="*/ 9823 w 10000"/>
                    <a:gd name="connsiteY2" fmla="*/ 3281 h 9972"/>
                    <a:gd name="connsiteX3" fmla="*/ 9691 w 10000"/>
                    <a:gd name="connsiteY3" fmla="*/ 2977 h 9972"/>
                    <a:gd name="connsiteX4" fmla="*/ 9665 w 10000"/>
                    <a:gd name="connsiteY4" fmla="*/ 2390 h 9972"/>
                    <a:gd name="connsiteX5" fmla="*/ 9479 w 10000"/>
                    <a:gd name="connsiteY5" fmla="*/ 1521 h 9972"/>
                    <a:gd name="connsiteX6" fmla="*/ 9029 w 10000"/>
                    <a:gd name="connsiteY6" fmla="*/ 913 h 9972"/>
                    <a:gd name="connsiteX7" fmla="*/ 8128 w 10000"/>
                    <a:gd name="connsiteY7" fmla="*/ 565 h 9972"/>
                    <a:gd name="connsiteX8" fmla="*/ 7944 w 10000"/>
                    <a:gd name="connsiteY8" fmla="*/ 478 h 9972"/>
                    <a:gd name="connsiteX9" fmla="*/ 7626 w 10000"/>
                    <a:gd name="connsiteY9" fmla="*/ 392 h 9972"/>
                    <a:gd name="connsiteX10" fmla="*/ 7202 w 10000"/>
                    <a:gd name="connsiteY10" fmla="*/ 0 h 9972"/>
                    <a:gd name="connsiteX11" fmla="*/ 6990 w 10000"/>
                    <a:gd name="connsiteY11" fmla="*/ 22 h 9972"/>
                    <a:gd name="connsiteX12" fmla="*/ 6990 w 10000"/>
                    <a:gd name="connsiteY12" fmla="*/ 43 h 9972"/>
                    <a:gd name="connsiteX13" fmla="*/ 6831 w 10000"/>
                    <a:gd name="connsiteY13" fmla="*/ 196 h 9972"/>
                    <a:gd name="connsiteX14" fmla="*/ 6196 w 10000"/>
                    <a:gd name="connsiteY14" fmla="*/ 696 h 9972"/>
                    <a:gd name="connsiteX15" fmla="*/ 5560 w 10000"/>
                    <a:gd name="connsiteY15" fmla="*/ 1543 h 9972"/>
                    <a:gd name="connsiteX16" fmla="*/ 5428 w 10000"/>
                    <a:gd name="connsiteY16" fmla="*/ 1804 h 9972"/>
                    <a:gd name="connsiteX17" fmla="*/ 5402 w 10000"/>
                    <a:gd name="connsiteY17" fmla="*/ 1825 h 9972"/>
                    <a:gd name="connsiteX18" fmla="*/ 4581 w 10000"/>
                    <a:gd name="connsiteY18" fmla="*/ 3303 h 9972"/>
                    <a:gd name="connsiteX19" fmla="*/ 4740 w 10000"/>
                    <a:gd name="connsiteY19" fmla="*/ 2282 h 9972"/>
                    <a:gd name="connsiteX20" fmla="*/ 4977 w 10000"/>
                    <a:gd name="connsiteY20" fmla="*/ 1478 h 9972"/>
                    <a:gd name="connsiteX21" fmla="*/ 5163 w 10000"/>
                    <a:gd name="connsiteY21" fmla="*/ 1174 h 9972"/>
                    <a:gd name="connsiteX22" fmla="*/ 5190 w 10000"/>
                    <a:gd name="connsiteY22" fmla="*/ 1151 h 9972"/>
                    <a:gd name="connsiteX23" fmla="*/ 5190 w 10000"/>
                    <a:gd name="connsiteY23" fmla="*/ 1108 h 9972"/>
                    <a:gd name="connsiteX24" fmla="*/ 5216 w 10000"/>
                    <a:gd name="connsiteY24" fmla="*/ 847 h 9972"/>
                    <a:gd name="connsiteX25" fmla="*/ 5190 w 10000"/>
                    <a:gd name="connsiteY25" fmla="*/ 869 h 9972"/>
                    <a:gd name="connsiteX26" fmla="*/ 5058 w 10000"/>
                    <a:gd name="connsiteY26" fmla="*/ 1021 h 9972"/>
                    <a:gd name="connsiteX27" fmla="*/ 4554 w 10000"/>
                    <a:gd name="connsiteY27" fmla="*/ 1369 h 9972"/>
                    <a:gd name="connsiteX28" fmla="*/ 3972 w 10000"/>
                    <a:gd name="connsiteY28" fmla="*/ 1804 h 9972"/>
                    <a:gd name="connsiteX29" fmla="*/ 3681 w 10000"/>
                    <a:gd name="connsiteY29" fmla="*/ 2499 h 9972"/>
                    <a:gd name="connsiteX30" fmla="*/ 3654 w 10000"/>
                    <a:gd name="connsiteY30" fmla="*/ 2977 h 9972"/>
                    <a:gd name="connsiteX31" fmla="*/ 3548 w 10000"/>
                    <a:gd name="connsiteY31" fmla="*/ 3238 h 9972"/>
                    <a:gd name="connsiteX32" fmla="*/ 3337 w 10000"/>
                    <a:gd name="connsiteY32" fmla="*/ 3607 h 9972"/>
                    <a:gd name="connsiteX33" fmla="*/ 3310 w 10000"/>
                    <a:gd name="connsiteY33" fmla="*/ 3933 h 9972"/>
                    <a:gd name="connsiteX34" fmla="*/ 3151 w 10000"/>
                    <a:gd name="connsiteY34" fmla="*/ 4020 h 9972"/>
                    <a:gd name="connsiteX35" fmla="*/ 2939 w 10000"/>
                    <a:gd name="connsiteY35" fmla="*/ 4193 h 9972"/>
                    <a:gd name="connsiteX36" fmla="*/ 2330 w 10000"/>
                    <a:gd name="connsiteY36" fmla="*/ 4303 h 9972"/>
                    <a:gd name="connsiteX37" fmla="*/ 1880 w 10000"/>
                    <a:gd name="connsiteY37" fmla="*/ 4281 h 9972"/>
                    <a:gd name="connsiteX38" fmla="*/ 1827 w 10000"/>
                    <a:gd name="connsiteY38" fmla="*/ 4281 h 9972"/>
                    <a:gd name="connsiteX39" fmla="*/ 1324 w 10000"/>
                    <a:gd name="connsiteY39" fmla="*/ 4193 h 9972"/>
                    <a:gd name="connsiteX40" fmla="*/ 556 w 10000"/>
                    <a:gd name="connsiteY40" fmla="*/ 4150 h 9972"/>
                    <a:gd name="connsiteX41" fmla="*/ 132 w 10000"/>
                    <a:gd name="connsiteY41" fmla="*/ 4107 h 9972"/>
                    <a:gd name="connsiteX42" fmla="*/ 106 w 10000"/>
                    <a:gd name="connsiteY42" fmla="*/ 4129 h 9972"/>
                    <a:gd name="connsiteX43" fmla="*/ 132 w 10000"/>
                    <a:gd name="connsiteY43" fmla="*/ 4824 h 9972"/>
                    <a:gd name="connsiteX44" fmla="*/ 0 w 10000"/>
                    <a:gd name="connsiteY44" fmla="*/ 4846 h 9972"/>
                    <a:gd name="connsiteX45" fmla="*/ 79 w 10000"/>
                    <a:gd name="connsiteY45" fmla="*/ 5520 h 9972"/>
                    <a:gd name="connsiteX46" fmla="*/ 1324 w 10000"/>
                    <a:gd name="connsiteY46" fmla="*/ 5585 h 9972"/>
                    <a:gd name="connsiteX47" fmla="*/ 1907 w 10000"/>
                    <a:gd name="connsiteY47" fmla="*/ 5585 h 9972"/>
                    <a:gd name="connsiteX48" fmla="*/ 3310 w 10000"/>
                    <a:gd name="connsiteY48" fmla="*/ 5563 h 9972"/>
                    <a:gd name="connsiteX49" fmla="*/ 3786 w 10000"/>
                    <a:gd name="connsiteY49" fmla="*/ 5520 h 9972"/>
                    <a:gd name="connsiteX50" fmla="*/ 3733 w 10000"/>
                    <a:gd name="connsiteY50" fmla="*/ 6563 h 9972"/>
                    <a:gd name="connsiteX51" fmla="*/ 3733 w 10000"/>
                    <a:gd name="connsiteY51" fmla="*/ 7236 h 9972"/>
                    <a:gd name="connsiteX52" fmla="*/ 3628 w 10000"/>
                    <a:gd name="connsiteY52" fmla="*/ 9366 h 9972"/>
                    <a:gd name="connsiteX53" fmla="*/ 3707 w 10000"/>
                    <a:gd name="connsiteY53" fmla="*/ 9757 h 9972"/>
                    <a:gd name="connsiteX54" fmla="*/ 3707 w 10000"/>
                    <a:gd name="connsiteY54" fmla="*/ 9648 h 9972"/>
                    <a:gd name="connsiteX55" fmla="*/ 3945 w 10000"/>
                    <a:gd name="connsiteY55" fmla="*/ 9735 h 9972"/>
                    <a:gd name="connsiteX56" fmla="*/ 4130 w 10000"/>
                    <a:gd name="connsiteY56" fmla="*/ 9539 h 9972"/>
                    <a:gd name="connsiteX57" fmla="*/ 4451 w 10000"/>
                    <a:gd name="connsiteY57" fmla="*/ 9796 h 9972"/>
                    <a:gd name="connsiteX58" fmla="*/ 5886 w 10000"/>
                    <a:gd name="connsiteY58" fmla="*/ 9972 h 9972"/>
                    <a:gd name="connsiteX59" fmla="*/ 8579 w 10000"/>
                    <a:gd name="connsiteY59" fmla="*/ 9800 h 9972"/>
                    <a:gd name="connsiteX60" fmla="*/ 8817 w 10000"/>
                    <a:gd name="connsiteY60" fmla="*/ 9692 h 9972"/>
                    <a:gd name="connsiteX61" fmla="*/ 8976 w 10000"/>
                    <a:gd name="connsiteY61" fmla="*/ 9409 h 9972"/>
                    <a:gd name="connsiteX62" fmla="*/ 8896 w 10000"/>
                    <a:gd name="connsiteY62" fmla="*/ 7931 h 9972"/>
                    <a:gd name="connsiteX63" fmla="*/ 8684 w 10000"/>
                    <a:gd name="connsiteY63" fmla="*/ 6258 h 9972"/>
                    <a:gd name="connsiteX64" fmla="*/ 8738 w 10000"/>
                    <a:gd name="connsiteY64" fmla="*/ 5846 h 9972"/>
                    <a:gd name="connsiteX65" fmla="*/ 9638 w 10000"/>
                    <a:gd name="connsiteY65" fmla="*/ 5454 h 9972"/>
                    <a:gd name="connsiteX66" fmla="*/ 9956 w 10000"/>
                    <a:gd name="connsiteY66" fmla="*/ 4932 h 9972"/>
                    <a:gd name="connsiteX67" fmla="*/ 9982 w 10000"/>
                    <a:gd name="connsiteY67" fmla="*/ 4303 h 9972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130 w 10000"/>
                    <a:gd name="connsiteY56" fmla="*/ 9566 h 10001"/>
                    <a:gd name="connsiteX57" fmla="*/ 4451 w 10000"/>
                    <a:gd name="connsiteY57" fmla="*/ 9824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214 w 10000"/>
                    <a:gd name="connsiteY56" fmla="*/ 9649 h 10001"/>
                    <a:gd name="connsiteX57" fmla="*/ 4451 w 10000"/>
                    <a:gd name="connsiteY57" fmla="*/ 9824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214 w 10000"/>
                    <a:gd name="connsiteY56" fmla="*/ 9649 h 10001"/>
                    <a:gd name="connsiteX57" fmla="*/ 4618 w 10000"/>
                    <a:gd name="connsiteY57" fmla="*/ 9900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18"/>
                    <a:gd name="connsiteX1" fmla="*/ 9877 w 10000"/>
                    <a:gd name="connsiteY1" fmla="*/ 3771 h 10018"/>
                    <a:gd name="connsiteX2" fmla="*/ 9823 w 10000"/>
                    <a:gd name="connsiteY2" fmla="*/ 3290 h 10018"/>
                    <a:gd name="connsiteX3" fmla="*/ 9691 w 10000"/>
                    <a:gd name="connsiteY3" fmla="*/ 2985 h 10018"/>
                    <a:gd name="connsiteX4" fmla="*/ 9665 w 10000"/>
                    <a:gd name="connsiteY4" fmla="*/ 2397 h 10018"/>
                    <a:gd name="connsiteX5" fmla="*/ 9479 w 10000"/>
                    <a:gd name="connsiteY5" fmla="*/ 1525 h 10018"/>
                    <a:gd name="connsiteX6" fmla="*/ 9029 w 10000"/>
                    <a:gd name="connsiteY6" fmla="*/ 916 h 10018"/>
                    <a:gd name="connsiteX7" fmla="*/ 8128 w 10000"/>
                    <a:gd name="connsiteY7" fmla="*/ 567 h 10018"/>
                    <a:gd name="connsiteX8" fmla="*/ 7944 w 10000"/>
                    <a:gd name="connsiteY8" fmla="*/ 479 h 10018"/>
                    <a:gd name="connsiteX9" fmla="*/ 7626 w 10000"/>
                    <a:gd name="connsiteY9" fmla="*/ 393 h 10018"/>
                    <a:gd name="connsiteX10" fmla="*/ 7202 w 10000"/>
                    <a:gd name="connsiteY10" fmla="*/ 0 h 10018"/>
                    <a:gd name="connsiteX11" fmla="*/ 6990 w 10000"/>
                    <a:gd name="connsiteY11" fmla="*/ 22 h 10018"/>
                    <a:gd name="connsiteX12" fmla="*/ 6990 w 10000"/>
                    <a:gd name="connsiteY12" fmla="*/ 43 h 10018"/>
                    <a:gd name="connsiteX13" fmla="*/ 6831 w 10000"/>
                    <a:gd name="connsiteY13" fmla="*/ 197 h 10018"/>
                    <a:gd name="connsiteX14" fmla="*/ 6196 w 10000"/>
                    <a:gd name="connsiteY14" fmla="*/ 698 h 10018"/>
                    <a:gd name="connsiteX15" fmla="*/ 5560 w 10000"/>
                    <a:gd name="connsiteY15" fmla="*/ 1547 h 10018"/>
                    <a:gd name="connsiteX16" fmla="*/ 5428 w 10000"/>
                    <a:gd name="connsiteY16" fmla="*/ 1809 h 10018"/>
                    <a:gd name="connsiteX17" fmla="*/ 5402 w 10000"/>
                    <a:gd name="connsiteY17" fmla="*/ 1830 h 10018"/>
                    <a:gd name="connsiteX18" fmla="*/ 4581 w 10000"/>
                    <a:gd name="connsiteY18" fmla="*/ 3312 h 10018"/>
                    <a:gd name="connsiteX19" fmla="*/ 4740 w 10000"/>
                    <a:gd name="connsiteY19" fmla="*/ 2288 h 10018"/>
                    <a:gd name="connsiteX20" fmla="*/ 4977 w 10000"/>
                    <a:gd name="connsiteY20" fmla="*/ 1482 h 10018"/>
                    <a:gd name="connsiteX21" fmla="*/ 5163 w 10000"/>
                    <a:gd name="connsiteY21" fmla="*/ 1177 h 10018"/>
                    <a:gd name="connsiteX22" fmla="*/ 5190 w 10000"/>
                    <a:gd name="connsiteY22" fmla="*/ 1154 h 10018"/>
                    <a:gd name="connsiteX23" fmla="*/ 5190 w 10000"/>
                    <a:gd name="connsiteY23" fmla="*/ 1111 h 10018"/>
                    <a:gd name="connsiteX24" fmla="*/ 5216 w 10000"/>
                    <a:gd name="connsiteY24" fmla="*/ 849 h 10018"/>
                    <a:gd name="connsiteX25" fmla="*/ 5190 w 10000"/>
                    <a:gd name="connsiteY25" fmla="*/ 871 h 10018"/>
                    <a:gd name="connsiteX26" fmla="*/ 5058 w 10000"/>
                    <a:gd name="connsiteY26" fmla="*/ 1024 h 10018"/>
                    <a:gd name="connsiteX27" fmla="*/ 4554 w 10000"/>
                    <a:gd name="connsiteY27" fmla="*/ 1373 h 10018"/>
                    <a:gd name="connsiteX28" fmla="*/ 3972 w 10000"/>
                    <a:gd name="connsiteY28" fmla="*/ 1809 h 10018"/>
                    <a:gd name="connsiteX29" fmla="*/ 3681 w 10000"/>
                    <a:gd name="connsiteY29" fmla="*/ 2506 h 10018"/>
                    <a:gd name="connsiteX30" fmla="*/ 3654 w 10000"/>
                    <a:gd name="connsiteY30" fmla="*/ 2985 h 10018"/>
                    <a:gd name="connsiteX31" fmla="*/ 3548 w 10000"/>
                    <a:gd name="connsiteY31" fmla="*/ 3247 h 10018"/>
                    <a:gd name="connsiteX32" fmla="*/ 3337 w 10000"/>
                    <a:gd name="connsiteY32" fmla="*/ 3617 h 10018"/>
                    <a:gd name="connsiteX33" fmla="*/ 3310 w 10000"/>
                    <a:gd name="connsiteY33" fmla="*/ 3944 h 10018"/>
                    <a:gd name="connsiteX34" fmla="*/ 3151 w 10000"/>
                    <a:gd name="connsiteY34" fmla="*/ 4031 h 10018"/>
                    <a:gd name="connsiteX35" fmla="*/ 2939 w 10000"/>
                    <a:gd name="connsiteY35" fmla="*/ 4205 h 10018"/>
                    <a:gd name="connsiteX36" fmla="*/ 2330 w 10000"/>
                    <a:gd name="connsiteY36" fmla="*/ 4315 h 10018"/>
                    <a:gd name="connsiteX37" fmla="*/ 1880 w 10000"/>
                    <a:gd name="connsiteY37" fmla="*/ 4293 h 10018"/>
                    <a:gd name="connsiteX38" fmla="*/ 1827 w 10000"/>
                    <a:gd name="connsiteY38" fmla="*/ 4293 h 10018"/>
                    <a:gd name="connsiteX39" fmla="*/ 1324 w 10000"/>
                    <a:gd name="connsiteY39" fmla="*/ 4205 h 10018"/>
                    <a:gd name="connsiteX40" fmla="*/ 556 w 10000"/>
                    <a:gd name="connsiteY40" fmla="*/ 4162 h 10018"/>
                    <a:gd name="connsiteX41" fmla="*/ 132 w 10000"/>
                    <a:gd name="connsiteY41" fmla="*/ 4119 h 10018"/>
                    <a:gd name="connsiteX42" fmla="*/ 106 w 10000"/>
                    <a:gd name="connsiteY42" fmla="*/ 4141 h 10018"/>
                    <a:gd name="connsiteX43" fmla="*/ 132 w 10000"/>
                    <a:gd name="connsiteY43" fmla="*/ 4838 h 10018"/>
                    <a:gd name="connsiteX44" fmla="*/ 0 w 10000"/>
                    <a:gd name="connsiteY44" fmla="*/ 4860 h 10018"/>
                    <a:gd name="connsiteX45" fmla="*/ 79 w 10000"/>
                    <a:gd name="connsiteY45" fmla="*/ 5535 h 10018"/>
                    <a:gd name="connsiteX46" fmla="*/ 1324 w 10000"/>
                    <a:gd name="connsiteY46" fmla="*/ 5601 h 10018"/>
                    <a:gd name="connsiteX47" fmla="*/ 1907 w 10000"/>
                    <a:gd name="connsiteY47" fmla="*/ 5601 h 10018"/>
                    <a:gd name="connsiteX48" fmla="*/ 3310 w 10000"/>
                    <a:gd name="connsiteY48" fmla="*/ 5579 h 10018"/>
                    <a:gd name="connsiteX49" fmla="*/ 3786 w 10000"/>
                    <a:gd name="connsiteY49" fmla="*/ 5535 h 10018"/>
                    <a:gd name="connsiteX50" fmla="*/ 3733 w 10000"/>
                    <a:gd name="connsiteY50" fmla="*/ 6581 h 10018"/>
                    <a:gd name="connsiteX51" fmla="*/ 3733 w 10000"/>
                    <a:gd name="connsiteY51" fmla="*/ 7256 h 10018"/>
                    <a:gd name="connsiteX52" fmla="*/ 3628 w 10000"/>
                    <a:gd name="connsiteY52" fmla="*/ 9392 h 10018"/>
                    <a:gd name="connsiteX53" fmla="*/ 3707 w 10000"/>
                    <a:gd name="connsiteY53" fmla="*/ 9784 h 10018"/>
                    <a:gd name="connsiteX54" fmla="*/ 3707 w 10000"/>
                    <a:gd name="connsiteY54" fmla="*/ 9675 h 10018"/>
                    <a:gd name="connsiteX55" fmla="*/ 3945 w 10000"/>
                    <a:gd name="connsiteY55" fmla="*/ 9762 h 10018"/>
                    <a:gd name="connsiteX56" fmla="*/ 4214 w 10000"/>
                    <a:gd name="connsiteY56" fmla="*/ 9649 h 10018"/>
                    <a:gd name="connsiteX57" fmla="*/ 4618 w 10000"/>
                    <a:gd name="connsiteY57" fmla="*/ 9900 h 10018"/>
                    <a:gd name="connsiteX58" fmla="*/ 5886 w 10000"/>
                    <a:gd name="connsiteY58" fmla="*/ 10000 h 10018"/>
                    <a:gd name="connsiteX59" fmla="*/ 8579 w 10000"/>
                    <a:gd name="connsiteY59" fmla="*/ 9828 h 10018"/>
                    <a:gd name="connsiteX60" fmla="*/ 8817 w 10000"/>
                    <a:gd name="connsiteY60" fmla="*/ 9719 h 10018"/>
                    <a:gd name="connsiteX61" fmla="*/ 8976 w 10000"/>
                    <a:gd name="connsiteY61" fmla="*/ 9435 h 10018"/>
                    <a:gd name="connsiteX62" fmla="*/ 8896 w 10000"/>
                    <a:gd name="connsiteY62" fmla="*/ 7953 h 10018"/>
                    <a:gd name="connsiteX63" fmla="*/ 8684 w 10000"/>
                    <a:gd name="connsiteY63" fmla="*/ 6276 h 10018"/>
                    <a:gd name="connsiteX64" fmla="*/ 8738 w 10000"/>
                    <a:gd name="connsiteY64" fmla="*/ 5862 h 10018"/>
                    <a:gd name="connsiteX65" fmla="*/ 9638 w 10000"/>
                    <a:gd name="connsiteY65" fmla="*/ 5469 h 10018"/>
                    <a:gd name="connsiteX66" fmla="*/ 9956 w 10000"/>
                    <a:gd name="connsiteY66" fmla="*/ 4946 h 10018"/>
                    <a:gd name="connsiteX67" fmla="*/ 9982 w 10000"/>
                    <a:gd name="connsiteY67" fmla="*/ 4315 h 10018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45 w 10000"/>
                    <a:gd name="connsiteY55" fmla="*/ 9762 h 10026"/>
                    <a:gd name="connsiteX56" fmla="*/ 4214 w 10000"/>
                    <a:gd name="connsiteY56" fmla="*/ 9649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45 w 10000"/>
                    <a:gd name="connsiteY55" fmla="*/ 9762 h 10026"/>
                    <a:gd name="connsiteX56" fmla="*/ 4214 w 10000"/>
                    <a:gd name="connsiteY56" fmla="*/ 9741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08 w 10000"/>
                    <a:gd name="connsiteY55" fmla="*/ 9808 h 10026"/>
                    <a:gd name="connsiteX56" fmla="*/ 4214 w 10000"/>
                    <a:gd name="connsiteY56" fmla="*/ 9741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391"/>
                    <a:gd name="connsiteX1" fmla="*/ 9877 w 10000"/>
                    <a:gd name="connsiteY1" fmla="*/ 3771 h 10391"/>
                    <a:gd name="connsiteX2" fmla="*/ 9823 w 10000"/>
                    <a:gd name="connsiteY2" fmla="*/ 3290 h 10391"/>
                    <a:gd name="connsiteX3" fmla="*/ 9691 w 10000"/>
                    <a:gd name="connsiteY3" fmla="*/ 2985 h 10391"/>
                    <a:gd name="connsiteX4" fmla="*/ 9665 w 10000"/>
                    <a:gd name="connsiteY4" fmla="*/ 2397 h 10391"/>
                    <a:gd name="connsiteX5" fmla="*/ 9479 w 10000"/>
                    <a:gd name="connsiteY5" fmla="*/ 1525 h 10391"/>
                    <a:gd name="connsiteX6" fmla="*/ 9029 w 10000"/>
                    <a:gd name="connsiteY6" fmla="*/ 916 h 10391"/>
                    <a:gd name="connsiteX7" fmla="*/ 8128 w 10000"/>
                    <a:gd name="connsiteY7" fmla="*/ 567 h 10391"/>
                    <a:gd name="connsiteX8" fmla="*/ 7944 w 10000"/>
                    <a:gd name="connsiteY8" fmla="*/ 479 h 10391"/>
                    <a:gd name="connsiteX9" fmla="*/ 7626 w 10000"/>
                    <a:gd name="connsiteY9" fmla="*/ 393 h 10391"/>
                    <a:gd name="connsiteX10" fmla="*/ 7202 w 10000"/>
                    <a:gd name="connsiteY10" fmla="*/ 0 h 10391"/>
                    <a:gd name="connsiteX11" fmla="*/ 6990 w 10000"/>
                    <a:gd name="connsiteY11" fmla="*/ 22 h 10391"/>
                    <a:gd name="connsiteX12" fmla="*/ 6990 w 10000"/>
                    <a:gd name="connsiteY12" fmla="*/ 43 h 10391"/>
                    <a:gd name="connsiteX13" fmla="*/ 6831 w 10000"/>
                    <a:gd name="connsiteY13" fmla="*/ 197 h 10391"/>
                    <a:gd name="connsiteX14" fmla="*/ 6196 w 10000"/>
                    <a:gd name="connsiteY14" fmla="*/ 698 h 10391"/>
                    <a:gd name="connsiteX15" fmla="*/ 5560 w 10000"/>
                    <a:gd name="connsiteY15" fmla="*/ 1547 h 10391"/>
                    <a:gd name="connsiteX16" fmla="*/ 5428 w 10000"/>
                    <a:gd name="connsiteY16" fmla="*/ 1809 h 10391"/>
                    <a:gd name="connsiteX17" fmla="*/ 5402 w 10000"/>
                    <a:gd name="connsiteY17" fmla="*/ 1830 h 10391"/>
                    <a:gd name="connsiteX18" fmla="*/ 4581 w 10000"/>
                    <a:gd name="connsiteY18" fmla="*/ 3312 h 10391"/>
                    <a:gd name="connsiteX19" fmla="*/ 4740 w 10000"/>
                    <a:gd name="connsiteY19" fmla="*/ 2288 h 10391"/>
                    <a:gd name="connsiteX20" fmla="*/ 4977 w 10000"/>
                    <a:gd name="connsiteY20" fmla="*/ 1482 h 10391"/>
                    <a:gd name="connsiteX21" fmla="*/ 5163 w 10000"/>
                    <a:gd name="connsiteY21" fmla="*/ 1177 h 10391"/>
                    <a:gd name="connsiteX22" fmla="*/ 5190 w 10000"/>
                    <a:gd name="connsiteY22" fmla="*/ 1154 h 10391"/>
                    <a:gd name="connsiteX23" fmla="*/ 5190 w 10000"/>
                    <a:gd name="connsiteY23" fmla="*/ 1111 h 10391"/>
                    <a:gd name="connsiteX24" fmla="*/ 5216 w 10000"/>
                    <a:gd name="connsiteY24" fmla="*/ 849 h 10391"/>
                    <a:gd name="connsiteX25" fmla="*/ 5190 w 10000"/>
                    <a:gd name="connsiteY25" fmla="*/ 871 h 10391"/>
                    <a:gd name="connsiteX26" fmla="*/ 5058 w 10000"/>
                    <a:gd name="connsiteY26" fmla="*/ 1024 h 10391"/>
                    <a:gd name="connsiteX27" fmla="*/ 4554 w 10000"/>
                    <a:gd name="connsiteY27" fmla="*/ 1373 h 10391"/>
                    <a:gd name="connsiteX28" fmla="*/ 3972 w 10000"/>
                    <a:gd name="connsiteY28" fmla="*/ 1809 h 10391"/>
                    <a:gd name="connsiteX29" fmla="*/ 3681 w 10000"/>
                    <a:gd name="connsiteY29" fmla="*/ 2506 h 10391"/>
                    <a:gd name="connsiteX30" fmla="*/ 3654 w 10000"/>
                    <a:gd name="connsiteY30" fmla="*/ 2985 h 10391"/>
                    <a:gd name="connsiteX31" fmla="*/ 3548 w 10000"/>
                    <a:gd name="connsiteY31" fmla="*/ 3247 h 10391"/>
                    <a:gd name="connsiteX32" fmla="*/ 3337 w 10000"/>
                    <a:gd name="connsiteY32" fmla="*/ 3617 h 10391"/>
                    <a:gd name="connsiteX33" fmla="*/ 3310 w 10000"/>
                    <a:gd name="connsiteY33" fmla="*/ 3944 h 10391"/>
                    <a:gd name="connsiteX34" fmla="*/ 3151 w 10000"/>
                    <a:gd name="connsiteY34" fmla="*/ 4031 h 10391"/>
                    <a:gd name="connsiteX35" fmla="*/ 2939 w 10000"/>
                    <a:gd name="connsiteY35" fmla="*/ 4205 h 10391"/>
                    <a:gd name="connsiteX36" fmla="*/ 2330 w 10000"/>
                    <a:gd name="connsiteY36" fmla="*/ 4315 h 10391"/>
                    <a:gd name="connsiteX37" fmla="*/ 1880 w 10000"/>
                    <a:gd name="connsiteY37" fmla="*/ 4293 h 10391"/>
                    <a:gd name="connsiteX38" fmla="*/ 1827 w 10000"/>
                    <a:gd name="connsiteY38" fmla="*/ 4293 h 10391"/>
                    <a:gd name="connsiteX39" fmla="*/ 1324 w 10000"/>
                    <a:gd name="connsiteY39" fmla="*/ 4205 h 10391"/>
                    <a:gd name="connsiteX40" fmla="*/ 556 w 10000"/>
                    <a:gd name="connsiteY40" fmla="*/ 4162 h 10391"/>
                    <a:gd name="connsiteX41" fmla="*/ 132 w 10000"/>
                    <a:gd name="connsiteY41" fmla="*/ 4119 h 10391"/>
                    <a:gd name="connsiteX42" fmla="*/ 106 w 10000"/>
                    <a:gd name="connsiteY42" fmla="*/ 4141 h 10391"/>
                    <a:gd name="connsiteX43" fmla="*/ 132 w 10000"/>
                    <a:gd name="connsiteY43" fmla="*/ 4838 h 10391"/>
                    <a:gd name="connsiteX44" fmla="*/ 0 w 10000"/>
                    <a:gd name="connsiteY44" fmla="*/ 4860 h 10391"/>
                    <a:gd name="connsiteX45" fmla="*/ 79 w 10000"/>
                    <a:gd name="connsiteY45" fmla="*/ 5535 h 10391"/>
                    <a:gd name="connsiteX46" fmla="*/ 1324 w 10000"/>
                    <a:gd name="connsiteY46" fmla="*/ 5601 h 10391"/>
                    <a:gd name="connsiteX47" fmla="*/ 1907 w 10000"/>
                    <a:gd name="connsiteY47" fmla="*/ 5601 h 10391"/>
                    <a:gd name="connsiteX48" fmla="*/ 3310 w 10000"/>
                    <a:gd name="connsiteY48" fmla="*/ 5579 h 10391"/>
                    <a:gd name="connsiteX49" fmla="*/ 3786 w 10000"/>
                    <a:gd name="connsiteY49" fmla="*/ 5535 h 10391"/>
                    <a:gd name="connsiteX50" fmla="*/ 3733 w 10000"/>
                    <a:gd name="connsiteY50" fmla="*/ 6581 h 10391"/>
                    <a:gd name="connsiteX51" fmla="*/ 3733 w 10000"/>
                    <a:gd name="connsiteY51" fmla="*/ 7256 h 10391"/>
                    <a:gd name="connsiteX52" fmla="*/ 3628 w 10000"/>
                    <a:gd name="connsiteY52" fmla="*/ 9392 h 10391"/>
                    <a:gd name="connsiteX53" fmla="*/ 3707 w 10000"/>
                    <a:gd name="connsiteY53" fmla="*/ 9784 h 10391"/>
                    <a:gd name="connsiteX54" fmla="*/ 3707 w 10000"/>
                    <a:gd name="connsiteY54" fmla="*/ 9675 h 10391"/>
                    <a:gd name="connsiteX55" fmla="*/ 3908 w 10000"/>
                    <a:gd name="connsiteY55" fmla="*/ 9808 h 10391"/>
                    <a:gd name="connsiteX56" fmla="*/ 4214 w 10000"/>
                    <a:gd name="connsiteY56" fmla="*/ 9741 h 10391"/>
                    <a:gd name="connsiteX57" fmla="*/ 4618 w 10000"/>
                    <a:gd name="connsiteY57" fmla="*/ 9900 h 10391"/>
                    <a:gd name="connsiteX58" fmla="*/ 5999 w 10000"/>
                    <a:gd name="connsiteY58" fmla="*/ 10383 h 10391"/>
                    <a:gd name="connsiteX59" fmla="*/ 8579 w 10000"/>
                    <a:gd name="connsiteY59" fmla="*/ 9828 h 10391"/>
                    <a:gd name="connsiteX60" fmla="*/ 8817 w 10000"/>
                    <a:gd name="connsiteY60" fmla="*/ 9719 h 10391"/>
                    <a:gd name="connsiteX61" fmla="*/ 8976 w 10000"/>
                    <a:gd name="connsiteY61" fmla="*/ 9435 h 10391"/>
                    <a:gd name="connsiteX62" fmla="*/ 8896 w 10000"/>
                    <a:gd name="connsiteY62" fmla="*/ 7953 h 10391"/>
                    <a:gd name="connsiteX63" fmla="*/ 8684 w 10000"/>
                    <a:gd name="connsiteY63" fmla="*/ 6276 h 10391"/>
                    <a:gd name="connsiteX64" fmla="*/ 8738 w 10000"/>
                    <a:gd name="connsiteY64" fmla="*/ 5862 h 10391"/>
                    <a:gd name="connsiteX65" fmla="*/ 9638 w 10000"/>
                    <a:gd name="connsiteY65" fmla="*/ 5469 h 10391"/>
                    <a:gd name="connsiteX66" fmla="*/ 9956 w 10000"/>
                    <a:gd name="connsiteY66" fmla="*/ 4946 h 10391"/>
                    <a:gd name="connsiteX67" fmla="*/ 9982 w 10000"/>
                    <a:gd name="connsiteY67" fmla="*/ 4315 h 10391"/>
                    <a:gd name="connsiteX0" fmla="*/ 9982 w 10000"/>
                    <a:gd name="connsiteY0" fmla="*/ 4315 h 10232"/>
                    <a:gd name="connsiteX1" fmla="*/ 9877 w 10000"/>
                    <a:gd name="connsiteY1" fmla="*/ 3771 h 10232"/>
                    <a:gd name="connsiteX2" fmla="*/ 9823 w 10000"/>
                    <a:gd name="connsiteY2" fmla="*/ 3290 h 10232"/>
                    <a:gd name="connsiteX3" fmla="*/ 9691 w 10000"/>
                    <a:gd name="connsiteY3" fmla="*/ 2985 h 10232"/>
                    <a:gd name="connsiteX4" fmla="*/ 9665 w 10000"/>
                    <a:gd name="connsiteY4" fmla="*/ 2397 h 10232"/>
                    <a:gd name="connsiteX5" fmla="*/ 9479 w 10000"/>
                    <a:gd name="connsiteY5" fmla="*/ 1525 h 10232"/>
                    <a:gd name="connsiteX6" fmla="*/ 9029 w 10000"/>
                    <a:gd name="connsiteY6" fmla="*/ 916 h 10232"/>
                    <a:gd name="connsiteX7" fmla="*/ 8128 w 10000"/>
                    <a:gd name="connsiteY7" fmla="*/ 567 h 10232"/>
                    <a:gd name="connsiteX8" fmla="*/ 7944 w 10000"/>
                    <a:gd name="connsiteY8" fmla="*/ 479 h 10232"/>
                    <a:gd name="connsiteX9" fmla="*/ 7626 w 10000"/>
                    <a:gd name="connsiteY9" fmla="*/ 393 h 10232"/>
                    <a:gd name="connsiteX10" fmla="*/ 7202 w 10000"/>
                    <a:gd name="connsiteY10" fmla="*/ 0 h 10232"/>
                    <a:gd name="connsiteX11" fmla="*/ 6990 w 10000"/>
                    <a:gd name="connsiteY11" fmla="*/ 22 h 10232"/>
                    <a:gd name="connsiteX12" fmla="*/ 6990 w 10000"/>
                    <a:gd name="connsiteY12" fmla="*/ 43 h 10232"/>
                    <a:gd name="connsiteX13" fmla="*/ 6831 w 10000"/>
                    <a:gd name="connsiteY13" fmla="*/ 197 h 10232"/>
                    <a:gd name="connsiteX14" fmla="*/ 6196 w 10000"/>
                    <a:gd name="connsiteY14" fmla="*/ 698 h 10232"/>
                    <a:gd name="connsiteX15" fmla="*/ 5560 w 10000"/>
                    <a:gd name="connsiteY15" fmla="*/ 1547 h 10232"/>
                    <a:gd name="connsiteX16" fmla="*/ 5428 w 10000"/>
                    <a:gd name="connsiteY16" fmla="*/ 1809 h 10232"/>
                    <a:gd name="connsiteX17" fmla="*/ 5402 w 10000"/>
                    <a:gd name="connsiteY17" fmla="*/ 1830 h 10232"/>
                    <a:gd name="connsiteX18" fmla="*/ 4581 w 10000"/>
                    <a:gd name="connsiteY18" fmla="*/ 3312 h 10232"/>
                    <a:gd name="connsiteX19" fmla="*/ 4740 w 10000"/>
                    <a:gd name="connsiteY19" fmla="*/ 2288 h 10232"/>
                    <a:gd name="connsiteX20" fmla="*/ 4977 w 10000"/>
                    <a:gd name="connsiteY20" fmla="*/ 1482 h 10232"/>
                    <a:gd name="connsiteX21" fmla="*/ 5163 w 10000"/>
                    <a:gd name="connsiteY21" fmla="*/ 1177 h 10232"/>
                    <a:gd name="connsiteX22" fmla="*/ 5190 w 10000"/>
                    <a:gd name="connsiteY22" fmla="*/ 1154 h 10232"/>
                    <a:gd name="connsiteX23" fmla="*/ 5190 w 10000"/>
                    <a:gd name="connsiteY23" fmla="*/ 1111 h 10232"/>
                    <a:gd name="connsiteX24" fmla="*/ 5216 w 10000"/>
                    <a:gd name="connsiteY24" fmla="*/ 849 h 10232"/>
                    <a:gd name="connsiteX25" fmla="*/ 5190 w 10000"/>
                    <a:gd name="connsiteY25" fmla="*/ 871 h 10232"/>
                    <a:gd name="connsiteX26" fmla="*/ 5058 w 10000"/>
                    <a:gd name="connsiteY26" fmla="*/ 1024 h 10232"/>
                    <a:gd name="connsiteX27" fmla="*/ 4554 w 10000"/>
                    <a:gd name="connsiteY27" fmla="*/ 1373 h 10232"/>
                    <a:gd name="connsiteX28" fmla="*/ 3972 w 10000"/>
                    <a:gd name="connsiteY28" fmla="*/ 1809 h 10232"/>
                    <a:gd name="connsiteX29" fmla="*/ 3681 w 10000"/>
                    <a:gd name="connsiteY29" fmla="*/ 2506 h 10232"/>
                    <a:gd name="connsiteX30" fmla="*/ 3654 w 10000"/>
                    <a:gd name="connsiteY30" fmla="*/ 2985 h 10232"/>
                    <a:gd name="connsiteX31" fmla="*/ 3548 w 10000"/>
                    <a:gd name="connsiteY31" fmla="*/ 3247 h 10232"/>
                    <a:gd name="connsiteX32" fmla="*/ 3337 w 10000"/>
                    <a:gd name="connsiteY32" fmla="*/ 3617 h 10232"/>
                    <a:gd name="connsiteX33" fmla="*/ 3310 w 10000"/>
                    <a:gd name="connsiteY33" fmla="*/ 3944 h 10232"/>
                    <a:gd name="connsiteX34" fmla="*/ 3151 w 10000"/>
                    <a:gd name="connsiteY34" fmla="*/ 4031 h 10232"/>
                    <a:gd name="connsiteX35" fmla="*/ 2939 w 10000"/>
                    <a:gd name="connsiteY35" fmla="*/ 4205 h 10232"/>
                    <a:gd name="connsiteX36" fmla="*/ 2330 w 10000"/>
                    <a:gd name="connsiteY36" fmla="*/ 4315 h 10232"/>
                    <a:gd name="connsiteX37" fmla="*/ 1880 w 10000"/>
                    <a:gd name="connsiteY37" fmla="*/ 4293 h 10232"/>
                    <a:gd name="connsiteX38" fmla="*/ 1827 w 10000"/>
                    <a:gd name="connsiteY38" fmla="*/ 4293 h 10232"/>
                    <a:gd name="connsiteX39" fmla="*/ 1324 w 10000"/>
                    <a:gd name="connsiteY39" fmla="*/ 4205 h 10232"/>
                    <a:gd name="connsiteX40" fmla="*/ 556 w 10000"/>
                    <a:gd name="connsiteY40" fmla="*/ 4162 h 10232"/>
                    <a:gd name="connsiteX41" fmla="*/ 132 w 10000"/>
                    <a:gd name="connsiteY41" fmla="*/ 4119 h 10232"/>
                    <a:gd name="connsiteX42" fmla="*/ 106 w 10000"/>
                    <a:gd name="connsiteY42" fmla="*/ 4141 h 10232"/>
                    <a:gd name="connsiteX43" fmla="*/ 132 w 10000"/>
                    <a:gd name="connsiteY43" fmla="*/ 4838 h 10232"/>
                    <a:gd name="connsiteX44" fmla="*/ 0 w 10000"/>
                    <a:gd name="connsiteY44" fmla="*/ 4860 h 10232"/>
                    <a:gd name="connsiteX45" fmla="*/ 79 w 10000"/>
                    <a:gd name="connsiteY45" fmla="*/ 5535 h 10232"/>
                    <a:gd name="connsiteX46" fmla="*/ 1324 w 10000"/>
                    <a:gd name="connsiteY46" fmla="*/ 5601 h 10232"/>
                    <a:gd name="connsiteX47" fmla="*/ 1907 w 10000"/>
                    <a:gd name="connsiteY47" fmla="*/ 5601 h 10232"/>
                    <a:gd name="connsiteX48" fmla="*/ 3310 w 10000"/>
                    <a:gd name="connsiteY48" fmla="*/ 5579 h 10232"/>
                    <a:gd name="connsiteX49" fmla="*/ 3786 w 10000"/>
                    <a:gd name="connsiteY49" fmla="*/ 5535 h 10232"/>
                    <a:gd name="connsiteX50" fmla="*/ 3733 w 10000"/>
                    <a:gd name="connsiteY50" fmla="*/ 6581 h 10232"/>
                    <a:gd name="connsiteX51" fmla="*/ 3733 w 10000"/>
                    <a:gd name="connsiteY51" fmla="*/ 7256 h 10232"/>
                    <a:gd name="connsiteX52" fmla="*/ 3628 w 10000"/>
                    <a:gd name="connsiteY52" fmla="*/ 9392 h 10232"/>
                    <a:gd name="connsiteX53" fmla="*/ 3707 w 10000"/>
                    <a:gd name="connsiteY53" fmla="*/ 9784 h 10232"/>
                    <a:gd name="connsiteX54" fmla="*/ 3707 w 10000"/>
                    <a:gd name="connsiteY54" fmla="*/ 9675 h 10232"/>
                    <a:gd name="connsiteX55" fmla="*/ 3908 w 10000"/>
                    <a:gd name="connsiteY55" fmla="*/ 9808 h 10232"/>
                    <a:gd name="connsiteX56" fmla="*/ 4214 w 10000"/>
                    <a:gd name="connsiteY56" fmla="*/ 9741 h 10232"/>
                    <a:gd name="connsiteX57" fmla="*/ 4618 w 10000"/>
                    <a:gd name="connsiteY57" fmla="*/ 9900 h 10232"/>
                    <a:gd name="connsiteX58" fmla="*/ 6048 w 10000"/>
                    <a:gd name="connsiteY58" fmla="*/ 10222 h 10232"/>
                    <a:gd name="connsiteX59" fmla="*/ 8579 w 10000"/>
                    <a:gd name="connsiteY59" fmla="*/ 9828 h 10232"/>
                    <a:gd name="connsiteX60" fmla="*/ 8817 w 10000"/>
                    <a:gd name="connsiteY60" fmla="*/ 9719 h 10232"/>
                    <a:gd name="connsiteX61" fmla="*/ 8976 w 10000"/>
                    <a:gd name="connsiteY61" fmla="*/ 9435 h 10232"/>
                    <a:gd name="connsiteX62" fmla="*/ 8896 w 10000"/>
                    <a:gd name="connsiteY62" fmla="*/ 7953 h 10232"/>
                    <a:gd name="connsiteX63" fmla="*/ 8684 w 10000"/>
                    <a:gd name="connsiteY63" fmla="*/ 6276 h 10232"/>
                    <a:gd name="connsiteX64" fmla="*/ 8738 w 10000"/>
                    <a:gd name="connsiteY64" fmla="*/ 5862 h 10232"/>
                    <a:gd name="connsiteX65" fmla="*/ 9638 w 10000"/>
                    <a:gd name="connsiteY65" fmla="*/ 5469 h 10232"/>
                    <a:gd name="connsiteX66" fmla="*/ 9956 w 10000"/>
                    <a:gd name="connsiteY66" fmla="*/ 4946 h 10232"/>
                    <a:gd name="connsiteX67" fmla="*/ 9982 w 10000"/>
                    <a:gd name="connsiteY67" fmla="*/ 4315 h 10232"/>
                    <a:gd name="connsiteX0" fmla="*/ 9982 w 10000"/>
                    <a:gd name="connsiteY0" fmla="*/ 4315 h 10225"/>
                    <a:gd name="connsiteX1" fmla="*/ 9877 w 10000"/>
                    <a:gd name="connsiteY1" fmla="*/ 3771 h 10225"/>
                    <a:gd name="connsiteX2" fmla="*/ 9823 w 10000"/>
                    <a:gd name="connsiteY2" fmla="*/ 3290 h 10225"/>
                    <a:gd name="connsiteX3" fmla="*/ 9691 w 10000"/>
                    <a:gd name="connsiteY3" fmla="*/ 2985 h 10225"/>
                    <a:gd name="connsiteX4" fmla="*/ 9665 w 10000"/>
                    <a:gd name="connsiteY4" fmla="*/ 2397 h 10225"/>
                    <a:gd name="connsiteX5" fmla="*/ 9479 w 10000"/>
                    <a:gd name="connsiteY5" fmla="*/ 1525 h 10225"/>
                    <a:gd name="connsiteX6" fmla="*/ 9029 w 10000"/>
                    <a:gd name="connsiteY6" fmla="*/ 916 h 10225"/>
                    <a:gd name="connsiteX7" fmla="*/ 8128 w 10000"/>
                    <a:gd name="connsiteY7" fmla="*/ 567 h 10225"/>
                    <a:gd name="connsiteX8" fmla="*/ 7944 w 10000"/>
                    <a:gd name="connsiteY8" fmla="*/ 479 h 10225"/>
                    <a:gd name="connsiteX9" fmla="*/ 7626 w 10000"/>
                    <a:gd name="connsiteY9" fmla="*/ 393 h 10225"/>
                    <a:gd name="connsiteX10" fmla="*/ 7202 w 10000"/>
                    <a:gd name="connsiteY10" fmla="*/ 0 h 10225"/>
                    <a:gd name="connsiteX11" fmla="*/ 6990 w 10000"/>
                    <a:gd name="connsiteY11" fmla="*/ 22 h 10225"/>
                    <a:gd name="connsiteX12" fmla="*/ 6990 w 10000"/>
                    <a:gd name="connsiteY12" fmla="*/ 43 h 10225"/>
                    <a:gd name="connsiteX13" fmla="*/ 6831 w 10000"/>
                    <a:gd name="connsiteY13" fmla="*/ 197 h 10225"/>
                    <a:gd name="connsiteX14" fmla="*/ 6196 w 10000"/>
                    <a:gd name="connsiteY14" fmla="*/ 698 h 10225"/>
                    <a:gd name="connsiteX15" fmla="*/ 5560 w 10000"/>
                    <a:gd name="connsiteY15" fmla="*/ 1547 h 10225"/>
                    <a:gd name="connsiteX16" fmla="*/ 5428 w 10000"/>
                    <a:gd name="connsiteY16" fmla="*/ 1809 h 10225"/>
                    <a:gd name="connsiteX17" fmla="*/ 5402 w 10000"/>
                    <a:gd name="connsiteY17" fmla="*/ 1830 h 10225"/>
                    <a:gd name="connsiteX18" fmla="*/ 4581 w 10000"/>
                    <a:gd name="connsiteY18" fmla="*/ 3312 h 10225"/>
                    <a:gd name="connsiteX19" fmla="*/ 4740 w 10000"/>
                    <a:gd name="connsiteY19" fmla="*/ 2288 h 10225"/>
                    <a:gd name="connsiteX20" fmla="*/ 4977 w 10000"/>
                    <a:gd name="connsiteY20" fmla="*/ 1482 h 10225"/>
                    <a:gd name="connsiteX21" fmla="*/ 5163 w 10000"/>
                    <a:gd name="connsiteY21" fmla="*/ 1177 h 10225"/>
                    <a:gd name="connsiteX22" fmla="*/ 5190 w 10000"/>
                    <a:gd name="connsiteY22" fmla="*/ 1154 h 10225"/>
                    <a:gd name="connsiteX23" fmla="*/ 5190 w 10000"/>
                    <a:gd name="connsiteY23" fmla="*/ 1111 h 10225"/>
                    <a:gd name="connsiteX24" fmla="*/ 5216 w 10000"/>
                    <a:gd name="connsiteY24" fmla="*/ 849 h 10225"/>
                    <a:gd name="connsiteX25" fmla="*/ 5190 w 10000"/>
                    <a:gd name="connsiteY25" fmla="*/ 871 h 10225"/>
                    <a:gd name="connsiteX26" fmla="*/ 5058 w 10000"/>
                    <a:gd name="connsiteY26" fmla="*/ 1024 h 10225"/>
                    <a:gd name="connsiteX27" fmla="*/ 4554 w 10000"/>
                    <a:gd name="connsiteY27" fmla="*/ 1373 h 10225"/>
                    <a:gd name="connsiteX28" fmla="*/ 3972 w 10000"/>
                    <a:gd name="connsiteY28" fmla="*/ 1809 h 10225"/>
                    <a:gd name="connsiteX29" fmla="*/ 3681 w 10000"/>
                    <a:gd name="connsiteY29" fmla="*/ 2506 h 10225"/>
                    <a:gd name="connsiteX30" fmla="*/ 3654 w 10000"/>
                    <a:gd name="connsiteY30" fmla="*/ 2985 h 10225"/>
                    <a:gd name="connsiteX31" fmla="*/ 3548 w 10000"/>
                    <a:gd name="connsiteY31" fmla="*/ 3247 h 10225"/>
                    <a:gd name="connsiteX32" fmla="*/ 3337 w 10000"/>
                    <a:gd name="connsiteY32" fmla="*/ 3617 h 10225"/>
                    <a:gd name="connsiteX33" fmla="*/ 3310 w 10000"/>
                    <a:gd name="connsiteY33" fmla="*/ 3944 h 10225"/>
                    <a:gd name="connsiteX34" fmla="*/ 3151 w 10000"/>
                    <a:gd name="connsiteY34" fmla="*/ 4031 h 10225"/>
                    <a:gd name="connsiteX35" fmla="*/ 2939 w 10000"/>
                    <a:gd name="connsiteY35" fmla="*/ 4205 h 10225"/>
                    <a:gd name="connsiteX36" fmla="*/ 2330 w 10000"/>
                    <a:gd name="connsiteY36" fmla="*/ 4315 h 10225"/>
                    <a:gd name="connsiteX37" fmla="*/ 1880 w 10000"/>
                    <a:gd name="connsiteY37" fmla="*/ 4293 h 10225"/>
                    <a:gd name="connsiteX38" fmla="*/ 1827 w 10000"/>
                    <a:gd name="connsiteY38" fmla="*/ 4293 h 10225"/>
                    <a:gd name="connsiteX39" fmla="*/ 1324 w 10000"/>
                    <a:gd name="connsiteY39" fmla="*/ 4205 h 10225"/>
                    <a:gd name="connsiteX40" fmla="*/ 556 w 10000"/>
                    <a:gd name="connsiteY40" fmla="*/ 4162 h 10225"/>
                    <a:gd name="connsiteX41" fmla="*/ 132 w 10000"/>
                    <a:gd name="connsiteY41" fmla="*/ 4119 h 10225"/>
                    <a:gd name="connsiteX42" fmla="*/ 106 w 10000"/>
                    <a:gd name="connsiteY42" fmla="*/ 4141 h 10225"/>
                    <a:gd name="connsiteX43" fmla="*/ 132 w 10000"/>
                    <a:gd name="connsiteY43" fmla="*/ 4838 h 10225"/>
                    <a:gd name="connsiteX44" fmla="*/ 0 w 10000"/>
                    <a:gd name="connsiteY44" fmla="*/ 4860 h 10225"/>
                    <a:gd name="connsiteX45" fmla="*/ 79 w 10000"/>
                    <a:gd name="connsiteY45" fmla="*/ 5535 h 10225"/>
                    <a:gd name="connsiteX46" fmla="*/ 1324 w 10000"/>
                    <a:gd name="connsiteY46" fmla="*/ 5601 h 10225"/>
                    <a:gd name="connsiteX47" fmla="*/ 1907 w 10000"/>
                    <a:gd name="connsiteY47" fmla="*/ 5601 h 10225"/>
                    <a:gd name="connsiteX48" fmla="*/ 3310 w 10000"/>
                    <a:gd name="connsiteY48" fmla="*/ 5579 h 10225"/>
                    <a:gd name="connsiteX49" fmla="*/ 3786 w 10000"/>
                    <a:gd name="connsiteY49" fmla="*/ 5535 h 10225"/>
                    <a:gd name="connsiteX50" fmla="*/ 3733 w 10000"/>
                    <a:gd name="connsiteY50" fmla="*/ 6581 h 10225"/>
                    <a:gd name="connsiteX51" fmla="*/ 3733 w 10000"/>
                    <a:gd name="connsiteY51" fmla="*/ 7256 h 10225"/>
                    <a:gd name="connsiteX52" fmla="*/ 3628 w 10000"/>
                    <a:gd name="connsiteY52" fmla="*/ 9392 h 10225"/>
                    <a:gd name="connsiteX53" fmla="*/ 3707 w 10000"/>
                    <a:gd name="connsiteY53" fmla="*/ 9784 h 10225"/>
                    <a:gd name="connsiteX54" fmla="*/ 3707 w 10000"/>
                    <a:gd name="connsiteY54" fmla="*/ 9675 h 10225"/>
                    <a:gd name="connsiteX55" fmla="*/ 3908 w 10000"/>
                    <a:gd name="connsiteY55" fmla="*/ 9808 h 10225"/>
                    <a:gd name="connsiteX56" fmla="*/ 4214 w 10000"/>
                    <a:gd name="connsiteY56" fmla="*/ 9741 h 10225"/>
                    <a:gd name="connsiteX57" fmla="*/ 4569 w 10000"/>
                    <a:gd name="connsiteY57" fmla="*/ 10011 h 10225"/>
                    <a:gd name="connsiteX58" fmla="*/ 6048 w 10000"/>
                    <a:gd name="connsiteY58" fmla="*/ 10222 h 10225"/>
                    <a:gd name="connsiteX59" fmla="*/ 8579 w 10000"/>
                    <a:gd name="connsiteY59" fmla="*/ 9828 h 10225"/>
                    <a:gd name="connsiteX60" fmla="*/ 8817 w 10000"/>
                    <a:gd name="connsiteY60" fmla="*/ 9719 h 10225"/>
                    <a:gd name="connsiteX61" fmla="*/ 8976 w 10000"/>
                    <a:gd name="connsiteY61" fmla="*/ 9435 h 10225"/>
                    <a:gd name="connsiteX62" fmla="*/ 8896 w 10000"/>
                    <a:gd name="connsiteY62" fmla="*/ 7953 h 10225"/>
                    <a:gd name="connsiteX63" fmla="*/ 8684 w 10000"/>
                    <a:gd name="connsiteY63" fmla="*/ 6276 h 10225"/>
                    <a:gd name="connsiteX64" fmla="*/ 8738 w 10000"/>
                    <a:gd name="connsiteY64" fmla="*/ 5862 h 10225"/>
                    <a:gd name="connsiteX65" fmla="*/ 9638 w 10000"/>
                    <a:gd name="connsiteY65" fmla="*/ 5469 h 10225"/>
                    <a:gd name="connsiteX66" fmla="*/ 9956 w 10000"/>
                    <a:gd name="connsiteY66" fmla="*/ 4946 h 10225"/>
                    <a:gd name="connsiteX67" fmla="*/ 9982 w 10000"/>
                    <a:gd name="connsiteY67" fmla="*/ 4315 h 10225"/>
                    <a:gd name="connsiteX0" fmla="*/ 9982 w 10000"/>
                    <a:gd name="connsiteY0" fmla="*/ 4315 h 10225"/>
                    <a:gd name="connsiteX1" fmla="*/ 9877 w 10000"/>
                    <a:gd name="connsiteY1" fmla="*/ 3771 h 10225"/>
                    <a:gd name="connsiteX2" fmla="*/ 9823 w 10000"/>
                    <a:gd name="connsiteY2" fmla="*/ 3290 h 10225"/>
                    <a:gd name="connsiteX3" fmla="*/ 9691 w 10000"/>
                    <a:gd name="connsiteY3" fmla="*/ 2985 h 10225"/>
                    <a:gd name="connsiteX4" fmla="*/ 9665 w 10000"/>
                    <a:gd name="connsiteY4" fmla="*/ 2397 h 10225"/>
                    <a:gd name="connsiteX5" fmla="*/ 9479 w 10000"/>
                    <a:gd name="connsiteY5" fmla="*/ 1525 h 10225"/>
                    <a:gd name="connsiteX6" fmla="*/ 9029 w 10000"/>
                    <a:gd name="connsiteY6" fmla="*/ 916 h 10225"/>
                    <a:gd name="connsiteX7" fmla="*/ 8128 w 10000"/>
                    <a:gd name="connsiteY7" fmla="*/ 567 h 10225"/>
                    <a:gd name="connsiteX8" fmla="*/ 7944 w 10000"/>
                    <a:gd name="connsiteY8" fmla="*/ 479 h 10225"/>
                    <a:gd name="connsiteX9" fmla="*/ 7626 w 10000"/>
                    <a:gd name="connsiteY9" fmla="*/ 393 h 10225"/>
                    <a:gd name="connsiteX10" fmla="*/ 7202 w 10000"/>
                    <a:gd name="connsiteY10" fmla="*/ 0 h 10225"/>
                    <a:gd name="connsiteX11" fmla="*/ 6990 w 10000"/>
                    <a:gd name="connsiteY11" fmla="*/ 22 h 10225"/>
                    <a:gd name="connsiteX12" fmla="*/ 6990 w 10000"/>
                    <a:gd name="connsiteY12" fmla="*/ 43 h 10225"/>
                    <a:gd name="connsiteX13" fmla="*/ 6831 w 10000"/>
                    <a:gd name="connsiteY13" fmla="*/ 197 h 10225"/>
                    <a:gd name="connsiteX14" fmla="*/ 6196 w 10000"/>
                    <a:gd name="connsiteY14" fmla="*/ 698 h 10225"/>
                    <a:gd name="connsiteX15" fmla="*/ 5560 w 10000"/>
                    <a:gd name="connsiteY15" fmla="*/ 1547 h 10225"/>
                    <a:gd name="connsiteX16" fmla="*/ 5428 w 10000"/>
                    <a:gd name="connsiteY16" fmla="*/ 1809 h 10225"/>
                    <a:gd name="connsiteX17" fmla="*/ 5402 w 10000"/>
                    <a:gd name="connsiteY17" fmla="*/ 1830 h 10225"/>
                    <a:gd name="connsiteX18" fmla="*/ 4581 w 10000"/>
                    <a:gd name="connsiteY18" fmla="*/ 3312 h 10225"/>
                    <a:gd name="connsiteX19" fmla="*/ 4740 w 10000"/>
                    <a:gd name="connsiteY19" fmla="*/ 2288 h 10225"/>
                    <a:gd name="connsiteX20" fmla="*/ 4977 w 10000"/>
                    <a:gd name="connsiteY20" fmla="*/ 1482 h 10225"/>
                    <a:gd name="connsiteX21" fmla="*/ 5163 w 10000"/>
                    <a:gd name="connsiteY21" fmla="*/ 1177 h 10225"/>
                    <a:gd name="connsiteX22" fmla="*/ 5190 w 10000"/>
                    <a:gd name="connsiteY22" fmla="*/ 1154 h 10225"/>
                    <a:gd name="connsiteX23" fmla="*/ 5190 w 10000"/>
                    <a:gd name="connsiteY23" fmla="*/ 1111 h 10225"/>
                    <a:gd name="connsiteX24" fmla="*/ 5216 w 10000"/>
                    <a:gd name="connsiteY24" fmla="*/ 849 h 10225"/>
                    <a:gd name="connsiteX25" fmla="*/ 5190 w 10000"/>
                    <a:gd name="connsiteY25" fmla="*/ 871 h 10225"/>
                    <a:gd name="connsiteX26" fmla="*/ 5058 w 10000"/>
                    <a:gd name="connsiteY26" fmla="*/ 1024 h 10225"/>
                    <a:gd name="connsiteX27" fmla="*/ 4554 w 10000"/>
                    <a:gd name="connsiteY27" fmla="*/ 1373 h 10225"/>
                    <a:gd name="connsiteX28" fmla="*/ 3972 w 10000"/>
                    <a:gd name="connsiteY28" fmla="*/ 1809 h 10225"/>
                    <a:gd name="connsiteX29" fmla="*/ 3681 w 10000"/>
                    <a:gd name="connsiteY29" fmla="*/ 2506 h 10225"/>
                    <a:gd name="connsiteX30" fmla="*/ 3654 w 10000"/>
                    <a:gd name="connsiteY30" fmla="*/ 2985 h 10225"/>
                    <a:gd name="connsiteX31" fmla="*/ 3548 w 10000"/>
                    <a:gd name="connsiteY31" fmla="*/ 3247 h 10225"/>
                    <a:gd name="connsiteX32" fmla="*/ 3337 w 10000"/>
                    <a:gd name="connsiteY32" fmla="*/ 3617 h 10225"/>
                    <a:gd name="connsiteX33" fmla="*/ 3310 w 10000"/>
                    <a:gd name="connsiteY33" fmla="*/ 3944 h 10225"/>
                    <a:gd name="connsiteX34" fmla="*/ 3151 w 10000"/>
                    <a:gd name="connsiteY34" fmla="*/ 4031 h 10225"/>
                    <a:gd name="connsiteX35" fmla="*/ 2939 w 10000"/>
                    <a:gd name="connsiteY35" fmla="*/ 4205 h 10225"/>
                    <a:gd name="connsiteX36" fmla="*/ 2330 w 10000"/>
                    <a:gd name="connsiteY36" fmla="*/ 4315 h 10225"/>
                    <a:gd name="connsiteX37" fmla="*/ 1880 w 10000"/>
                    <a:gd name="connsiteY37" fmla="*/ 4293 h 10225"/>
                    <a:gd name="connsiteX38" fmla="*/ 1827 w 10000"/>
                    <a:gd name="connsiteY38" fmla="*/ 4293 h 10225"/>
                    <a:gd name="connsiteX39" fmla="*/ 1324 w 10000"/>
                    <a:gd name="connsiteY39" fmla="*/ 4205 h 10225"/>
                    <a:gd name="connsiteX40" fmla="*/ 556 w 10000"/>
                    <a:gd name="connsiteY40" fmla="*/ 4162 h 10225"/>
                    <a:gd name="connsiteX41" fmla="*/ 132 w 10000"/>
                    <a:gd name="connsiteY41" fmla="*/ 4119 h 10225"/>
                    <a:gd name="connsiteX42" fmla="*/ 106 w 10000"/>
                    <a:gd name="connsiteY42" fmla="*/ 4141 h 10225"/>
                    <a:gd name="connsiteX43" fmla="*/ 132 w 10000"/>
                    <a:gd name="connsiteY43" fmla="*/ 4838 h 10225"/>
                    <a:gd name="connsiteX44" fmla="*/ 0 w 10000"/>
                    <a:gd name="connsiteY44" fmla="*/ 4860 h 10225"/>
                    <a:gd name="connsiteX45" fmla="*/ 79 w 10000"/>
                    <a:gd name="connsiteY45" fmla="*/ 5535 h 10225"/>
                    <a:gd name="connsiteX46" fmla="*/ 1324 w 10000"/>
                    <a:gd name="connsiteY46" fmla="*/ 5601 h 10225"/>
                    <a:gd name="connsiteX47" fmla="*/ 1907 w 10000"/>
                    <a:gd name="connsiteY47" fmla="*/ 5601 h 10225"/>
                    <a:gd name="connsiteX48" fmla="*/ 3310 w 10000"/>
                    <a:gd name="connsiteY48" fmla="*/ 5579 h 10225"/>
                    <a:gd name="connsiteX49" fmla="*/ 3786 w 10000"/>
                    <a:gd name="connsiteY49" fmla="*/ 5535 h 10225"/>
                    <a:gd name="connsiteX50" fmla="*/ 3733 w 10000"/>
                    <a:gd name="connsiteY50" fmla="*/ 6581 h 10225"/>
                    <a:gd name="connsiteX51" fmla="*/ 3733 w 10000"/>
                    <a:gd name="connsiteY51" fmla="*/ 7256 h 10225"/>
                    <a:gd name="connsiteX52" fmla="*/ 3628 w 10000"/>
                    <a:gd name="connsiteY52" fmla="*/ 9392 h 10225"/>
                    <a:gd name="connsiteX53" fmla="*/ 3707 w 10000"/>
                    <a:gd name="connsiteY53" fmla="*/ 9784 h 10225"/>
                    <a:gd name="connsiteX54" fmla="*/ 3707 w 10000"/>
                    <a:gd name="connsiteY54" fmla="*/ 9675 h 10225"/>
                    <a:gd name="connsiteX55" fmla="*/ 3908 w 10000"/>
                    <a:gd name="connsiteY55" fmla="*/ 9808 h 10225"/>
                    <a:gd name="connsiteX56" fmla="*/ 4182 w 10000"/>
                    <a:gd name="connsiteY56" fmla="*/ 9889 h 10225"/>
                    <a:gd name="connsiteX57" fmla="*/ 4569 w 10000"/>
                    <a:gd name="connsiteY57" fmla="*/ 10011 h 10225"/>
                    <a:gd name="connsiteX58" fmla="*/ 6048 w 10000"/>
                    <a:gd name="connsiteY58" fmla="*/ 10222 h 10225"/>
                    <a:gd name="connsiteX59" fmla="*/ 8579 w 10000"/>
                    <a:gd name="connsiteY59" fmla="*/ 9828 h 10225"/>
                    <a:gd name="connsiteX60" fmla="*/ 8817 w 10000"/>
                    <a:gd name="connsiteY60" fmla="*/ 9719 h 10225"/>
                    <a:gd name="connsiteX61" fmla="*/ 8976 w 10000"/>
                    <a:gd name="connsiteY61" fmla="*/ 9435 h 10225"/>
                    <a:gd name="connsiteX62" fmla="*/ 8896 w 10000"/>
                    <a:gd name="connsiteY62" fmla="*/ 7953 h 10225"/>
                    <a:gd name="connsiteX63" fmla="*/ 8684 w 10000"/>
                    <a:gd name="connsiteY63" fmla="*/ 6276 h 10225"/>
                    <a:gd name="connsiteX64" fmla="*/ 8738 w 10000"/>
                    <a:gd name="connsiteY64" fmla="*/ 5862 h 10225"/>
                    <a:gd name="connsiteX65" fmla="*/ 9638 w 10000"/>
                    <a:gd name="connsiteY65" fmla="*/ 5469 h 10225"/>
                    <a:gd name="connsiteX66" fmla="*/ 9956 w 10000"/>
                    <a:gd name="connsiteY66" fmla="*/ 4946 h 10225"/>
                    <a:gd name="connsiteX67" fmla="*/ 9982 w 10000"/>
                    <a:gd name="connsiteY67" fmla="*/ 4315 h 10225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817 w 10000"/>
                    <a:gd name="connsiteY60" fmla="*/ 9719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541 w 10000"/>
                    <a:gd name="connsiteY60" fmla="*/ 9867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541 w 10000"/>
                    <a:gd name="connsiteY60" fmla="*/ 9867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3908 w 10000"/>
                    <a:gd name="connsiteY55" fmla="*/ 9808 h 10223"/>
                    <a:gd name="connsiteX56" fmla="*/ 4182 w 10000"/>
                    <a:gd name="connsiteY56" fmla="*/ 9889 h 10223"/>
                    <a:gd name="connsiteX57" fmla="*/ 4569 w 10000"/>
                    <a:gd name="connsiteY57" fmla="*/ 10011 h 10223"/>
                    <a:gd name="connsiteX58" fmla="*/ 6048 w 10000"/>
                    <a:gd name="connsiteY58" fmla="*/ 10222 h 10223"/>
                    <a:gd name="connsiteX59" fmla="*/ 8125 w 10000"/>
                    <a:gd name="connsiteY59" fmla="*/ 10100 h 10223"/>
                    <a:gd name="connsiteX60" fmla="*/ 8541 w 10000"/>
                    <a:gd name="connsiteY60" fmla="*/ 9867 h 10223"/>
                    <a:gd name="connsiteX61" fmla="*/ 8976 w 10000"/>
                    <a:gd name="connsiteY61" fmla="*/ 9435 h 10223"/>
                    <a:gd name="connsiteX62" fmla="*/ 8896 w 10000"/>
                    <a:gd name="connsiteY62" fmla="*/ 7953 h 10223"/>
                    <a:gd name="connsiteX63" fmla="*/ 8684 w 10000"/>
                    <a:gd name="connsiteY63" fmla="*/ 6276 h 10223"/>
                    <a:gd name="connsiteX64" fmla="*/ 8738 w 10000"/>
                    <a:gd name="connsiteY64" fmla="*/ 5862 h 10223"/>
                    <a:gd name="connsiteX65" fmla="*/ 9638 w 10000"/>
                    <a:gd name="connsiteY65" fmla="*/ 5469 h 10223"/>
                    <a:gd name="connsiteX66" fmla="*/ 9956 w 10000"/>
                    <a:gd name="connsiteY66" fmla="*/ 4946 h 10223"/>
                    <a:gd name="connsiteX67" fmla="*/ 9982 w 10000"/>
                    <a:gd name="connsiteY67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4182 w 10000"/>
                    <a:gd name="connsiteY55" fmla="*/ 9889 h 10223"/>
                    <a:gd name="connsiteX56" fmla="*/ 4569 w 10000"/>
                    <a:gd name="connsiteY56" fmla="*/ 10011 h 10223"/>
                    <a:gd name="connsiteX57" fmla="*/ 6048 w 10000"/>
                    <a:gd name="connsiteY57" fmla="*/ 10222 h 10223"/>
                    <a:gd name="connsiteX58" fmla="*/ 8125 w 10000"/>
                    <a:gd name="connsiteY58" fmla="*/ 10100 h 10223"/>
                    <a:gd name="connsiteX59" fmla="*/ 8541 w 10000"/>
                    <a:gd name="connsiteY59" fmla="*/ 9867 h 10223"/>
                    <a:gd name="connsiteX60" fmla="*/ 8976 w 10000"/>
                    <a:gd name="connsiteY60" fmla="*/ 9435 h 10223"/>
                    <a:gd name="connsiteX61" fmla="*/ 8896 w 10000"/>
                    <a:gd name="connsiteY61" fmla="*/ 7953 h 10223"/>
                    <a:gd name="connsiteX62" fmla="*/ 8684 w 10000"/>
                    <a:gd name="connsiteY62" fmla="*/ 6276 h 10223"/>
                    <a:gd name="connsiteX63" fmla="*/ 8738 w 10000"/>
                    <a:gd name="connsiteY63" fmla="*/ 5862 h 10223"/>
                    <a:gd name="connsiteX64" fmla="*/ 9638 w 10000"/>
                    <a:gd name="connsiteY64" fmla="*/ 5469 h 10223"/>
                    <a:gd name="connsiteX65" fmla="*/ 9956 w 10000"/>
                    <a:gd name="connsiteY65" fmla="*/ 4946 h 10223"/>
                    <a:gd name="connsiteX66" fmla="*/ 9982 w 10000"/>
                    <a:gd name="connsiteY66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4569 w 10000"/>
                    <a:gd name="connsiteY55" fmla="*/ 10011 h 10223"/>
                    <a:gd name="connsiteX56" fmla="*/ 6048 w 10000"/>
                    <a:gd name="connsiteY56" fmla="*/ 10222 h 10223"/>
                    <a:gd name="connsiteX57" fmla="*/ 8125 w 10000"/>
                    <a:gd name="connsiteY57" fmla="*/ 10100 h 10223"/>
                    <a:gd name="connsiteX58" fmla="*/ 8541 w 10000"/>
                    <a:gd name="connsiteY58" fmla="*/ 9867 h 10223"/>
                    <a:gd name="connsiteX59" fmla="*/ 8976 w 10000"/>
                    <a:gd name="connsiteY59" fmla="*/ 9435 h 10223"/>
                    <a:gd name="connsiteX60" fmla="*/ 8896 w 10000"/>
                    <a:gd name="connsiteY60" fmla="*/ 7953 h 10223"/>
                    <a:gd name="connsiteX61" fmla="*/ 8684 w 10000"/>
                    <a:gd name="connsiteY61" fmla="*/ 6276 h 10223"/>
                    <a:gd name="connsiteX62" fmla="*/ 8738 w 10000"/>
                    <a:gd name="connsiteY62" fmla="*/ 5862 h 10223"/>
                    <a:gd name="connsiteX63" fmla="*/ 9638 w 10000"/>
                    <a:gd name="connsiteY63" fmla="*/ 5469 h 10223"/>
                    <a:gd name="connsiteX64" fmla="*/ 9956 w 10000"/>
                    <a:gd name="connsiteY64" fmla="*/ 4946 h 10223"/>
                    <a:gd name="connsiteX65" fmla="*/ 9982 w 10000"/>
                    <a:gd name="connsiteY65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4569 w 10000"/>
                    <a:gd name="connsiteY54" fmla="*/ 10011 h 10223"/>
                    <a:gd name="connsiteX55" fmla="*/ 6048 w 10000"/>
                    <a:gd name="connsiteY55" fmla="*/ 10222 h 10223"/>
                    <a:gd name="connsiteX56" fmla="*/ 8125 w 10000"/>
                    <a:gd name="connsiteY56" fmla="*/ 10100 h 10223"/>
                    <a:gd name="connsiteX57" fmla="*/ 8541 w 10000"/>
                    <a:gd name="connsiteY57" fmla="*/ 9867 h 10223"/>
                    <a:gd name="connsiteX58" fmla="*/ 8976 w 10000"/>
                    <a:gd name="connsiteY58" fmla="*/ 9435 h 10223"/>
                    <a:gd name="connsiteX59" fmla="*/ 8896 w 10000"/>
                    <a:gd name="connsiteY59" fmla="*/ 7953 h 10223"/>
                    <a:gd name="connsiteX60" fmla="*/ 8684 w 10000"/>
                    <a:gd name="connsiteY60" fmla="*/ 6276 h 10223"/>
                    <a:gd name="connsiteX61" fmla="*/ 8738 w 10000"/>
                    <a:gd name="connsiteY61" fmla="*/ 5862 h 10223"/>
                    <a:gd name="connsiteX62" fmla="*/ 9638 w 10000"/>
                    <a:gd name="connsiteY62" fmla="*/ 5469 h 10223"/>
                    <a:gd name="connsiteX63" fmla="*/ 9956 w 10000"/>
                    <a:gd name="connsiteY63" fmla="*/ 4946 h 10223"/>
                    <a:gd name="connsiteX64" fmla="*/ 9982 w 10000"/>
                    <a:gd name="connsiteY64" fmla="*/ 4315 h 10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0000" h="10223">
                      <a:moveTo>
                        <a:pt x="9982" y="4315"/>
                      </a:moveTo>
                      <a:cubicBezTo>
                        <a:pt x="9956" y="4096"/>
                        <a:pt x="9849" y="3965"/>
                        <a:pt x="9877" y="3771"/>
                      </a:cubicBezTo>
                      <a:cubicBezTo>
                        <a:pt x="9877" y="3574"/>
                        <a:pt x="9823" y="3377"/>
                        <a:pt x="9823" y="3290"/>
                      </a:cubicBezTo>
                      <a:cubicBezTo>
                        <a:pt x="9823" y="3203"/>
                        <a:pt x="9691" y="3051"/>
                        <a:pt x="9691" y="2985"/>
                      </a:cubicBezTo>
                      <a:cubicBezTo>
                        <a:pt x="9691" y="2919"/>
                        <a:pt x="9717" y="2614"/>
                        <a:pt x="9665" y="2397"/>
                      </a:cubicBezTo>
                      <a:cubicBezTo>
                        <a:pt x="9585" y="2179"/>
                        <a:pt x="9585" y="1722"/>
                        <a:pt x="9479" y="1525"/>
                      </a:cubicBezTo>
                      <a:cubicBezTo>
                        <a:pt x="9373" y="1351"/>
                        <a:pt x="9294" y="1111"/>
                        <a:pt x="9029" y="916"/>
                      </a:cubicBezTo>
                      <a:cubicBezTo>
                        <a:pt x="8765" y="741"/>
                        <a:pt x="8208" y="567"/>
                        <a:pt x="8128" y="567"/>
                      </a:cubicBezTo>
                      <a:cubicBezTo>
                        <a:pt x="8128" y="567"/>
                        <a:pt x="7996" y="522"/>
                        <a:pt x="7944" y="479"/>
                      </a:cubicBezTo>
                      <a:cubicBezTo>
                        <a:pt x="7917" y="458"/>
                        <a:pt x="7864" y="479"/>
                        <a:pt x="7626" y="393"/>
                      </a:cubicBezTo>
                      <a:cubicBezTo>
                        <a:pt x="7414" y="327"/>
                        <a:pt x="7335" y="108"/>
                        <a:pt x="7202" y="0"/>
                      </a:cubicBezTo>
                      <a:lnTo>
                        <a:pt x="6990" y="22"/>
                      </a:lnTo>
                      <a:lnTo>
                        <a:pt x="6990" y="43"/>
                      </a:lnTo>
                      <a:cubicBezTo>
                        <a:pt x="6990" y="87"/>
                        <a:pt x="6937" y="131"/>
                        <a:pt x="6831" y="197"/>
                      </a:cubicBezTo>
                      <a:cubicBezTo>
                        <a:pt x="6646" y="327"/>
                        <a:pt x="6223" y="632"/>
                        <a:pt x="6196" y="698"/>
                      </a:cubicBezTo>
                      <a:cubicBezTo>
                        <a:pt x="6170" y="763"/>
                        <a:pt x="5746" y="1111"/>
                        <a:pt x="5560" y="1547"/>
                      </a:cubicBezTo>
                      <a:cubicBezTo>
                        <a:pt x="5507" y="1656"/>
                        <a:pt x="5481" y="1722"/>
                        <a:pt x="5428" y="1809"/>
                      </a:cubicBezTo>
                      <a:cubicBezTo>
                        <a:pt x="5419" y="1816"/>
                        <a:pt x="5411" y="1823"/>
                        <a:pt x="5402" y="1830"/>
                      </a:cubicBezTo>
                      <a:cubicBezTo>
                        <a:pt x="5269" y="2049"/>
                        <a:pt x="5084" y="2288"/>
                        <a:pt x="4581" y="3312"/>
                      </a:cubicBezTo>
                      <a:cubicBezTo>
                        <a:pt x="4581" y="3312"/>
                        <a:pt x="4713" y="2593"/>
                        <a:pt x="4740" y="2288"/>
                      </a:cubicBezTo>
                      <a:cubicBezTo>
                        <a:pt x="4793" y="1984"/>
                        <a:pt x="4819" y="1700"/>
                        <a:pt x="4977" y="1482"/>
                      </a:cubicBezTo>
                      <a:cubicBezTo>
                        <a:pt x="5084" y="1351"/>
                        <a:pt x="5137" y="1242"/>
                        <a:pt x="5163" y="1177"/>
                      </a:cubicBezTo>
                      <a:cubicBezTo>
                        <a:pt x="5190" y="1177"/>
                        <a:pt x="5190" y="1154"/>
                        <a:pt x="5190" y="1154"/>
                      </a:cubicBezTo>
                      <a:lnTo>
                        <a:pt x="5190" y="1111"/>
                      </a:lnTo>
                      <a:cubicBezTo>
                        <a:pt x="5190" y="1068"/>
                        <a:pt x="5216" y="849"/>
                        <a:pt x="5216" y="849"/>
                      </a:cubicBezTo>
                      <a:cubicBezTo>
                        <a:pt x="5207" y="856"/>
                        <a:pt x="5199" y="864"/>
                        <a:pt x="5190" y="871"/>
                      </a:cubicBezTo>
                      <a:cubicBezTo>
                        <a:pt x="5163" y="916"/>
                        <a:pt x="5110" y="981"/>
                        <a:pt x="5058" y="1024"/>
                      </a:cubicBezTo>
                      <a:cubicBezTo>
                        <a:pt x="4977" y="1089"/>
                        <a:pt x="4686" y="1286"/>
                        <a:pt x="4554" y="1373"/>
                      </a:cubicBezTo>
                      <a:cubicBezTo>
                        <a:pt x="4421" y="1439"/>
                        <a:pt x="4157" y="1568"/>
                        <a:pt x="3972" y="1809"/>
                      </a:cubicBezTo>
                      <a:cubicBezTo>
                        <a:pt x="3786" y="2049"/>
                        <a:pt x="3681" y="2419"/>
                        <a:pt x="3681" y="2506"/>
                      </a:cubicBezTo>
                      <a:cubicBezTo>
                        <a:pt x="3681" y="2593"/>
                        <a:pt x="3681" y="2898"/>
                        <a:pt x="3654" y="2985"/>
                      </a:cubicBezTo>
                      <a:cubicBezTo>
                        <a:pt x="3601" y="3073"/>
                        <a:pt x="3575" y="3160"/>
                        <a:pt x="3548" y="3247"/>
                      </a:cubicBezTo>
                      <a:cubicBezTo>
                        <a:pt x="3521" y="3312"/>
                        <a:pt x="3416" y="3487"/>
                        <a:pt x="3337" y="3617"/>
                      </a:cubicBezTo>
                      <a:cubicBezTo>
                        <a:pt x="3256" y="3748"/>
                        <a:pt x="3256" y="3814"/>
                        <a:pt x="3310" y="3944"/>
                      </a:cubicBezTo>
                      <a:cubicBezTo>
                        <a:pt x="3310" y="3944"/>
                        <a:pt x="3177" y="3965"/>
                        <a:pt x="3151" y="4031"/>
                      </a:cubicBezTo>
                      <a:cubicBezTo>
                        <a:pt x="3124" y="4096"/>
                        <a:pt x="3124" y="4205"/>
                        <a:pt x="2939" y="4205"/>
                      </a:cubicBezTo>
                      <a:cubicBezTo>
                        <a:pt x="2754" y="4227"/>
                        <a:pt x="2568" y="4358"/>
                        <a:pt x="2330" y="4315"/>
                      </a:cubicBezTo>
                      <a:cubicBezTo>
                        <a:pt x="2145" y="4271"/>
                        <a:pt x="2012" y="4293"/>
                        <a:pt x="1880" y="4293"/>
                      </a:cubicBezTo>
                      <a:lnTo>
                        <a:pt x="1827" y="4293"/>
                      </a:lnTo>
                      <a:cubicBezTo>
                        <a:pt x="1695" y="4293"/>
                        <a:pt x="1562" y="4205"/>
                        <a:pt x="1324" y="4205"/>
                      </a:cubicBezTo>
                      <a:cubicBezTo>
                        <a:pt x="1059" y="4205"/>
                        <a:pt x="1139" y="4227"/>
                        <a:pt x="556" y="4162"/>
                      </a:cubicBezTo>
                      <a:cubicBezTo>
                        <a:pt x="291" y="4119"/>
                        <a:pt x="159" y="4119"/>
                        <a:pt x="132" y="4119"/>
                      </a:cubicBezTo>
                      <a:cubicBezTo>
                        <a:pt x="79" y="4119"/>
                        <a:pt x="106" y="4141"/>
                        <a:pt x="106" y="4141"/>
                      </a:cubicBezTo>
                      <a:cubicBezTo>
                        <a:pt x="106" y="4141"/>
                        <a:pt x="265" y="4053"/>
                        <a:pt x="132" y="4838"/>
                      </a:cubicBezTo>
                      <a:lnTo>
                        <a:pt x="0" y="4860"/>
                      </a:lnTo>
                      <a:cubicBezTo>
                        <a:pt x="0" y="4860"/>
                        <a:pt x="53" y="5361"/>
                        <a:pt x="79" y="5535"/>
                      </a:cubicBezTo>
                      <a:lnTo>
                        <a:pt x="1324" y="5601"/>
                      </a:lnTo>
                      <a:lnTo>
                        <a:pt x="1907" y="5601"/>
                      </a:lnTo>
                      <a:cubicBezTo>
                        <a:pt x="2489" y="5601"/>
                        <a:pt x="3204" y="5601"/>
                        <a:pt x="3310" y="5579"/>
                      </a:cubicBezTo>
                      <a:cubicBezTo>
                        <a:pt x="3442" y="5535"/>
                        <a:pt x="3786" y="5535"/>
                        <a:pt x="3786" y="5535"/>
                      </a:cubicBezTo>
                      <a:cubicBezTo>
                        <a:pt x="3786" y="5535"/>
                        <a:pt x="3733" y="6515"/>
                        <a:pt x="3733" y="6581"/>
                      </a:cubicBezTo>
                      <a:cubicBezTo>
                        <a:pt x="3707" y="6668"/>
                        <a:pt x="3733" y="7083"/>
                        <a:pt x="3733" y="7256"/>
                      </a:cubicBezTo>
                      <a:cubicBezTo>
                        <a:pt x="3733" y="7431"/>
                        <a:pt x="3628" y="9261"/>
                        <a:pt x="3628" y="9392"/>
                      </a:cubicBezTo>
                      <a:cubicBezTo>
                        <a:pt x="3628" y="9480"/>
                        <a:pt x="3628" y="9654"/>
                        <a:pt x="3707" y="9784"/>
                      </a:cubicBezTo>
                      <a:cubicBezTo>
                        <a:pt x="3864" y="9887"/>
                        <a:pt x="4179" y="9938"/>
                        <a:pt x="4569" y="10011"/>
                      </a:cubicBezTo>
                      <a:cubicBezTo>
                        <a:pt x="4959" y="10084"/>
                        <a:pt x="5455" y="10207"/>
                        <a:pt x="6048" y="10222"/>
                      </a:cubicBezTo>
                      <a:cubicBezTo>
                        <a:pt x="6641" y="10237"/>
                        <a:pt x="7710" y="10159"/>
                        <a:pt x="8125" y="10100"/>
                      </a:cubicBezTo>
                      <a:cubicBezTo>
                        <a:pt x="8540" y="10041"/>
                        <a:pt x="8515" y="9888"/>
                        <a:pt x="8541" y="9867"/>
                      </a:cubicBezTo>
                      <a:cubicBezTo>
                        <a:pt x="8507" y="9894"/>
                        <a:pt x="9003" y="9675"/>
                        <a:pt x="8976" y="9435"/>
                      </a:cubicBezTo>
                      <a:cubicBezTo>
                        <a:pt x="8976" y="9196"/>
                        <a:pt x="8976" y="8258"/>
                        <a:pt x="8896" y="7953"/>
                      </a:cubicBezTo>
                      <a:cubicBezTo>
                        <a:pt x="8844" y="7670"/>
                        <a:pt x="8684" y="6428"/>
                        <a:pt x="8684" y="6276"/>
                      </a:cubicBezTo>
                      <a:cubicBezTo>
                        <a:pt x="8684" y="6123"/>
                        <a:pt x="8738" y="5862"/>
                        <a:pt x="8738" y="5862"/>
                      </a:cubicBezTo>
                      <a:cubicBezTo>
                        <a:pt x="8738" y="5862"/>
                        <a:pt x="9453" y="5622"/>
                        <a:pt x="9638" y="5469"/>
                      </a:cubicBezTo>
                      <a:cubicBezTo>
                        <a:pt x="9797" y="5339"/>
                        <a:pt x="9956" y="5208"/>
                        <a:pt x="9956" y="4946"/>
                      </a:cubicBezTo>
                      <a:cubicBezTo>
                        <a:pt x="9956" y="4685"/>
                        <a:pt x="10035" y="4533"/>
                        <a:pt x="9982" y="4315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86">
                  <a:extLst>
                    <a:ext uri="{FF2B5EF4-FFF2-40B4-BE49-F238E27FC236}">
                      <a16:creationId xmlns:a16="http://schemas.microsoft.com/office/drawing/2014/main" id="{46CBD078-E11B-487C-A68A-2A4699CE075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39585" y="5553128"/>
                  <a:ext cx="584505" cy="206087"/>
                </a:xfrm>
                <a:custGeom>
                  <a:avLst/>
                  <a:gdLst>
                    <a:gd name="T0" fmla="*/ 138 w 139"/>
                    <a:gd name="T1" fmla="*/ 23 h 49"/>
                    <a:gd name="T2" fmla="*/ 112 w 139"/>
                    <a:gd name="T3" fmla="*/ 24 h 49"/>
                    <a:gd name="T4" fmla="*/ 80 w 139"/>
                    <a:gd name="T5" fmla="*/ 15 h 49"/>
                    <a:gd name="T6" fmla="*/ 49 w 139"/>
                    <a:gd name="T7" fmla="*/ 1 h 49"/>
                    <a:gd name="T8" fmla="*/ 48 w 139"/>
                    <a:gd name="T9" fmla="*/ 1 h 49"/>
                    <a:gd name="T10" fmla="*/ 34 w 139"/>
                    <a:gd name="T11" fmla="*/ 7 h 49"/>
                    <a:gd name="T12" fmla="*/ 27 w 139"/>
                    <a:gd name="T13" fmla="*/ 15 h 49"/>
                    <a:gd name="T14" fmla="*/ 7 w 139"/>
                    <a:gd name="T15" fmla="*/ 26 h 49"/>
                    <a:gd name="T16" fmla="*/ 4 w 139"/>
                    <a:gd name="T17" fmla="*/ 37 h 49"/>
                    <a:gd name="T18" fmla="*/ 46 w 139"/>
                    <a:gd name="T19" fmla="*/ 49 h 49"/>
                    <a:gd name="T20" fmla="*/ 103 w 139"/>
                    <a:gd name="T21" fmla="*/ 34 h 49"/>
                    <a:gd name="T22" fmla="*/ 113 w 139"/>
                    <a:gd name="T23" fmla="*/ 35 h 49"/>
                    <a:gd name="T24" fmla="*/ 139 w 139"/>
                    <a:gd name="T25" fmla="*/ 27 h 49"/>
                    <a:gd name="T26" fmla="*/ 139 w 139"/>
                    <a:gd name="T27" fmla="*/ 23 h 49"/>
                    <a:gd name="T28" fmla="*/ 138 w 139"/>
                    <a:gd name="T29" fmla="*/ 2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9" h="49">
                      <a:moveTo>
                        <a:pt x="138" y="23"/>
                      </a:moveTo>
                      <a:cubicBezTo>
                        <a:pt x="132" y="24"/>
                        <a:pt x="112" y="24"/>
                        <a:pt x="112" y="24"/>
                      </a:cubicBezTo>
                      <a:cubicBezTo>
                        <a:pt x="91" y="25"/>
                        <a:pt x="80" y="15"/>
                        <a:pt x="80" y="15"/>
                      </a:cubicBezTo>
                      <a:cubicBezTo>
                        <a:pt x="54" y="1"/>
                        <a:pt x="52" y="0"/>
                        <a:pt x="49" y="1"/>
                      </a:cubicBezTo>
                      <a:cubicBezTo>
                        <a:pt x="49" y="1"/>
                        <a:pt x="49" y="1"/>
                        <a:pt x="48" y="1"/>
                      </a:cubicBezTo>
                      <a:cubicBezTo>
                        <a:pt x="45" y="1"/>
                        <a:pt x="38" y="6"/>
                        <a:pt x="34" y="7"/>
                      </a:cubicBezTo>
                      <a:cubicBezTo>
                        <a:pt x="29" y="8"/>
                        <a:pt x="29" y="12"/>
                        <a:pt x="27" y="15"/>
                      </a:cubicBezTo>
                      <a:cubicBezTo>
                        <a:pt x="24" y="18"/>
                        <a:pt x="14" y="19"/>
                        <a:pt x="7" y="26"/>
                      </a:cubicBezTo>
                      <a:cubicBezTo>
                        <a:pt x="0" y="33"/>
                        <a:pt x="4" y="37"/>
                        <a:pt x="4" y="37"/>
                      </a:cubicBezTo>
                      <a:cubicBezTo>
                        <a:pt x="12" y="48"/>
                        <a:pt x="46" y="49"/>
                        <a:pt x="46" y="49"/>
                      </a:cubicBezTo>
                      <a:cubicBezTo>
                        <a:pt x="98" y="47"/>
                        <a:pt x="101" y="36"/>
                        <a:pt x="103" y="34"/>
                      </a:cubicBezTo>
                      <a:cubicBezTo>
                        <a:pt x="104" y="33"/>
                        <a:pt x="113" y="35"/>
                        <a:pt x="113" y="35"/>
                      </a:cubicBezTo>
                      <a:cubicBezTo>
                        <a:pt x="138" y="35"/>
                        <a:pt x="139" y="27"/>
                        <a:pt x="139" y="27"/>
                      </a:cubicBezTo>
                      <a:cubicBezTo>
                        <a:pt x="139" y="23"/>
                        <a:pt x="139" y="23"/>
                        <a:pt x="139" y="23"/>
                      </a:cubicBezTo>
                      <a:cubicBezTo>
                        <a:pt x="139" y="23"/>
                        <a:pt x="138" y="23"/>
                        <a:pt x="138" y="2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342900" indent="-342900">
                    <a:buFont typeface="+mj-lt"/>
                    <a:buAutoNum type="arabicPeriod"/>
                  </a:pPr>
                  <a:endParaRPr lang="en-US" dirty="0"/>
                </a:p>
              </p:txBody>
            </p:sp>
            <p:sp>
              <p:nvSpPr>
                <p:cNvPr id="284" name="Freeform 87">
                  <a:extLst>
                    <a:ext uri="{FF2B5EF4-FFF2-40B4-BE49-F238E27FC236}">
                      <a16:creationId xmlns:a16="http://schemas.microsoft.com/office/drawing/2014/main" id="{5CADA6FB-54C6-4CAE-9616-E3C6C1CCC7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26392" y="3904429"/>
                  <a:ext cx="813690" cy="1755295"/>
                </a:xfrm>
                <a:custGeom>
                  <a:avLst/>
                  <a:gdLst>
                    <a:gd name="T0" fmla="*/ 192 w 194"/>
                    <a:gd name="T1" fmla="*/ 369 h 418"/>
                    <a:gd name="T2" fmla="*/ 192 w 194"/>
                    <a:gd name="T3" fmla="*/ 287 h 418"/>
                    <a:gd name="T4" fmla="*/ 189 w 194"/>
                    <a:gd name="T5" fmla="*/ 147 h 418"/>
                    <a:gd name="T6" fmla="*/ 180 w 194"/>
                    <a:gd name="T7" fmla="*/ 63 h 418"/>
                    <a:gd name="T8" fmla="*/ 184 w 194"/>
                    <a:gd name="T9" fmla="*/ 13 h 418"/>
                    <a:gd name="T10" fmla="*/ 184 w 194"/>
                    <a:gd name="T11" fmla="*/ 12 h 418"/>
                    <a:gd name="T12" fmla="*/ 81 w 194"/>
                    <a:gd name="T13" fmla="*/ 18 h 418"/>
                    <a:gd name="T14" fmla="*/ 23 w 194"/>
                    <a:gd name="T15" fmla="*/ 8 h 418"/>
                    <a:gd name="T16" fmla="*/ 16 w 194"/>
                    <a:gd name="T17" fmla="*/ 0 h 418"/>
                    <a:gd name="T18" fmla="*/ 9 w 194"/>
                    <a:gd name="T19" fmla="*/ 9 h 418"/>
                    <a:gd name="T20" fmla="*/ 0 w 194"/>
                    <a:gd name="T21" fmla="*/ 5 h 418"/>
                    <a:gd name="T22" fmla="*/ 0 w 194"/>
                    <a:gd name="T23" fmla="*/ 10 h 418"/>
                    <a:gd name="T24" fmla="*/ 6 w 194"/>
                    <a:gd name="T25" fmla="*/ 65 h 418"/>
                    <a:gd name="T26" fmla="*/ 16 w 194"/>
                    <a:gd name="T27" fmla="*/ 125 h 418"/>
                    <a:gd name="T28" fmla="*/ 31 w 194"/>
                    <a:gd name="T29" fmla="*/ 225 h 418"/>
                    <a:gd name="T30" fmla="*/ 41 w 194"/>
                    <a:gd name="T31" fmla="*/ 300 h 418"/>
                    <a:gd name="T32" fmla="*/ 49 w 194"/>
                    <a:gd name="T33" fmla="*/ 312 h 418"/>
                    <a:gd name="T34" fmla="*/ 58 w 194"/>
                    <a:gd name="T35" fmla="*/ 326 h 418"/>
                    <a:gd name="T36" fmla="*/ 49 w 194"/>
                    <a:gd name="T37" fmla="*/ 331 h 418"/>
                    <a:gd name="T38" fmla="*/ 39 w 194"/>
                    <a:gd name="T39" fmla="*/ 348 h 418"/>
                    <a:gd name="T40" fmla="*/ 33 w 194"/>
                    <a:gd name="T41" fmla="*/ 356 h 418"/>
                    <a:gd name="T42" fmla="*/ 44 w 194"/>
                    <a:gd name="T43" fmla="*/ 368 h 418"/>
                    <a:gd name="T44" fmla="*/ 66 w 194"/>
                    <a:gd name="T45" fmla="*/ 381 h 418"/>
                    <a:gd name="T46" fmla="*/ 83 w 194"/>
                    <a:gd name="T47" fmla="*/ 386 h 418"/>
                    <a:gd name="T48" fmla="*/ 82 w 194"/>
                    <a:gd name="T49" fmla="*/ 386 h 418"/>
                    <a:gd name="T50" fmla="*/ 87 w 194"/>
                    <a:gd name="T51" fmla="*/ 388 h 418"/>
                    <a:gd name="T52" fmla="*/ 100 w 194"/>
                    <a:gd name="T53" fmla="*/ 394 h 418"/>
                    <a:gd name="T54" fmla="*/ 131 w 194"/>
                    <a:gd name="T55" fmla="*/ 408 h 418"/>
                    <a:gd name="T56" fmla="*/ 163 w 194"/>
                    <a:gd name="T57" fmla="*/ 417 h 418"/>
                    <a:gd name="T58" fmla="*/ 189 w 194"/>
                    <a:gd name="T59" fmla="*/ 416 h 418"/>
                    <a:gd name="T60" fmla="*/ 194 w 194"/>
                    <a:gd name="T61" fmla="*/ 412 h 418"/>
                    <a:gd name="T62" fmla="*/ 192 w 194"/>
                    <a:gd name="T63" fmla="*/ 369 h 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4" h="418">
                      <a:moveTo>
                        <a:pt x="192" y="369"/>
                      </a:moveTo>
                      <a:cubicBezTo>
                        <a:pt x="192" y="360"/>
                        <a:pt x="192" y="306"/>
                        <a:pt x="192" y="287"/>
                      </a:cubicBezTo>
                      <a:cubicBezTo>
                        <a:pt x="192" y="269"/>
                        <a:pt x="191" y="157"/>
                        <a:pt x="189" y="147"/>
                      </a:cubicBezTo>
                      <a:cubicBezTo>
                        <a:pt x="187" y="137"/>
                        <a:pt x="180" y="78"/>
                        <a:pt x="180" y="63"/>
                      </a:cubicBezTo>
                      <a:cubicBezTo>
                        <a:pt x="180" y="48"/>
                        <a:pt x="184" y="18"/>
                        <a:pt x="184" y="13"/>
                      </a:cubicBezTo>
                      <a:cubicBezTo>
                        <a:pt x="184" y="13"/>
                        <a:pt x="184" y="13"/>
                        <a:pt x="184" y="12"/>
                      </a:cubicBezTo>
                      <a:cubicBezTo>
                        <a:pt x="184" y="8"/>
                        <a:pt x="175" y="23"/>
                        <a:pt x="81" y="18"/>
                      </a:cubicBezTo>
                      <a:cubicBezTo>
                        <a:pt x="81" y="18"/>
                        <a:pt x="40" y="20"/>
                        <a:pt x="23" y="8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4" y="8"/>
                        <a:pt x="9" y="9"/>
                      </a:cubicBezTo>
                      <a:cubicBezTo>
                        <a:pt x="5" y="11"/>
                        <a:pt x="0" y="5"/>
                        <a:pt x="0" y="5"/>
                      </a:cubicBezTo>
                      <a:cubicBezTo>
                        <a:pt x="0" y="5"/>
                        <a:pt x="0" y="7"/>
                        <a:pt x="0" y="10"/>
                      </a:cubicBezTo>
                      <a:cubicBezTo>
                        <a:pt x="1" y="22"/>
                        <a:pt x="4" y="53"/>
                        <a:pt x="6" y="65"/>
                      </a:cubicBezTo>
                      <a:cubicBezTo>
                        <a:pt x="8" y="81"/>
                        <a:pt x="15" y="118"/>
                        <a:pt x="16" y="125"/>
                      </a:cubicBezTo>
                      <a:cubicBezTo>
                        <a:pt x="17" y="131"/>
                        <a:pt x="31" y="219"/>
                        <a:pt x="31" y="225"/>
                      </a:cubicBezTo>
                      <a:cubicBezTo>
                        <a:pt x="31" y="230"/>
                        <a:pt x="40" y="270"/>
                        <a:pt x="41" y="300"/>
                      </a:cubicBezTo>
                      <a:cubicBezTo>
                        <a:pt x="41" y="300"/>
                        <a:pt x="45" y="306"/>
                        <a:pt x="49" y="312"/>
                      </a:cubicBezTo>
                      <a:cubicBezTo>
                        <a:pt x="53" y="318"/>
                        <a:pt x="59" y="325"/>
                        <a:pt x="58" y="326"/>
                      </a:cubicBezTo>
                      <a:cubicBezTo>
                        <a:pt x="56" y="327"/>
                        <a:pt x="50" y="328"/>
                        <a:pt x="49" y="331"/>
                      </a:cubicBezTo>
                      <a:cubicBezTo>
                        <a:pt x="47" y="333"/>
                        <a:pt x="41" y="345"/>
                        <a:pt x="39" y="348"/>
                      </a:cubicBezTo>
                      <a:cubicBezTo>
                        <a:pt x="37" y="350"/>
                        <a:pt x="35" y="352"/>
                        <a:pt x="33" y="356"/>
                      </a:cubicBezTo>
                      <a:cubicBezTo>
                        <a:pt x="35" y="358"/>
                        <a:pt x="41" y="365"/>
                        <a:pt x="44" y="368"/>
                      </a:cubicBezTo>
                      <a:cubicBezTo>
                        <a:pt x="48" y="372"/>
                        <a:pt x="62" y="381"/>
                        <a:pt x="66" y="381"/>
                      </a:cubicBezTo>
                      <a:cubicBezTo>
                        <a:pt x="69" y="381"/>
                        <a:pt x="83" y="386"/>
                        <a:pt x="83" y="386"/>
                      </a:cubicBezTo>
                      <a:cubicBezTo>
                        <a:pt x="82" y="386"/>
                        <a:pt x="82" y="386"/>
                        <a:pt x="82" y="386"/>
                      </a:cubicBezTo>
                      <a:cubicBezTo>
                        <a:pt x="84" y="387"/>
                        <a:pt x="86" y="388"/>
                        <a:pt x="87" y="388"/>
                      </a:cubicBezTo>
                      <a:cubicBezTo>
                        <a:pt x="89" y="390"/>
                        <a:pt x="96" y="391"/>
                        <a:pt x="100" y="394"/>
                      </a:cubicBezTo>
                      <a:cubicBezTo>
                        <a:pt x="103" y="393"/>
                        <a:pt x="105" y="394"/>
                        <a:pt x="131" y="408"/>
                      </a:cubicBezTo>
                      <a:cubicBezTo>
                        <a:pt x="131" y="408"/>
                        <a:pt x="142" y="418"/>
                        <a:pt x="163" y="417"/>
                      </a:cubicBezTo>
                      <a:cubicBezTo>
                        <a:pt x="163" y="417"/>
                        <a:pt x="183" y="417"/>
                        <a:pt x="189" y="416"/>
                      </a:cubicBezTo>
                      <a:cubicBezTo>
                        <a:pt x="194" y="412"/>
                        <a:pt x="194" y="412"/>
                        <a:pt x="194" y="412"/>
                      </a:cubicBezTo>
                      <a:cubicBezTo>
                        <a:pt x="194" y="412"/>
                        <a:pt x="192" y="378"/>
                        <a:pt x="192" y="369"/>
                      </a:cubicBezTo>
                      <a:close/>
                    </a:path>
                  </a:pathLst>
                </a:custGeom>
                <a:solidFill>
                  <a:srgbClr val="2A343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88">
                  <a:extLst>
                    <a:ext uri="{FF2B5EF4-FFF2-40B4-BE49-F238E27FC236}">
                      <a16:creationId xmlns:a16="http://schemas.microsoft.com/office/drawing/2014/main" id="{3A037D15-39B0-4455-A64D-E7C75F66DFF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5021" y="3078303"/>
                  <a:ext cx="394408" cy="318013"/>
                </a:xfrm>
                <a:custGeom>
                  <a:avLst/>
                  <a:gdLst>
                    <a:gd name="T0" fmla="*/ 78 w 94"/>
                    <a:gd name="T1" fmla="*/ 2 h 76"/>
                    <a:gd name="T2" fmla="*/ 87 w 94"/>
                    <a:gd name="T3" fmla="*/ 11 h 76"/>
                    <a:gd name="T4" fmla="*/ 88 w 94"/>
                    <a:gd name="T5" fmla="*/ 30 h 76"/>
                    <a:gd name="T6" fmla="*/ 79 w 94"/>
                    <a:gd name="T7" fmla="*/ 47 h 76"/>
                    <a:gd name="T8" fmla="*/ 52 w 94"/>
                    <a:gd name="T9" fmla="*/ 69 h 76"/>
                    <a:gd name="T10" fmla="*/ 28 w 94"/>
                    <a:gd name="T11" fmla="*/ 76 h 76"/>
                    <a:gd name="T12" fmla="*/ 27 w 94"/>
                    <a:gd name="T13" fmla="*/ 70 h 76"/>
                    <a:gd name="T14" fmla="*/ 12 w 94"/>
                    <a:gd name="T15" fmla="*/ 66 h 76"/>
                    <a:gd name="T16" fmla="*/ 8 w 94"/>
                    <a:gd name="T17" fmla="*/ 60 h 76"/>
                    <a:gd name="T18" fmla="*/ 3 w 94"/>
                    <a:gd name="T19" fmla="*/ 54 h 76"/>
                    <a:gd name="T20" fmla="*/ 7 w 94"/>
                    <a:gd name="T21" fmla="*/ 50 h 76"/>
                    <a:gd name="T22" fmla="*/ 13 w 94"/>
                    <a:gd name="T23" fmla="*/ 44 h 76"/>
                    <a:gd name="T24" fmla="*/ 25 w 94"/>
                    <a:gd name="T25" fmla="*/ 48 h 76"/>
                    <a:gd name="T26" fmla="*/ 33 w 94"/>
                    <a:gd name="T27" fmla="*/ 45 h 76"/>
                    <a:gd name="T28" fmla="*/ 40 w 94"/>
                    <a:gd name="T29" fmla="*/ 38 h 76"/>
                    <a:gd name="T30" fmla="*/ 57 w 94"/>
                    <a:gd name="T31" fmla="*/ 17 h 76"/>
                    <a:gd name="T32" fmla="*/ 62 w 94"/>
                    <a:gd name="T33" fmla="*/ 10 h 76"/>
                    <a:gd name="T34" fmla="*/ 78 w 94"/>
                    <a:gd name="T35" fmla="*/ 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" h="76">
                      <a:moveTo>
                        <a:pt x="78" y="2"/>
                      </a:moveTo>
                      <a:cubicBezTo>
                        <a:pt x="78" y="2"/>
                        <a:pt x="80" y="2"/>
                        <a:pt x="87" y="11"/>
                      </a:cubicBezTo>
                      <a:cubicBezTo>
                        <a:pt x="87" y="11"/>
                        <a:pt x="94" y="19"/>
                        <a:pt x="88" y="30"/>
                      </a:cubicBezTo>
                      <a:cubicBezTo>
                        <a:pt x="83" y="40"/>
                        <a:pt x="81" y="42"/>
                        <a:pt x="79" y="47"/>
                      </a:cubicBezTo>
                      <a:cubicBezTo>
                        <a:pt x="76" y="52"/>
                        <a:pt x="57" y="68"/>
                        <a:pt x="52" y="69"/>
                      </a:cubicBezTo>
                      <a:cubicBezTo>
                        <a:pt x="47" y="70"/>
                        <a:pt x="30" y="76"/>
                        <a:pt x="28" y="76"/>
                      </a:cubicBezTo>
                      <a:cubicBezTo>
                        <a:pt x="26" y="75"/>
                        <a:pt x="25" y="72"/>
                        <a:pt x="27" y="70"/>
                      </a:cubicBezTo>
                      <a:cubicBezTo>
                        <a:pt x="27" y="70"/>
                        <a:pt x="19" y="68"/>
                        <a:pt x="12" y="66"/>
                      </a:cubicBezTo>
                      <a:cubicBezTo>
                        <a:pt x="6" y="64"/>
                        <a:pt x="6" y="62"/>
                        <a:pt x="8" y="60"/>
                      </a:cubicBezTo>
                      <a:cubicBezTo>
                        <a:pt x="8" y="60"/>
                        <a:pt x="0" y="58"/>
                        <a:pt x="3" y="54"/>
                      </a:cubicBezTo>
                      <a:cubicBezTo>
                        <a:pt x="3" y="54"/>
                        <a:pt x="4" y="50"/>
                        <a:pt x="7" y="50"/>
                      </a:cubicBezTo>
                      <a:cubicBezTo>
                        <a:pt x="7" y="50"/>
                        <a:pt x="4" y="44"/>
                        <a:pt x="13" y="44"/>
                      </a:cubicBezTo>
                      <a:cubicBezTo>
                        <a:pt x="13" y="44"/>
                        <a:pt x="22" y="48"/>
                        <a:pt x="25" y="48"/>
                      </a:cubicBezTo>
                      <a:cubicBezTo>
                        <a:pt x="28" y="47"/>
                        <a:pt x="33" y="45"/>
                        <a:pt x="33" y="45"/>
                      </a:cubicBezTo>
                      <a:cubicBezTo>
                        <a:pt x="33" y="45"/>
                        <a:pt x="37" y="39"/>
                        <a:pt x="40" y="38"/>
                      </a:cubicBezTo>
                      <a:cubicBezTo>
                        <a:pt x="43" y="36"/>
                        <a:pt x="46" y="27"/>
                        <a:pt x="57" y="17"/>
                      </a:cubicBezTo>
                      <a:cubicBezTo>
                        <a:pt x="57" y="17"/>
                        <a:pt x="62" y="12"/>
                        <a:pt x="62" y="10"/>
                      </a:cubicBezTo>
                      <a:cubicBezTo>
                        <a:pt x="62" y="8"/>
                        <a:pt x="69" y="0"/>
                        <a:pt x="78" y="2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89">
                  <a:extLst>
                    <a:ext uri="{FF2B5EF4-FFF2-40B4-BE49-F238E27FC236}">
                      <a16:creationId xmlns:a16="http://schemas.microsoft.com/office/drawing/2014/main" id="{7180F3CE-4322-4720-B8B7-8AB57F9E648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61691" y="2795822"/>
                  <a:ext cx="419281" cy="236289"/>
                </a:xfrm>
                <a:custGeom>
                  <a:avLst/>
                  <a:gdLst>
                    <a:gd name="T0" fmla="*/ 94 w 100"/>
                    <a:gd name="T1" fmla="*/ 15 h 56"/>
                    <a:gd name="T2" fmla="*/ 95 w 100"/>
                    <a:gd name="T3" fmla="*/ 14 h 56"/>
                    <a:gd name="T4" fmla="*/ 82 w 100"/>
                    <a:gd name="T5" fmla="*/ 7 h 56"/>
                    <a:gd name="T6" fmla="*/ 52 w 100"/>
                    <a:gd name="T7" fmla="*/ 4 h 56"/>
                    <a:gd name="T8" fmla="*/ 38 w 100"/>
                    <a:gd name="T9" fmla="*/ 0 h 56"/>
                    <a:gd name="T10" fmla="*/ 36 w 100"/>
                    <a:gd name="T11" fmla="*/ 7 h 56"/>
                    <a:gd name="T12" fmla="*/ 55 w 100"/>
                    <a:gd name="T13" fmla="*/ 13 h 56"/>
                    <a:gd name="T14" fmla="*/ 54 w 100"/>
                    <a:gd name="T15" fmla="*/ 19 h 56"/>
                    <a:gd name="T16" fmla="*/ 29 w 100"/>
                    <a:gd name="T17" fmla="*/ 31 h 56"/>
                    <a:gd name="T18" fmla="*/ 8 w 100"/>
                    <a:gd name="T19" fmla="*/ 48 h 56"/>
                    <a:gd name="T20" fmla="*/ 20 w 100"/>
                    <a:gd name="T21" fmla="*/ 49 h 56"/>
                    <a:gd name="T22" fmla="*/ 31 w 100"/>
                    <a:gd name="T23" fmla="*/ 50 h 56"/>
                    <a:gd name="T24" fmla="*/ 47 w 100"/>
                    <a:gd name="T25" fmla="*/ 52 h 56"/>
                    <a:gd name="T26" fmla="*/ 53 w 100"/>
                    <a:gd name="T27" fmla="*/ 51 h 56"/>
                    <a:gd name="T28" fmla="*/ 67 w 100"/>
                    <a:gd name="T29" fmla="*/ 56 h 56"/>
                    <a:gd name="T30" fmla="*/ 95 w 100"/>
                    <a:gd name="T31" fmla="*/ 47 h 56"/>
                    <a:gd name="T32" fmla="*/ 94 w 100"/>
                    <a:gd name="T33" fmla="*/ 15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0" h="56">
                      <a:moveTo>
                        <a:pt x="94" y="15"/>
                      </a:moveTo>
                      <a:cubicBezTo>
                        <a:pt x="94" y="15"/>
                        <a:pt x="93" y="14"/>
                        <a:pt x="95" y="14"/>
                      </a:cubicBezTo>
                      <a:cubicBezTo>
                        <a:pt x="91" y="12"/>
                        <a:pt x="86" y="9"/>
                        <a:pt x="82" y="7"/>
                      </a:cubicBezTo>
                      <a:cubicBezTo>
                        <a:pt x="75" y="4"/>
                        <a:pt x="71" y="2"/>
                        <a:pt x="52" y="4"/>
                      </a:cubicBezTo>
                      <a:cubicBezTo>
                        <a:pt x="52" y="4"/>
                        <a:pt x="49" y="5"/>
                        <a:pt x="38" y="0"/>
                      </a:cubicBezTo>
                      <a:cubicBezTo>
                        <a:pt x="38" y="0"/>
                        <a:pt x="31" y="1"/>
                        <a:pt x="36" y="7"/>
                      </a:cubicBezTo>
                      <a:cubicBezTo>
                        <a:pt x="42" y="13"/>
                        <a:pt x="45" y="14"/>
                        <a:pt x="55" y="13"/>
                      </a:cubicBezTo>
                      <a:cubicBezTo>
                        <a:pt x="55" y="13"/>
                        <a:pt x="62" y="12"/>
                        <a:pt x="54" y="19"/>
                      </a:cubicBezTo>
                      <a:cubicBezTo>
                        <a:pt x="47" y="25"/>
                        <a:pt x="44" y="25"/>
                        <a:pt x="29" y="31"/>
                      </a:cubicBezTo>
                      <a:cubicBezTo>
                        <a:pt x="15" y="37"/>
                        <a:pt x="0" y="45"/>
                        <a:pt x="8" y="48"/>
                      </a:cubicBezTo>
                      <a:cubicBezTo>
                        <a:pt x="8" y="48"/>
                        <a:pt x="16" y="49"/>
                        <a:pt x="20" y="49"/>
                      </a:cubicBezTo>
                      <a:cubicBezTo>
                        <a:pt x="24" y="49"/>
                        <a:pt x="28" y="50"/>
                        <a:pt x="31" y="50"/>
                      </a:cubicBezTo>
                      <a:cubicBezTo>
                        <a:pt x="33" y="51"/>
                        <a:pt x="35" y="54"/>
                        <a:pt x="47" y="52"/>
                      </a:cubicBezTo>
                      <a:cubicBezTo>
                        <a:pt x="47" y="52"/>
                        <a:pt x="51" y="51"/>
                        <a:pt x="53" y="51"/>
                      </a:cubicBezTo>
                      <a:cubicBezTo>
                        <a:pt x="55" y="51"/>
                        <a:pt x="63" y="56"/>
                        <a:pt x="67" y="56"/>
                      </a:cubicBezTo>
                      <a:cubicBezTo>
                        <a:pt x="70" y="55"/>
                        <a:pt x="86" y="47"/>
                        <a:pt x="95" y="47"/>
                      </a:cubicBezTo>
                      <a:cubicBezTo>
                        <a:pt x="100" y="12"/>
                        <a:pt x="94" y="15"/>
                        <a:pt x="94" y="15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90">
                  <a:extLst>
                    <a:ext uri="{FF2B5EF4-FFF2-40B4-BE49-F238E27FC236}">
                      <a16:creationId xmlns:a16="http://schemas.microsoft.com/office/drawing/2014/main" id="{4D4DE803-AF21-43F4-A317-A12CD736A64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59564" y="2237227"/>
                  <a:ext cx="165299" cy="463953"/>
                </a:xfrm>
                <a:custGeom>
                  <a:avLst/>
                  <a:gdLst>
                    <a:gd name="T0" fmla="*/ 38 w 38"/>
                    <a:gd name="T1" fmla="*/ 20 h 112"/>
                    <a:gd name="T2" fmla="*/ 35 w 38"/>
                    <a:gd name="T3" fmla="*/ 12 h 112"/>
                    <a:gd name="T4" fmla="*/ 33 w 38"/>
                    <a:gd name="T5" fmla="*/ 3 h 112"/>
                    <a:gd name="T6" fmla="*/ 27 w 38"/>
                    <a:gd name="T7" fmla="*/ 7 h 112"/>
                    <a:gd name="T8" fmla="*/ 26 w 38"/>
                    <a:gd name="T9" fmla="*/ 11 h 112"/>
                    <a:gd name="T10" fmla="*/ 23 w 38"/>
                    <a:gd name="T11" fmla="*/ 13 h 112"/>
                    <a:gd name="T12" fmla="*/ 22 w 38"/>
                    <a:gd name="T13" fmla="*/ 14 h 112"/>
                    <a:gd name="T14" fmla="*/ 15 w 38"/>
                    <a:gd name="T15" fmla="*/ 28 h 112"/>
                    <a:gd name="T16" fmla="*/ 6 w 38"/>
                    <a:gd name="T17" fmla="*/ 65 h 112"/>
                    <a:gd name="T18" fmla="*/ 0 w 38"/>
                    <a:gd name="T19" fmla="*/ 112 h 112"/>
                    <a:gd name="T20" fmla="*/ 31 w 38"/>
                    <a:gd name="T21" fmla="*/ 44 h 112"/>
                    <a:gd name="T22" fmla="*/ 32 w 38"/>
                    <a:gd name="T23" fmla="*/ 43 h 112"/>
                    <a:gd name="T24" fmla="*/ 34 w 38"/>
                    <a:gd name="T25" fmla="*/ 32 h 112"/>
                    <a:gd name="T26" fmla="*/ 33 w 38"/>
                    <a:gd name="T27" fmla="*/ 23 h 112"/>
                    <a:gd name="T28" fmla="*/ 38 w 38"/>
                    <a:gd name="T29" fmla="*/ 20 h 112"/>
                    <a:gd name="connsiteX0" fmla="*/ 10000 w 10000"/>
                    <a:gd name="connsiteY0" fmla="*/ 1613 h 9827"/>
                    <a:gd name="connsiteX1" fmla="*/ 9211 w 10000"/>
                    <a:gd name="connsiteY1" fmla="*/ 898 h 9827"/>
                    <a:gd name="connsiteX2" fmla="*/ 8684 w 10000"/>
                    <a:gd name="connsiteY2" fmla="*/ 95 h 9827"/>
                    <a:gd name="connsiteX3" fmla="*/ 7105 w 10000"/>
                    <a:gd name="connsiteY3" fmla="*/ 452 h 9827"/>
                    <a:gd name="connsiteX4" fmla="*/ 6842 w 10000"/>
                    <a:gd name="connsiteY4" fmla="*/ 809 h 9827"/>
                    <a:gd name="connsiteX5" fmla="*/ 6053 w 10000"/>
                    <a:gd name="connsiteY5" fmla="*/ 988 h 9827"/>
                    <a:gd name="connsiteX6" fmla="*/ 5789 w 10000"/>
                    <a:gd name="connsiteY6" fmla="*/ 1077 h 9827"/>
                    <a:gd name="connsiteX7" fmla="*/ 3947 w 10000"/>
                    <a:gd name="connsiteY7" fmla="*/ 2327 h 9827"/>
                    <a:gd name="connsiteX8" fmla="*/ 1579 w 10000"/>
                    <a:gd name="connsiteY8" fmla="*/ 5631 h 9827"/>
                    <a:gd name="connsiteX9" fmla="*/ 0 w 10000"/>
                    <a:gd name="connsiteY9" fmla="*/ 9827 h 9827"/>
                    <a:gd name="connsiteX10" fmla="*/ 8158 w 10000"/>
                    <a:gd name="connsiteY10" fmla="*/ 3756 h 9827"/>
                    <a:gd name="connsiteX11" fmla="*/ 8421 w 10000"/>
                    <a:gd name="connsiteY11" fmla="*/ 3666 h 9827"/>
                    <a:gd name="connsiteX12" fmla="*/ 8947 w 10000"/>
                    <a:gd name="connsiteY12" fmla="*/ 2684 h 9827"/>
                    <a:gd name="connsiteX13" fmla="*/ 8684 w 10000"/>
                    <a:gd name="connsiteY13" fmla="*/ 1881 h 9827"/>
                    <a:gd name="connsiteX14" fmla="*/ 10000 w 10000"/>
                    <a:gd name="connsiteY14" fmla="*/ 1613 h 9827"/>
                    <a:gd name="connsiteX0" fmla="*/ 10000 w 10000"/>
                    <a:gd name="connsiteY0" fmla="*/ 1641 h 10000"/>
                    <a:gd name="connsiteX1" fmla="*/ 9211 w 10000"/>
                    <a:gd name="connsiteY1" fmla="*/ 914 h 10000"/>
                    <a:gd name="connsiteX2" fmla="*/ 8684 w 10000"/>
                    <a:gd name="connsiteY2" fmla="*/ 97 h 10000"/>
                    <a:gd name="connsiteX3" fmla="*/ 7105 w 10000"/>
                    <a:gd name="connsiteY3" fmla="*/ 460 h 10000"/>
                    <a:gd name="connsiteX4" fmla="*/ 6842 w 10000"/>
                    <a:gd name="connsiteY4" fmla="*/ 823 h 10000"/>
                    <a:gd name="connsiteX5" fmla="*/ 6053 w 10000"/>
                    <a:gd name="connsiteY5" fmla="*/ 1005 h 10000"/>
                    <a:gd name="connsiteX6" fmla="*/ 5789 w 10000"/>
                    <a:gd name="connsiteY6" fmla="*/ 1096 h 10000"/>
                    <a:gd name="connsiteX7" fmla="*/ 3780 w 10000"/>
                    <a:gd name="connsiteY7" fmla="*/ 2310 h 10000"/>
                    <a:gd name="connsiteX8" fmla="*/ 1579 w 10000"/>
                    <a:gd name="connsiteY8" fmla="*/ 5730 h 10000"/>
                    <a:gd name="connsiteX9" fmla="*/ 0 w 10000"/>
                    <a:gd name="connsiteY9" fmla="*/ 10000 h 10000"/>
                    <a:gd name="connsiteX10" fmla="*/ 8158 w 10000"/>
                    <a:gd name="connsiteY10" fmla="*/ 3822 h 10000"/>
                    <a:gd name="connsiteX11" fmla="*/ 8421 w 10000"/>
                    <a:gd name="connsiteY11" fmla="*/ 3731 h 10000"/>
                    <a:gd name="connsiteX12" fmla="*/ 8947 w 10000"/>
                    <a:gd name="connsiteY12" fmla="*/ 2731 h 10000"/>
                    <a:gd name="connsiteX13" fmla="*/ 8684 w 10000"/>
                    <a:gd name="connsiteY13" fmla="*/ 1914 h 10000"/>
                    <a:gd name="connsiteX14" fmla="*/ 10000 w 10000"/>
                    <a:gd name="connsiteY14" fmla="*/ 1641 h 10000"/>
                    <a:gd name="connsiteX0" fmla="*/ 10338 w 10338"/>
                    <a:gd name="connsiteY0" fmla="*/ 1641 h 10028"/>
                    <a:gd name="connsiteX1" fmla="*/ 9549 w 10338"/>
                    <a:gd name="connsiteY1" fmla="*/ 914 h 10028"/>
                    <a:gd name="connsiteX2" fmla="*/ 9022 w 10338"/>
                    <a:gd name="connsiteY2" fmla="*/ 97 h 10028"/>
                    <a:gd name="connsiteX3" fmla="*/ 7443 w 10338"/>
                    <a:gd name="connsiteY3" fmla="*/ 460 h 10028"/>
                    <a:gd name="connsiteX4" fmla="*/ 7180 w 10338"/>
                    <a:gd name="connsiteY4" fmla="*/ 823 h 10028"/>
                    <a:gd name="connsiteX5" fmla="*/ 6391 w 10338"/>
                    <a:gd name="connsiteY5" fmla="*/ 1005 h 10028"/>
                    <a:gd name="connsiteX6" fmla="*/ 6127 w 10338"/>
                    <a:gd name="connsiteY6" fmla="*/ 1096 h 10028"/>
                    <a:gd name="connsiteX7" fmla="*/ 4118 w 10338"/>
                    <a:gd name="connsiteY7" fmla="*/ 2310 h 10028"/>
                    <a:gd name="connsiteX8" fmla="*/ 1584 w 10338"/>
                    <a:gd name="connsiteY8" fmla="*/ 5960 h 10028"/>
                    <a:gd name="connsiteX9" fmla="*/ 338 w 10338"/>
                    <a:gd name="connsiteY9" fmla="*/ 10000 h 10028"/>
                    <a:gd name="connsiteX10" fmla="*/ 8496 w 10338"/>
                    <a:gd name="connsiteY10" fmla="*/ 3822 h 10028"/>
                    <a:gd name="connsiteX11" fmla="*/ 8759 w 10338"/>
                    <a:gd name="connsiteY11" fmla="*/ 3731 h 10028"/>
                    <a:gd name="connsiteX12" fmla="*/ 9285 w 10338"/>
                    <a:gd name="connsiteY12" fmla="*/ 2731 h 10028"/>
                    <a:gd name="connsiteX13" fmla="*/ 9022 w 10338"/>
                    <a:gd name="connsiteY13" fmla="*/ 1914 h 10028"/>
                    <a:gd name="connsiteX14" fmla="*/ 10338 w 10338"/>
                    <a:gd name="connsiteY14" fmla="*/ 1641 h 10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338" h="10028">
                      <a:moveTo>
                        <a:pt x="10338" y="1641"/>
                      </a:moveTo>
                      <a:cubicBezTo>
                        <a:pt x="10338" y="1459"/>
                        <a:pt x="9812" y="1096"/>
                        <a:pt x="9549" y="914"/>
                      </a:cubicBezTo>
                      <a:cubicBezTo>
                        <a:pt x="9549" y="642"/>
                        <a:pt x="9022" y="278"/>
                        <a:pt x="9022" y="97"/>
                      </a:cubicBezTo>
                      <a:cubicBezTo>
                        <a:pt x="9022" y="-176"/>
                        <a:pt x="7970" y="187"/>
                        <a:pt x="7443" y="460"/>
                      </a:cubicBezTo>
                      <a:cubicBezTo>
                        <a:pt x="7180" y="642"/>
                        <a:pt x="7180" y="823"/>
                        <a:pt x="7180" y="823"/>
                      </a:cubicBezTo>
                      <a:cubicBezTo>
                        <a:pt x="7180" y="823"/>
                        <a:pt x="6654" y="914"/>
                        <a:pt x="6391" y="1005"/>
                      </a:cubicBezTo>
                      <a:cubicBezTo>
                        <a:pt x="6391" y="1005"/>
                        <a:pt x="6391" y="1096"/>
                        <a:pt x="6127" y="1096"/>
                      </a:cubicBezTo>
                      <a:cubicBezTo>
                        <a:pt x="5864" y="1369"/>
                        <a:pt x="5171" y="1765"/>
                        <a:pt x="4118" y="2310"/>
                      </a:cubicBezTo>
                      <a:cubicBezTo>
                        <a:pt x="2539" y="3219"/>
                        <a:pt x="1777" y="4227"/>
                        <a:pt x="1584" y="5960"/>
                      </a:cubicBezTo>
                      <a:cubicBezTo>
                        <a:pt x="1321" y="7232"/>
                        <a:pt x="-814" y="10356"/>
                        <a:pt x="338" y="10000"/>
                      </a:cubicBezTo>
                      <a:cubicBezTo>
                        <a:pt x="1490" y="9644"/>
                        <a:pt x="7180" y="4730"/>
                        <a:pt x="8496" y="3822"/>
                      </a:cubicBezTo>
                      <a:lnTo>
                        <a:pt x="8759" y="3731"/>
                      </a:lnTo>
                      <a:cubicBezTo>
                        <a:pt x="9022" y="3277"/>
                        <a:pt x="9285" y="2731"/>
                        <a:pt x="9285" y="2731"/>
                      </a:cubicBezTo>
                      <a:cubicBezTo>
                        <a:pt x="9285" y="2550"/>
                        <a:pt x="8759" y="2186"/>
                        <a:pt x="9022" y="1914"/>
                      </a:cubicBezTo>
                      <a:cubicBezTo>
                        <a:pt x="9285" y="1732"/>
                        <a:pt x="10338" y="1732"/>
                        <a:pt x="10338" y="1641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91">
                  <a:extLst>
                    <a:ext uri="{FF2B5EF4-FFF2-40B4-BE49-F238E27FC236}">
                      <a16:creationId xmlns:a16="http://schemas.microsoft.com/office/drawing/2014/main" id="{9382AD5F-9B7A-4A7A-96B0-12275DCDF0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0904" y="2028325"/>
                  <a:ext cx="286034" cy="381971"/>
                </a:xfrm>
                <a:custGeom>
                  <a:avLst/>
                  <a:gdLst>
                    <a:gd name="T0" fmla="*/ 62 w 68"/>
                    <a:gd name="T1" fmla="*/ 0 h 91"/>
                    <a:gd name="T2" fmla="*/ 58 w 68"/>
                    <a:gd name="T3" fmla="*/ 0 h 91"/>
                    <a:gd name="T4" fmla="*/ 57 w 68"/>
                    <a:gd name="T5" fmla="*/ 0 h 91"/>
                    <a:gd name="T6" fmla="*/ 56 w 68"/>
                    <a:gd name="T7" fmla="*/ 5 h 91"/>
                    <a:gd name="T8" fmla="*/ 32 w 68"/>
                    <a:gd name="T9" fmla="*/ 27 h 91"/>
                    <a:gd name="T10" fmla="*/ 11 w 68"/>
                    <a:gd name="T11" fmla="*/ 48 h 91"/>
                    <a:gd name="T12" fmla="*/ 5 w 68"/>
                    <a:gd name="T13" fmla="*/ 42 h 91"/>
                    <a:gd name="T14" fmla="*/ 3 w 68"/>
                    <a:gd name="T15" fmla="*/ 38 h 91"/>
                    <a:gd name="T16" fmla="*/ 3 w 68"/>
                    <a:gd name="T17" fmla="*/ 38 h 91"/>
                    <a:gd name="T18" fmla="*/ 0 w 68"/>
                    <a:gd name="T19" fmla="*/ 48 h 91"/>
                    <a:gd name="T20" fmla="*/ 1 w 68"/>
                    <a:gd name="T21" fmla="*/ 47 h 91"/>
                    <a:gd name="T22" fmla="*/ 0 w 68"/>
                    <a:gd name="T23" fmla="*/ 59 h 91"/>
                    <a:gd name="T24" fmla="*/ 0 w 68"/>
                    <a:gd name="T25" fmla="*/ 61 h 91"/>
                    <a:gd name="T26" fmla="*/ 3 w 68"/>
                    <a:gd name="T27" fmla="*/ 59 h 91"/>
                    <a:gd name="T28" fmla="*/ 4 w 68"/>
                    <a:gd name="T29" fmla="*/ 55 h 91"/>
                    <a:gd name="T30" fmla="*/ 10 w 68"/>
                    <a:gd name="T31" fmla="*/ 51 h 91"/>
                    <a:gd name="T32" fmla="*/ 12 w 68"/>
                    <a:gd name="T33" fmla="*/ 60 h 91"/>
                    <a:gd name="T34" fmla="*/ 15 w 68"/>
                    <a:gd name="T35" fmla="*/ 68 h 91"/>
                    <a:gd name="T36" fmla="*/ 10 w 68"/>
                    <a:gd name="T37" fmla="*/ 71 h 91"/>
                    <a:gd name="T38" fmla="*/ 11 w 68"/>
                    <a:gd name="T39" fmla="*/ 80 h 91"/>
                    <a:gd name="T40" fmla="*/ 9 w 68"/>
                    <a:gd name="T41" fmla="*/ 91 h 91"/>
                    <a:gd name="T42" fmla="*/ 14 w 68"/>
                    <a:gd name="T43" fmla="*/ 79 h 91"/>
                    <a:gd name="T44" fmla="*/ 38 w 68"/>
                    <a:gd name="T45" fmla="*/ 40 h 91"/>
                    <a:gd name="T46" fmla="*/ 62 w 68"/>
                    <a:gd name="T47" fmla="*/ 17 h 91"/>
                    <a:gd name="T48" fmla="*/ 68 w 68"/>
                    <a:gd name="T49" fmla="*/ 10 h 91"/>
                    <a:gd name="T50" fmla="*/ 62 w 68"/>
                    <a:gd name="T51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8" h="91">
                      <a:moveTo>
                        <a:pt x="62" y="0"/>
                      </a:move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7" y="0"/>
                        <a:pt x="59" y="3"/>
                        <a:pt x="56" y="5"/>
                      </a:cubicBezTo>
                      <a:cubicBezTo>
                        <a:pt x="53" y="7"/>
                        <a:pt x="35" y="23"/>
                        <a:pt x="32" y="27"/>
                      </a:cubicBezTo>
                      <a:cubicBezTo>
                        <a:pt x="29" y="31"/>
                        <a:pt x="14" y="43"/>
                        <a:pt x="11" y="48"/>
                      </a:cubicBezTo>
                      <a:cubicBezTo>
                        <a:pt x="11" y="48"/>
                        <a:pt x="9" y="49"/>
                        <a:pt x="5" y="42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43"/>
                        <a:pt x="0" y="4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1" y="47"/>
                        <a:pt x="0" y="57"/>
                        <a:pt x="0" y="59"/>
                      </a:cubicBezTo>
                      <a:cubicBezTo>
                        <a:pt x="0" y="60"/>
                        <a:pt x="0" y="60"/>
                        <a:pt x="0" y="61"/>
                      </a:cubicBezTo>
                      <a:cubicBezTo>
                        <a:pt x="1" y="60"/>
                        <a:pt x="3" y="59"/>
                        <a:pt x="3" y="59"/>
                      </a:cubicBezTo>
                      <a:cubicBezTo>
                        <a:pt x="3" y="59"/>
                        <a:pt x="3" y="57"/>
                        <a:pt x="4" y="55"/>
                      </a:cubicBezTo>
                      <a:cubicBezTo>
                        <a:pt x="6" y="52"/>
                        <a:pt x="10" y="48"/>
                        <a:pt x="10" y="51"/>
                      </a:cubicBezTo>
                      <a:cubicBezTo>
                        <a:pt x="10" y="53"/>
                        <a:pt x="12" y="57"/>
                        <a:pt x="12" y="60"/>
                      </a:cubicBezTo>
                      <a:cubicBezTo>
                        <a:pt x="13" y="62"/>
                        <a:pt x="15" y="66"/>
                        <a:pt x="15" y="68"/>
                      </a:cubicBezTo>
                      <a:cubicBezTo>
                        <a:pt x="15" y="69"/>
                        <a:pt x="11" y="69"/>
                        <a:pt x="10" y="71"/>
                      </a:cubicBezTo>
                      <a:cubicBezTo>
                        <a:pt x="9" y="74"/>
                        <a:pt x="11" y="78"/>
                        <a:pt x="11" y="80"/>
                      </a:cubicBezTo>
                      <a:cubicBezTo>
                        <a:pt x="11" y="80"/>
                        <a:pt x="10" y="86"/>
                        <a:pt x="9" y="91"/>
                      </a:cubicBezTo>
                      <a:cubicBezTo>
                        <a:pt x="11" y="87"/>
                        <a:pt x="12" y="84"/>
                        <a:pt x="14" y="79"/>
                      </a:cubicBezTo>
                      <a:cubicBezTo>
                        <a:pt x="21" y="59"/>
                        <a:pt x="37" y="43"/>
                        <a:pt x="38" y="40"/>
                      </a:cubicBezTo>
                      <a:cubicBezTo>
                        <a:pt x="39" y="37"/>
                        <a:pt x="55" y="23"/>
                        <a:pt x="62" y="17"/>
                      </a:cubicBezTo>
                      <a:cubicBezTo>
                        <a:pt x="66" y="14"/>
                        <a:pt x="68" y="12"/>
                        <a:pt x="68" y="10"/>
                      </a:cubicBezTo>
                      <a:cubicBezTo>
                        <a:pt x="67" y="7"/>
                        <a:pt x="65" y="3"/>
                        <a:pt x="6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92">
                  <a:extLst>
                    <a:ext uri="{FF2B5EF4-FFF2-40B4-BE49-F238E27FC236}">
                      <a16:creationId xmlns:a16="http://schemas.microsoft.com/office/drawing/2014/main" id="{8830D194-727F-4E8C-BC31-7D86B87BE42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69031" y="1584172"/>
                  <a:ext cx="410397" cy="246949"/>
                </a:xfrm>
                <a:custGeom>
                  <a:avLst/>
                  <a:gdLst>
                    <a:gd name="T0" fmla="*/ 17 w 98"/>
                    <a:gd name="T1" fmla="*/ 30 h 59"/>
                    <a:gd name="T2" fmla="*/ 47 w 98"/>
                    <a:gd name="T3" fmla="*/ 24 h 59"/>
                    <a:gd name="T4" fmla="*/ 77 w 98"/>
                    <a:gd name="T5" fmla="*/ 28 h 59"/>
                    <a:gd name="T6" fmla="*/ 81 w 98"/>
                    <a:gd name="T7" fmla="*/ 45 h 59"/>
                    <a:gd name="T8" fmla="*/ 87 w 98"/>
                    <a:gd name="T9" fmla="*/ 57 h 59"/>
                    <a:gd name="T10" fmla="*/ 90 w 98"/>
                    <a:gd name="T11" fmla="*/ 51 h 59"/>
                    <a:gd name="T12" fmla="*/ 97 w 98"/>
                    <a:gd name="T13" fmla="*/ 41 h 59"/>
                    <a:gd name="T14" fmla="*/ 98 w 98"/>
                    <a:gd name="T15" fmla="*/ 42 h 59"/>
                    <a:gd name="T16" fmla="*/ 98 w 98"/>
                    <a:gd name="T17" fmla="*/ 37 h 59"/>
                    <a:gd name="T18" fmla="*/ 87 w 98"/>
                    <a:gd name="T19" fmla="*/ 12 h 59"/>
                    <a:gd name="T20" fmla="*/ 63 w 98"/>
                    <a:gd name="T21" fmla="*/ 2 h 59"/>
                    <a:gd name="T22" fmla="*/ 41 w 98"/>
                    <a:gd name="T23" fmla="*/ 1 h 59"/>
                    <a:gd name="T24" fmla="*/ 39 w 98"/>
                    <a:gd name="T25" fmla="*/ 3 h 59"/>
                    <a:gd name="T26" fmla="*/ 24 w 98"/>
                    <a:gd name="T27" fmla="*/ 9 h 59"/>
                    <a:gd name="T28" fmla="*/ 5 w 98"/>
                    <a:gd name="T29" fmla="*/ 21 h 59"/>
                    <a:gd name="T30" fmla="*/ 4 w 98"/>
                    <a:gd name="T31" fmla="*/ 39 h 59"/>
                    <a:gd name="T32" fmla="*/ 17 w 98"/>
                    <a:gd name="T33" fmla="*/ 3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8" h="59">
                      <a:moveTo>
                        <a:pt x="17" y="30"/>
                      </a:moveTo>
                      <a:cubicBezTo>
                        <a:pt x="25" y="30"/>
                        <a:pt x="47" y="24"/>
                        <a:pt x="47" y="24"/>
                      </a:cubicBezTo>
                      <a:cubicBezTo>
                        <a:pt x="68" y="15"/>
                        <a:pt x="75" y="25"/>
                        <a:pt x="77" y="28"/>
                      </a:cubicBezTo>
                      <a:cubicBezTo>
                        <a:pt x="80" y="32"/>
                        <a:pt x="81" y="45"/>
                        <a:pt x="81" y="45"/>
                      </a:cubicBezTo>
                      <a:cubicBezTo>
                        <a:pt x="84" y="58"/>
                        <a:pt x="86" y="55"/>
                        <a:pt x="87" y="57"/>
                      </a:cubicBezTo>
                      <a:cubicBezTo>
                        <a:pt x="88" y="59"/>
                        <a:pt x="90" y="51"/>
                        <a:pt x="90" y="51"/>
                      </a:cubicBezTo>
                      <a:cubicBezTo>
                        <a:pt x="91" y="43"/>
                        <a:pt x="97" y="41"/>
                        <a:pt x="97" y="41"/>
                      </a:cubicBezTo>
                      <a:cubicBezTo>
                        <a:pt x="97" y="42"/>
                        <a:pt x="97" y="42"/>
                        <a:pt x="98" y="42"/>
                      </a:cubicBezTo>
                      <a:cubicBezTo>
                        <a:pt x="98" y="40"/>
                        <a:pt x="98" y="38"/>
                        <a:pt x="98" y="37"/>
                      </a:cubicBezTo>
                      <a:cubicBezTo>
                        <a:pt x="97" y="31"/>
                        <a:pt x="95" y="19"/>
                        <a:pt x="87" y="12"/>
                      </a:cubicBezTo>
                      <a:cubicBezTo>
                        <a:pt x="79" y="5"/>
                        <a:pt x="69" y="2"/>
                        <a:pt x="63" y="2"/>
                      </a:cubicBezTo>
                      <a:cubicBezTo>
                        <a:pt x="58" y="2"/>
                        <a:pt x="48" y="0"/>
                        <a:pt x="41" y="1"/>
                      </a:cubicBezTo>
                      <a:cubicBezTo>
                        <a:pt x="34" y="1"/>
                        <a:pt x="40" y="1"/>
                        <a:pt x="39" y="3"/>
                      </a:cubicBezTo>
                      <a:cubicBezTo>
                        <a:pt x="39" y="3"/>
                        <a:pt x="34" y="2"/>
                        <a:pt x="24" y="9"/>
                      </a:cubicBezTo>
                      <a:cubicBezTo>
                        <a:pt x="13" y="16"/>
                        <a:pt x="10" y="19"/>
                        <a:pt x="5" y="21"/>
                      </a:cubicBezTo>
                      <a:cubicBezTo>
                        <a:pt x="0" y="23"/>
                        <a:pt x="1" y="36"/>
                        <a:pt x="4" y="39"/>
                      </a:cubicBezTo>
                      <a:cubicBezTo>
                        <a:pt x="6" y="29"/>
                        <a:pt x="17" y="30"/>
                        <a:pt x="17" y="30"/>
                      </a:cubicBezTo>
                      <a:close/>
                    </a:path>
                  </a:pathLst>
                </a:custGeom>
                <a:solidFill>
                  <a:srgbClr val="7D4B2F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93">
                  <a:extLst>
                    <a:ext uri="{FF2B5EF4-FFF2-40B4-BE49-F238E27FC236}">
                      <a16:creationId xmlns:a16="http://schemas.microsoft.com/office/drawing/2014/main" id="{1C907426-697C-452E-BDAA-EA7BB63351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76137" y="1646353"/>
                  <a:ext cx="440600" cy="588059"/>
                </a:xfrm>
                <a:custGeom>
                  <a:avLst/>
                  <a:gdLst>
                    <a:gd name="T0" fmla="*/ 99 w 105"/>
                    <a:gd name="T1" fmla="*/ 79 h 140"/>
                    <a:gd name="T2" fmla="*/ 97 w 105"/>
                    <a:gd name="T3" fmla="*/ 62 h 140"/>
                    <a:gd name="T4" fmla="*/ 102 w 105"/>
                    <a:gd name="T5" fmla="*/ 54 h 140"/>
                    <a:gd name="T6" fmla="*/ 101 w 105"/>
                    <a:gd name="T7" fmla="*/ 31 h 140"/>
                    <a:gd name="T8" fmla="*/ 96 w 105"/>
                    <a:gd name="T9" fmla="*/ 27 h 140"/>
                    <a:gd name="T10" fmla="*/ 95 w 105"/>
                    <a:gd name="T11" fmla="*/ 26 h 140"/>
                    <a:gd name="T12" fmla="*/ 88 w 105"/>
                    <a:gd name="T13" fmla="*/ 36 h 140"/>
                    <a:gd name="T14" fmla="*/ 85 w 105"/>
                    <a:gd name="T15" fmla="*/ 42 h 140"/>
                    <a:gd name="T16" fmla="*/ 79 w 105"/>
                    <a:gd name="T17" fmla="*/ 30 h 140"/>
                    <a:gd name="T18" fmla="*/ 75 w 105"/>
                    <a:gd name="T19" fmla="*/ 13 h 140"/>
                    <a:gd name="T20" fmla="*/ 45 w 105"/>
                    <a:gd name="T21" fmla="*/ 9 h 140"/>
                    <a:gd name="T22" fmla="*/ 15 w 105"/>
                    <a:gd name="T23" fmla="*/ 15 h 140"/>
                    <a:gd name="T24" fmla="*/ 2 w 105"/>
                    <a:gd name="T25" fmla="*/ 24 h 140"/>
                    <a:gd name="T26" fmla="*/ 1 w 105"/>
                    <a:gd name="T27" fmla="*/ 25 h 140"/>
                    <a:gd name="T28" fmla="*/ 2 w 105"/>
                    <a:gd name="T29" fmla="*/ 43 h 140"/>
                    <a:gd name="T30" fmla="*/ 2 w 105"/>
                    <a:gd name="T31" fmla="*/ 56 h 140"/>
                    <a:gd name="T32" fmla="*/ 7 w 105"/>
                    <a:gd name="T33" fmla="*/ 67 h 140"/>
                    <a:gd name="T34" fmla="*/ 10 w 105"/>
                    <a:gd name="T35" fmla="*/ 86 h 140"/>
                    <a:gd name="T36" fmla="*/ 23 w 105"/>
                    <a:gd name="T37" fmla="*/ 109 h 140"/>
                    <a:gd name="T38" fmla="*/ 33 w 105"/>
                    <a:gd name="T39" fmla="*/ 117 h 140"/>
                    <a:gd name="T40" fmla="*/ 41 w 105"/>
                    <a:gd name="T41" fmla="*/ 124 h 140"/>
                    <a:gd name="T42" fmla="*/ 46 w 105"/>
                    <a:gd name="T43" fmla="*/ 126 h 140"/>
                    <a:gd name="T44" fmla="*/ 47 w 105"/>
                    <a:gd name="T45" fmla="*/ 129 h 140"/>
                    <a:gd name="T46" fmla="*/ 49 w 105"/>
                    <a:gd name="T47" fmla="*/ 133 h 140"/>
                    <a:gd name="T48" fmla="*/ 55 w 105"/>
                    <a:gd name="T49" fmla="*/ 139 h 140"/>
                    <a:gd name="T50" fmla="*/ 76 w 105"/>
                    <a:gd name="T51" fmla="*/ 118 h 140"/>
                    <a:gd name="T52" fmla="*/ 100 w 105"/>
                    <a:gd name="T53" fmla="*/ 96 h 140"/>
                    <a:gd name="T54" fmla="*/ 101 w 105"/>
                    <a:gd name="T55" fmla="*/ 91 h 140"/>
                    <a:gd name="T56" fmla="*/ 102 w 105"/>
                    <a:gd name="T57" fmla="*/ 91 h 140"/>
                    <a:gd name="T58" fmla="*/ 99 w 105"/>
                    <a:gd name="T59" fmla="*/ 79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5" h="140">
                      <a:moveTo>
                        <a:pt x="99" y="79"/>
                      </a:moveTo>
                      <a:cubicBezTo>
                        <a:pt x="98" y="74"/>
                        <a:pt x="96" y="64"/>
                        <a:pt x="97" y="62"/>
                      </a:cubicBezTo>
                      <a:cubicBezTo>
                        <a:pt x="97" y="61"/>
                        <a:pt x="101" y="57"/>
                        <a:pt x="102" y="54"/>
                      </a:cubicBezTo>
                      <a:cubicBezTo>
                        <a:pt x="102" y="50"/>
                        <a:pt x="105" y="38"/>
                        <a:pt x="101" y="31"/>
                      </a:cubicBezTo>
                      <a:cubicBezTo>
                        <a:pt x="101" y="31"/>
                        <a:pt x="99" y="28"/>
                        <a:pt x="96" y="27"/>
                      </a:cubicBezTo>
                      <a:cubicBezTo>
                        <a:pt x="95" y="27"/>
                        <a:pt x="95" y="27"/>
                        <a:pt x="95" y="26"/>
                      </a:cubicBezTo>
                      <a:cubicBezTo>
                        <a:pt x="95" y="26"/>
                        <a:pt x="89" y="28"/>
                        <a:pt x="88" y="36"/>
                      </a:cubicBezTo>
                      <a:cubicBezTo>
                        <a:pt x="88" y="36"/>
                        <a:pt x="86" y="44"/>
                        <a:pt x="85" y="42"/>
                      </a:cubicBezTo>
                      <a:cubicBezTo>
                        <a:pt x="84" y="40"/>
                        <a:pt x="82" y="43"/>
                        <a:pt x="79" y="30"/>
                      </a:cubicBezTo>
                      <a:cubicBezTo>
                        <a:pt x="79" y="30"/>
                        <a:pt x="78" y="17"/>
                        <a:pt x="75" y="13"/>
                      </a:cubicBezTo>
                      <a:cubicBezTo>
                        <a:pt x="73" y="10"/>
                        <a:pt x="66" y="0"/>
                        <a:pt x="45" y="9"/>
                      </a:cubicBezTo>
                      <a:cubicBezTo>
                        <a:pt x="45" y="9"/>
                        <a:pt x="23" y="15"/>
                        <a:pt x="15" y="15"/>
                      </a:cubicBezTo>
                      <a:cubicBezTo>
                        <a:pt x="15" y="15"/>
                        <a:pt x="4" y="14"/>
                        <a:pt x="2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5"/>
                        <a:pt x="0" y="38"/>
                        <a:pt x="2" y="43"/>
                      </a:cubicBezTo>
                      <a:cubicBezTo>
                        <a:pt x="4" y="47"/>
                        <a:pt x="1" y="53"/>
                        <a:pt x="2" y="56"/>
                      </a:cubicBezTo>
                      <a:cubicBezTo>
                        <a:pt x="3" y="59"/>
                        <a:pt x="8" y="62"/>
                        <a:pt x="7" y="67"/>
                      </a:cubicBezTo>
                      <a:cubicBezTo>
                        <a:pt x="7" y="71"/>
                        <a:pt x="8" y="80"/>
                        <a:pt x="10" y="86"/>
                      </a:cubicBezTo>
                      <a:cubicBezTo>
                        <a:pt x="12" y="91"/>
                        <a:pt x="16" y="105"/>
                        <a:pt x="23" y="109"/>
                      </a:cubicBezTo>
                      <a:cubicBezTo>
                        <a:pt x="29" y="113"/>
                        <a:pt x="30" y="113"/>
                        <a:pt x="33" y="117"/>
                      </a:cubicBezTo>
                      <a:cubicBezTo>
                        <a:pt x="36" y="122"/>
                        <a:pt x="36" y="124"/>
                        <a:pt x="41" y="124"/>
                      </a:cubicBezTo>
                      <a:cubicBezTo>
                        <a:pt x="46" y="124"/>
                        <a:pt x="46" y="126"/>
                        <a:pt x="46" y="126"/>
                      </a:cubicBezTo>
                      <a:cubicBezTo>
                        <a:pt x="46" y="126"/>
                        <a:pt x="47" y="127"/>
                        <a:pt x="47" y="129"/>
                      </a:cubicBezTo>
                      <a:cubicBezTo>
                        <a:pt x="49" y="133"/>
                        <a:pt x="49" y="133"/>
                        <a:pt x="49" y="133"/>
                      </a:cubicBezTo>
                      <a:cubicBezTo>
                        <a:pt x="53" y="140"/>
                        <a:pt x="55" y="139"/>
                        <a:pt x="55" y="139"/>
                      </a:cubicBezTo>
                      <a:cubicBezTo>
                        <a:pt x="58" y="134"/>
                        <a:pt x="73" y="122"/>
                        <a:pt x="76" y="118"/>
                      </a:cubicBezTo>
                      <a:cubicBezTo>
                        <a:pt x="79" y="114"/>
                        <a:pt x="97" y="98"/>
                        <a:pt x="100" y="96"/>
                      </a:cubicBezTo>
                      <a:cubicBezTo>
                        <a:pt x="103" y="94"/>
                        <a:pt x="101" y="91"/>
                        <a:pt x="101" y="91"/>
                      </a:cubicBezTo>
                      <a:cubicBezTo>
                        <a:pt x="102" y="91"/>
                        <a:pt x="102" y="91"/>
                        <a:pt x="102" y="91"/>
                      </a:cubicBezTo>
                      <a:cubicBezTo>
                        <a:pt x="101" y="87"/>
                        <a:pt x="99" y="82"/>
                        <a:pt x="99" y="79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94">
                  <a:extLst>
                    <a:ext uri="{FF2B5EF4-FFF2-40B4-BE49-F238E27FC236}">
                      <a16:creationId xmlns:a16="http://schemas.microsoft.com/office/drawing/2014/main" id="{1C7DE551-10B2-4EC1-9694-370AD60685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94661" y="5679266"/>
                  <a:ext cx="49745" cy="39085"/>
                </a:xfrm>
                <a:custGeom>
                  <a:avLst/>
                  <a:gdLst>
                    <a:gd name="T0" fmla="*/ 12 w 12"/>
                    <a:gd name="T1" fmla="*/ 2 h 9"/>
                    <a:gd name="T2" fmla="*/ 3 w 12"/>
                    <a:gd name="T3" fmla="*/ 6 h 9"/>
                    <a:gd name="T4" fmla="*/ 6 w 12"/>
                    <a:gd name="T5" fmla="*/ 1 h 9"/>
                    <a:gd name="T6" fmla="*/ 12 w 12"/>
                    <a:gd name="T7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9">
                      <a:moveTo>
                        <a:pt x="12" y="2"/>
                      </a:moveTo>
                      <a:cubicBezTo>
                        <a:pt x="12" y="2"/>
                        <a:pt x="6" y="9"/>
                        <a:pt x="3" y="6"/>
                      </a:cubicBezTo>
                      <a:cubicBezTo>
                        <a:pt x="0" y="3"/>
                        <a:pt x="2" y="2"/>
                        <a:pt x="6" y="1"/>
                      </a:cubicBezTo>
                      <a:cubicBezTo>
                        <a:pt x="9" y="0"/>
                        <a:pt x="12" y="2"/>
                        <a:pt x="12" y="2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95">
                  <a:extLst>
                    <a:ext uri="{FF2B5EF4-FFF2-40B4-BE49-F238E27FC236}">
                      <a16:creationId xmlns:a16="http://schemas.microsoft.com/office/drawing/2014/main" id="{1C2B2691-9C34-4E86-8600-E1383D2FA9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65725" y="5548685"/>
                  <a:ext cx="209640" cy="83500"/>
                </a:xfrm>
                <a:custGeom>
                  <a:avLst/>
                  <a:gdLst>
                    <a:gd name="T0" fmla="*/ 0 w 50"/>
                    <a:gd name="T1" fmla="*/ 11 h 20"/>
                    <a:gd name="T2" fmla="*/ 9 w 50"/>
                    <a:gd name="T3" fmla="*/ 12 h 20"/>
                    <a:gd name="T4" fmla="*/ 21 w 50"/>
                    <a:gd name="T5" fmla="*/ 7 h 20"/>
                    <a:gd name="T6" fmla="*/ 50 w 50"/>
                    <a:gd name="T7" fmla="*/ 18 h 20"/>
                    <a:gd name="T8" fmla="*/ 25 w 50"/>
                    <a:gd name="T9" fmla="*/ 4 h 20"/>
                    <a:gd name="T10" fmla="*/ 13 w 50"/>
                    <a:gd name="T11" fmla="*/ 4 h 20"/>
                    <a:gd name="T12" fmla="*/ 0 w 50"/>
                    <a:gd name="T13" fmla="*/ 11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0" h="20">
                      <a:moveTo>
                        <a:pt x="0" y="11"/>
                      </a:moveTo>
                      <a:cubicBezTo>
                        <a:pt x="0" y="11"/>
                        <a:pt x="3" y="19"/>
                        <a:pt x="9" y="12"/>
                      </a:cubicBezTo>
                      <a:cubicBezTo>
                        <a:pt x="15" y="6"/>
                        <a:pt x="19" y="5"/>
                        <a:pt x="21" y="7"/>
                      </a:cubicBezTo>
                      <a:cubicBezTo>
                        <a:pt x="23" y="8"/>
                        <a:pt x="43" y="20"/>
                        <a:pt x="50" y="18"/>
                      </a:cubicBezTo>
                      <a:cubicBezTo>
                        <a:pt x="50" y="18"/>
                        <a:pt x="42" y="11"/>
                        <a:pt x="25" y="4"/>
                      </a:cubicBezTo>
                      <a:cubicBezTo>
                        <a:pt x="25" y="4"/>
                        <a:pt x="18" y="0"/>
                        <a:pt x="13" y="4"/>
                      </a:cubicBezTo>
                      <a:cubicBezTo>
                        <a:pt x="13" y="4"/>
                        <a:pt x="1" y="9"/>
                        <a:pt x="0" y="11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97">
                  <a:extLst>
                    <a:ext uri="{FF2B5EF4-FFF2-40B4-BE49-F238E27FC236}">
                      <a16:creationId xmlns:a16="http://schemas.microsoft.com/office/drawing/2014/main" id="{0AFD6E6A-42B0-4226-8D5E-F7FA9A2438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8469" y="5272422"/>
                  <a:ext cx="117257" cy="175884"/>
                </a:xfrm>
                <a:custGeom>
                  <a:avLst/>
                  <a:gdLst>
                    <a:gd name="T0" fmla="*/ 5 w 28"/>
                    <a:gd name="T1" fmla="*/ 0 h 42"/>
                    <a:gd name="T2" fmla="*/ 21 w 28"/>
                    <a:gd name="T3" fmla="*/ 27 h 42"/>
                    <a:gd name="T4" fmla="*/ 28 w 28"/>
                    <a:gd name="T5" fmla="*/ 42 h 42"/>
                    <a:gd name="T6" fmla="*/ 14 w 28"/>
                    <a:gd name="T7" fmla="*/ 22 h 42"/>
                    <a:gd name="T8" fmla="*/ 0 w 28"/>
                    <a:gd name="T9" fmla="*/ 2 h 42"/>
                    <a:gd name="T10" fmla="*/ 5 w 28"/>
                    <a:gd name="T1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42">
                      <a:moveTo>
                        <a:pt x="5" y="0"/>
                      </a:moveTo>
                      <a:cubicBezTo>
                        <a:pt x="5" y="0"/>
                        <a:pt x="17" y="16"/>
                        <a:pt x="21" y="27"/>
                      </a:cubicBezTo>
                      <a:cubicBezTo>
                        <a:pt x="25" y="38"/>
                        <a:pt x="28" y="42"/>
                        <a:pt x="28" y="42"/>
                      </a:cubicBezTo>
                      <a:cubicBezTo>
                        <a:pt x="28" y="42"/>
                        <a:pt x="19" y="27"/>
                        <a:pt x="14" y="22"/>
                      </a:cubicBezTo>
                      <a:cubicBezTo>
                        <a:pt x="9" y="16"/>
                        <a:pt x="0" y="5"/>
                        <a:pt x="0" y="2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98">
                  <a:extLst>
                    <a:ext uri="{FF2B5EF4-FFF2-40B4-BE49-F238E27FC236}">
                      <a16:creationId xmlns:a16="http://schemas.microsoft.com/office/drawing/2014/main" id="{79EF0430-C863-464D-B4A6-C8D7C7A9C5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63438" y="5272422"/>
                  <a:ext cx="268268" cy="193651"/>
                </a:xfrm>
                <a:custGeom>
                  <a:avLst/>
                  <a:gdLst>
                    <a:gd name="T0" fmla="*/ 8 w 64"/>
                    <a:gd name="T1" fmla="*/ 46 h 46"/>
                    <a:gd name="T2" fmla="*/ 17 w 64"/>
                    <a:gd name="T3" fmla="*/ 35 h 46"/>
                    <a:gd name="T4" fmla="*/ 34 w 64"/>
                    <a:gd name="T5" fmla="*/ 40 h 46"/>
                    <a:gd name="T6" fmla="*/ 63 w 64"/>
                    <a:gd name="T7" fmla="*/ 40 h 46"/>
                    <a:gd name="T8" fmla="*/ 44 w 64"/>
                    <a:gd name="T9" fmla="*/ 24 h 46"/>
                    <a:gd name="T10" fmla="*/ 8 w 64"/>
                    <a:gd name="T11" fmla="*/ 6 h 46"/>
                    <a:gd name="T12" fmla="*/ 0 w 64"/>
                    <a:gd name="T13" fmla="*/ 21 h 46"/>
                    <a:gd name="T14" fmla="*/ 8 w 64"/>
                    <a:gd name="T15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46">
                      <a:moveTo>
                        <a:pt x="8" y="46"/>
                      </a:moveTo>
                      <a:cubicBezTo>
                        <a:pt x="8" y="46"/>
                        <a:pt x="14" y="36"/>
                        <a:pt x="17" y="35"/>
                      </a:cubicBezTo>
                      <a:cubicBezTo>
                        <a:pt x="20" y="34"/>
                        <a:pt x="25" y="37"/>
                        <a:pt x="34" y="40"/>
                      </a:cubicBezTo>
                      <a:cubicBezTo>
                        <a:pt x="44" y="42"/>
                        <a:pt x="64" y="45"/>
                        <a:pt x="63" y="40"/>
                      </a:cubicBezTo>
                      <a:cubicBezTo>
                        <a:pt x="62" y="35"/>
                        <a:pt x="51" y="28"/>
                        <a:pt x="44" y="24"/>
                      </a:cubicBezTo>
                      <a:cubicBezTo>
                        <a:pt x="37" y="21"/>
                        <a:pt x="10" y="12"/>
                        <a:pt x="8" y="6"/>
                      </a:cubicBezTo>
                      <a:cubicBezTo>
                        <a:pt x="6" y="0"/>
                        <a:pt x="1" y="14"/>
                        <a:pt x="0" y="21"/>
                      </a:cubicBezTo>
                      <a:cubicBezTo>
                        <a:pt x="0" y="28"/>
                        <a:pt x="4" y="41"/>
                        <a:pt x="8" y="46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99">
                  <a:extLst>
                    <a:ext uri="{FF2B5EF4-FFF2-40B4-BE49-F238E27FC236}">
                      <a16:creationId xmlns:a16="http://schemas.microsoft.com/office/drawing/2014/main" id="{19E42AC8-84D6-460B-9F3E-AB866CB38C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13941" y="5553127"/>
                  <a:ext cx="122586" cy="97713"/>
                </a:xfrm>
                <a:custGeom>
                  <a:avLst/>
                  <a:gdLst>
                    <a:gd name="T0" fmla="*/ 27 w 29"/>
                    <a:gd name="T1" fmla="*/ 0 h 23"/>
                    <a:gd name="T2" fmla="*/ 0 w 29"/>
                    <a:gd name="T3" fmla="*/ 9 h 23"/>
                    <a:gd name="T4" fmla="*/ 29 w 29"/>
                    <a:gd name="T5" fmla="*/ 4 h 23"/>
                    <a:gd name="T6" fmla="*/ 27 w 29"/>
                    <a:gd name="T7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23">
                      <a:moveTo>
                        <a:pt x="27" y="0"/>
                      </a:moveTo>
                      <a:cubicBezTo>
                        <a:pt x="27" y="0"/>
                        <a:pt x="14" y="14"/>
                        <a:pt x="0" y="9"/>
                      </a:cubicBezTo>
                      <a:cubicBezTo>
                        <a:pt x="0" y="9"/>
                        <a:pt x="9" y="23"/>
                        <a:pt x="29" y="4"/>
                      </a:cubicBez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00">
                  <a:extLst>
                    <a:ext uri="{FF2B5EF4-FFF2-40B4-BE49-F238E27FC236}">
                      <a16:creationId xmlns:a16="http://schemas.microsoft.com/office/drawing/2014/main" id="{1DF13C3C-EF64-4C4D-A6E3-B1B7240B18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334503" y="5474956"/>
                  <a:ext cx="209640" cy="83500"/>
                </a:xfrm>
                <a:custGeom>
                  <a:avLst/>
                  <a:gdLst>
                    <a:gd name="T0" fmla="*/ 0 w 50"/>
                    <a:gd name="T1" fmla="*/ 0 h 20"/>
                    <a:gd name="T2" fmla="*/ 19 w 50"/>
                    <a:gd name="T3" fmla="*/ 3 h 20"/>
                    <a:gd name="T4" fmla="*/ 37 w 50"/>
                    <a:gd name="T5" fmla="*/ 7 h 20"/>
                    <a:gd name="T6" fmla="*/ 50 w 50"/>
                    <a:gd name="T7" fmla="*/ 20 h 20"/>
                    <a:gd name="T8" fmla="*/ 29 w 50"/>
                    <a:gd name="T9" fmla="*/ 9 h 20"/>
                    <a:gd name="T10" fmla="*/ 0 w 50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0" h="20">
                      <a:moveTo>
                        <a:pt x="0" y="0"/>
                      </a:moveTo>
                      <a:cubicBezTo>
                        <a:pt x="0" y="0"/>
                        <a:pt x="14" y="4"/>
                        <a:pt x="19" y="3"/>
                      </a:cubicBezTo>
                      <a:cubicBezTo>
                        <a:pt x="25" y="3"/>
                        <a:pt x="33" y="2"/>
                        <a:pt x="37" y="7"/>
                      </a:cubicBezTo>
                      <a:cubicBezTo>
                        <a:pt x="42" y="12"/>
                        <a:pt x="50" y="20"/>
                        <a:pt x="50" y="20"/>
                      </a:cubicBezTo>
                      <a:cubicBezTo>
                        <a:pt x="50" y="20"/>
                        <a:pt x="37" y="9"/>
                        <a:pt x="29" y="9"/>
                      </a:cubicBezTo>
                      <a:cubicBezTo>
                        <a:pt x="21" y="9"/>
                        <a:pt x="4" y="12"/>
                        <a:pt x="0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01">
                  <a:extLst>
                    <a:ext uri="{FF2B5EF4-FFF2-40B4-BE49-F238E27FC236}">
                      <a16:creationId xmlns:a16="http://schemas.microsoft.com/office/drawing/2014/main" id="{A3231921-4965-4A20-A4C4-455DF7A032C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51264" y="3904428"/>
                  <a:ext cx="440600" cy="1641591"/>
                </a:xfrm>
                <a:custGeom>
                  <a:avLst/>
                  <a:gdLst>
                    <a:gd name="T0" fmla="*/ 91 w 105"/>
                    <a:gd name="T1" fmla="*/ 391 h 391"/>
                    <a:gd name="T2" fmla="*/ 104 w 105"/>
                    <a:gd name="T3" fmla="*/ 369 h 391"/>
                    <a:gd name="T4" fmla="*/ 92 w 105"/>
                    <a:gd name="T5" fmla="*/ 320 h 391"/>
                    <a:gd name="T6" fmla="*/ 82 w 105"/>
                    <a:gd name="T7" fmla="*/ 238 h 391"/>
                    <a:gd name="T8" fmla="*/ 59 w 105"/>
                    <a:gd name="T9" fmla="*/ 133 h 391"/>
                    <a:gd name="T10" fmla="*/ 32 w 105"/>
                    <a:gd name="T11" fmla="*/ 15 h 391"/>
                    <a:gd name="T12" fmla="*/ 14 w 105"/>
                    <a:gd name="T13" fmla="*/ 5 h 391"/>
                    <a:gd name="T14" fmla="*/ 10 w 105"/>
                    <a:gd name="T15" fmla="*/ 0 h 391"/>
                    <a:gd name="T16" fmla="*/ 3 w 105"/>
                    <a:gd name="T17" fmla="*/ 9 h 391"/>
                    <a:gd name="T18" fmla="*/ 7 w 105"/>
                    <a:gd name="T19" fmla="*/ 39 h 391"/>
                    <a:gd name="T20" fmla="*/ 25 w 105"/>
                    <a:gd name="T21" fmla="*/ 76 h 391"/>
                    <a:gd name="T22" fmla="*/ 46 w 105"/>
                    <a:gd name="T23" fmla="*/ 149 h 391"/>
                    <a:gd name="T24" fmla="*/ 67 w 105"/>
                    <a:gd name="T25" fmla="*/ 187 h 391"/>
                    <a:gd name="T26" fmla="*/ 76 w 105"/>
                    <a:gd name="T27" fmla="*/ 234 h 391"/>
                    <a:gd name="T28" fmla="*/ 82 w 105"/>
                    <a:gd name="T29" fmla="*/ 279 h 391"/>
                    <a:gd name="T30" fmla="*/ 95 w 105"/>
                    <a:gd name="T31" fmla="*/ 354 h 391"/>
                    <a:gd name="T32" fmla="*/ 101 w 105"/>
                    <a:gd name="T33" fmla="*/ 371 h 391"/>
                    <a:gd name="T34" fmla="*/ 91 w 105"/>
                    <a:gd name="T35" fmla="*/ 391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5" h="391">
                      <a:moveTo>
                        <a:pt x="91" y="391"/>
                      </a:moveTo>
                      <a:cubicBezTo>
                        <a:pt x="91" y="391"/>
                        <a:pt x="104" y="379"/>
                        <a:pt x="104" y="369"/>
                      </a:cubicBezTo>
                      <a:cubicBezTo>
                        <a:pt x="104" y="359"/>
                        <a:pt x="93" y="351"/>
                        <a:pt x="92" y="320"/>
                      </a:cubicBezTo>
                      <a:cubicBezTo>
                        <a:pt x="91" y="288"/>
                        <a:pt x="82" y="244"/>
                        <a:pt x="82" y="238"/>
                      </a:cubicBezTo>
                      <a:cubicBezTo>
                        <a:pt x="82" y="232"/>
                        <a:pt x="62" y="146"/>
                        <a:pt x="59" y="133"/>
                      </a:cubicBezTo>
                      <a:cubicBezTo>
                        <a:pt x="55" y="120"/>
                        <a:pt x="32" y="21"/>
                        <a:pt x="32" y="15"/>
                      </a:cubicBezTo>
                      <a:cubicBezTo>
                        <a:pt x="32" y="15"/>
                        <a:pt x="19" y="12"/>
                        <a:pt x="14" y="5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7" y="8"/>
                        <a:pt x="3" y="9"/>
                      </a:cubicBezTo>
                      <a:cubicBezTo>
                        <a:pt x="3" y="9"/>
                        <a:pt x="0" y="30"/>
                        <a:pt x="7" y="39"/>
                      </a:cubicBezTo>
                      <a:cubicBezTo>
                        <a:pt x="14" y="48"/>
                        <a:pt x="25" y="67"/>
                        <a:pt x="25" y="76"/>
                      </a:cubicBezTo>
                      <a:cubicBezTo>
                        <a:pt x="26" y="85"/>
                        <a:pt x="32" y="122"/>
                        <a:pt x="46" y="149"/>
                      </a:cubicBezTo>
                      <a:cubicBezTo>
                        <a:pt x="60" y="176"/>
                        <a:pt x="62" y="169"/>
                        <a:pt x="67" y="187"/>
                      </a:cubicBezTo>
                      <a:cubicBezTo>
                        <a:pt x="72" y="205"/>
                        <a:pt x="73" y="224"/>
                        <a:pt x="76" y="234"/>
                      </a:cubicBezTo>
                      <a:cubicBezTo>
                        <a:pt x="78" y="244"/>
                        <a:pt x="79" y="265"/>
                        <a:pt x="82" y="279"/>
                      </a:cubicBezTo>
                      <a:cubicBezTo>
                        <a:pt x="86" y="293"/>
                        <a:pt x="88" y="339"/>
                        <a:pt x="95" y="354"/>
                      </a:cubicBezTo>
                      <a:cubicBezTo>
                        <a:pt x="95" y="354"/>
                        <a:pt x="105" y="365"/>
                        <a:pt x="101" y="371"/>
                      </a:cubicBezTo>
                      <a:cubicBezTo>
                        <a:pt x="98" y="376"/>
                        <a:pt x="90" y="387"/>
                        <a:pt x="91" y="391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02">
                  <a:extLst>
                    <a:ext uri="{FF2B5EF4-FFF2-40B4-BE49-F238E27FC236}">
                      <a16:creationId xmlns:a16="http://schemas.microsoft.com/office/drawing/2014/main" id="{BB0CEB9A-AFE4-4517-AE36-40FEDEF5F82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8" y="3980823"/>
                  <a:ext cx="230960" cy="1316470"/>
                </a:xfrm>
                <a:custGeom>
                  <a:avLst/>
                  <a:gdLst>
                    <a:gd name="T0" fmla="*/ 0 w 55"/>
                    <a:gd name="T1" fmla="*/ 0 h 314"/>
                    <a:gd name="T2" fmla="*/ 10 w 55"/>
                    <a:gd name="T3" fmla="*/ 69 h 314"/>
                    <a:gd name="T4" fmla="*/ 27 w 55"/>
                    <a:gd name="T5" fmla="*/ 154 h 314"/>
                    <a:gd name="T6" fmla="*/ 40 w 55"/>
                    <a:gd name="T7" fmla="*/ 232 h 314"/>
                    <a:gd name="T8" fmla="*/ 49 w 55"/>
                    <a:gd name="T9" fmla="*/ 290 h 314"/>
                    <a:gd name="T10" fmla="*/ 54 w 55"/>
                    <a:gd name="T11" fmla="*/ 314 h 314"/>
                    <a:gd name="T12" fmla="*/ 53 w 55"/>
                    <a:gd name="T13" fmla="*/ 278 h 314"/>
                    <a:gd name="T14" fmla="*/ 48 w 55"/>
                    <a:gd name="T15" fmla="*/ 249 h 314"/>
                    <a:gd name="T16" fmla="*/ 36 w 55"/>
                    <a:gd name="T17" fmla="*/ 180 h 314"/>
                    <a:gd name="T18" fmla="*/ 20 w 55"/>
                    <a:gd name="T19" fmla="*/ 105 h 314"/>
                    <a:gd name="T20" fmla="*/ 0 w 55"/>
                    <a:gd name="T21" fmla="*/ 0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5" h="314">
                      <a:moveTo>
                        <a:pt x="0" y="0"/>
                      </a:moveTo>
                      <a:cubicBezTo>
                        <a:pt x="0" y="0"/>
                        <a:pt x="7" y="54"/>
                        <a:pt x="10" y="69"/>
                      </a:cubicBezTo>
                      <a:cubicBezTo>
                        <a:pt x="13" y="85"/>
                        <a:pt x="27" y="152"/>
                        <a:pt x="27" y="154"/>
                      </a:cubicBezTo>
                      <a:cubicBezTo>
                        <a:pt x="27" y="156"/>
                        <a:pt x="40" y="229"/>
                        <a:pt x="40" y="232"/>
                      </a:cubicBezTo>
                      <a:cubicBezTo>
                        <a:pt x="40" y="234"/>
                        <a:pt x="47" y="290"/>
                        <a:pt x="49" y="290"/>
                      </a:cubicBezTo>
                      <a:cubicBezTo>
                        <a:pt x="50" y="290"/>
                        <a:pt x="54" y="314"/>
                        <a:pt x="54" y="314"/>
                      </a:cubicBezTo>
                      <a:cubicBezTo>
                        <a:pt x="54" y="314"/>
                        <a:pt x="55" y="284"/>
                        <a:pt x="53" y="278"/>
                      </a:cubicBezTo>
                      <a:cubicBezTo>
                        <a:pt x="51" y="272"/>
                        <a:pt x="48" y="259"/>
                        <a:pt x="48" y="249"/>
                      </a:cubicBezTo>
                      <a:cubicBezTo>
                        <a:pt x="48" y="239"/>
                        <a:pt x="38" y="194"/>
                        <a:pt x="36" y="180"/>
                      </a:cubicBezTo>
                      <a:cubicBezTo>
                        <a:pt x="34" y="166"/>
                        <a:pt x="24" y="114"/>
                        <a:pt x="20" y="105"/>
                      </a:cubicBezTo>
                      <a:cubicBezTo>
                        <a:pt x="17" y="96"/>
                        <a:pt x="4" y="15"/>
                        <a:pt x="0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03">
                  <a:extLst>
                    <a:ext uri="{FF2B5EF4-FFF2-40B4-BE49-F238E27FC236}">
                      <a16:creationId xmlns:a16="http://schemas.microsoft.com/office/drawing/2014/main" id="{600572FC-862C-4CB4-B23B-B7A61E6F203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47697" y="5263537"/>
                  <a:ext cx="63958" cy="310908"/>
                </a:xfrm>
                <a:custGeom>
                  <a:avLst/>
                  <a:gdLst>
                    <a:gd name="T0" fmla="*/ 7 w 15"/>
                    <a:gd name="T1" fmla="*/ 6 h 74"/>
                    <a:gd name="T2" fmla="*/ 5 w 15"/>
                    <a:gd name="T3" fmla="*/ 52 h 74"/>
                    <a:gd name="T4" fmla="*/ 0 w 15"/>
                    <a:gd name="T5" fmla="*/ 74 h 74"/>
                    <a:gd name="T6" fmla="*/ 11 w 15"/>
                    <a:gd name="T7" fmla="*/ 37 h 74"/>
                    <a:gd name="T8" fmla="*/ 7 w 15"/>
                    <a:gd name="T9" fmla="*/ 6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74">
                      <a:moveTo>
                        <a:pt x="7" y="6"/>
                      </a:moveTo>
                      <a:cubicBezTo>
                        <a:pt x="7" y="6"/>
                        <a:pt x="6" y="47"/>
                        <a:pt x="5" y="52"/>
                      </a:cubicBezTo>
                      <a:cubicBezTo>
                        <a:pt x="3" y="57"/>
                        <a:pt x="0" y="74"/>
                        <a:pt x="0" y="74"/>
                      </a:cubicBezTo>
                      <a:cubicBezTo>
                        <a:pt x="0" y="74"/>
                        <a:pt x="7" y="74"/>
                        <a:pt x="11" y="37"/>
                      </a:cubicBezTo>
                      <a:cubicBezTo>
                        <a:pt x="15" y="0"/>
                        <a:pt x="7" y="6"/>
                        <a:pt x="7" y="6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04">
                  <a:extLst>
                    <a:ext uri="{FF2B5EF4-FFF2-40B4-BE49-F238E27FC236}">
                      <a16:creationId xmlns:a16="http://schemas.microsoft.com/office/drawing/2014/main" id="{F98F6668-CBD1-44CC-9835-E33217B452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31213" y="4677255"/>
                  <a:ext cx="159896" cy="573846"/>
                </a:xfrm>
                <a:custGeom>
                  <a:avLst/>
                  <a:gdLst>
                    <a:gd name="T0" fmla="*/ 0 w 38"/>
                    <a:gd name="T1" fmla="*/ 0 h 137"/>
                    <a:gd name="T2" fmla="*/ 24 w 38"/>
                    <a:gd name="T3" fmla="*/ 95 h 137"/>
                    <a:gd name="T4" fmla="*/ 36 w 38"/>
                    <a:gd name="T5" fmla="*/ 136 h 137"/>
                    <a:gd name="T6" fmla="*/ 10 w 38"/>
                    <a:gd name="T7" fmla="*/ 62 h 137"/>
                    <a:gd name="T8" fmla="*/ 0 w 38"/>
                    <a:gd name="T9" fmla="*/ 0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137">
                      <a:moveTo>
                        <a:pt x="0" y="0"/>
                      </a:moveTo>
                      <a:cubicBezTo>
                        <a:pt x="0" y="0"/>
                        <a:pt x="19" y="70"/>
                        <a:pt x="24" y="95"/>
                      </a:cubicBezTo>
                      <a:cubicBezTo>
                        <a:pt x="30" y="119"/>
                        <a:pt x="33" y="136"/>
                        <a:pt x="36" y="136"/>
                      </a:cubicBezTo>
                      <a:cubicBezTo>
                        <a:pt x="38" y="137"/>
                        <a:pt x="18" y="115"/>
                        <a:pt x="10" y="6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05">
                  <a:extLst>
                    <a:ext uri="{FF2B5EF4-FFF2-40B4-BE49-F238E27FC236}">
                      <a16:creationId xmlns:a16="http://schemas.microsoft.com/office/drawing/2014/main" id="{BB5D42C1-49DF-4355-AE33-82DFB634BE7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31708" y="3392765"/>
                  <a:ext cx="104820" cy="428163"/>
                </a:xfrm>
                <a:custGeom>
                  <a:avLst/>
                  <a:gdLst>
                    <a:gd name="T0" fmla="*/ 22 w 25"/>
                    <a:gd name="T1" fmla="*/ 0 h 102"/>
                    <a:gd name="T2" fmla="*/ 14 w 25"/>
                    <a:gd name="T3" fmla="*/ 38 h 102"/>
                    <a:gd name="T4" fmla="*/ 7 w 25"/>
                    <a:gd name="T5" fmla="*/ 89 h 102"/>
                    <a:gd name="T6" fmla="*/ 19 w 25"/>
                    <a:gd name="T7" fmla="*/ 41 h 102"/>
                    <a:gd name="T8" fmla="*/ 25 w 25"/>
                    <a:gd name="T9" fmla="*/ 23 h 102"/>
                    <a:gd name="T10" fmla="*/ 22 w 25"/>
                    <a:gd name="T11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102">
                      <a:moveTo>
                        <a:pt x="22" y="0"/>
                      </a:moveTo>
                      <a:cubicBezTo>
                        <a:pt x="22" y="0"/>
                        <a:pt x="13" y="26"/>
                        <a:pt x="14" y="38"/>
                      </a:cubicBezTo>
                      <a:cubicBezTo>
                        <a:pt x="14" y="49"/>
                        <a:pt x="13" y="76"/>
                        <a:pt x="7" y="89"/>
                      </a:cubicBezTo>
                      <a:cubicBezTo>
                        <a:pt x="0" y="102"/>
                        <a:pt x="17" y="68"/>
                        <a:pt x="19" y="41"/>
                      </a:cubicBezTo>
                      <a:cubicBezTo>
                        <a:pt x="22" y="15"/>
                        <a:pt x="25" y="23"/>
                        <a:pt x="25" y="23"/>
                      </a:cubicBez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06">
                  <a:extLst>
                    <a:ext uri="{FF2B5EF4-FFF2-40B4-BE49-F238E27FC236}">
                      <a16:creationId xmlns:a16="http://schemas.microsoft.com/office/drawing/2014/main" id="{259A673F-5C55-4ABD-9B65-E40AA303D1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17246" y="3199112"/>
                  <a:ext cx="406844" cy="197204"/>
                </a:xfrm>
                <a:custGeom>
                  <a:avLst/>
                  <a:gdLst>
                    <a:gd name="T0" fmla="*/ 97 w 97"/>
                    <a:gd name="T1" fmla="*/ 0 h 47"/>
                    <a:gd name="T2" fmla="*/ 11 w 97"/>
                    <a:gd name="T3" fmla="*/ 35 h 47"/>
                    <a:gd name="T4" fmla="*/ 0 w 97"/>
                    <a:gd name="T5" fmla="*/ 37 h 47"/>
                    <a:gd name="T6" fmla="*/ 48 w 97"/>
                    <a:gd name="T7" fmla="*/ 29 h 47"/>
                    <a:gd name="T8" fmla="*/ 96 w 97"/>
                    <a:gd name="T9" fmla="*/ 5 h 47"/>
                    <a:gd name="T10" fmla="*/ 97 w 97"/>
                    <a:gd name="T1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7" h="47">
                      <a:moveTo>
                        <a:pt x="97" y="0"/>
                      </a:moveTo>
                      <a:cubicBezTo>
                        <a:pt x="97" y="0"/>
                        <a:pt x="34" y="32"/>
                        <a:pt x="11" y="35"/>
                      </a:cubicBezTo>
                      <a:cubicBezTo>
                        <a:pt x="11" y="35"/>
                        <a:pt x="3" y="38"/>
                        <a:pt x="0" y="37"/>
                      </a:cubicBezTo>
                      <a:cubicBezTo>
                        <a:pt x="0" y="37"/>
                        <a:pt x="1" y="47"/>
                        <a:pt x="48" y="29"/>
                      </a:cubicBezTo>
                      <a:cubicBezTo>
                        <a:pt x="48" y="29"/>
                        <a:pt x="95" y="10"/>
                        <a:pt x="96" y="5"/>
                      </a:cubicBezTo>
                      <a:lnTo>
                        <a:pt x="97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07">
                  <a:extLst>
                    <a:ext uri="{FF2B5EF4-FFF2-40B4-BE49-F238E27FC236}">
                      <a16:creationId xmlns:a16="http://schemas.microsoft.com/office/drawing/2014/main" id="{44E5EC1D-7619-4DC2-802F-66831DB35A2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78161" y="3174241"/>
                  <a:ext cx="97713" cy="181215"/>
                </a:xfrm>
                <a:custGeom>
                  <a:avLst/>
                  <a:gdLst>
                    <a:gd name="T0" fmla="*/ 23 w 23"/>
                    <a:gd name="T1" fmla="*/ 0 h 43"/>
                    <a:gd name="T2" fmla="*/ 14 w 23"/>
                    <a:gd name="T3" fmla="*/ 41 h 43"/>
                    <a:gd name="T4" fmla="*/ 0 w 23"/>
                    <a:gd name="T5" fmla="*/ 34 h 43"/>
                    <a:gd name="T6" fmla="*/ 23 w 23"/>
                    <a:gd name="T7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43">
                      <a:moveTo>
                        <a:pt x="23" y="0"/>
                      </a:moveTo>
                      <a:cubicBezTo>
                        <a:pt x="23" y="0"/>
                        <a:pt x="22" y="39"/>
                        <a:pt x="14" y="41"/>
                      </a:cubicBezTo>
                      <a:cubicBezTo>
                        <a:pt x="6" y="42"/>
                        <a:pt x="5" y="43"/>
                        <a:pt x="0" y="34"/>
                      </a:cubicBezTo>
                      <a:cubicBezTo>
                        <a:pt x="0" y="34"/>
                        <a:pt x="4" y="33"/>
                        <a:pt x="23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08">
                  <a:extLst>
                    <a:ext uri="{FF2B5EF4-FFF2-40B4-BE49-F238E27FC236}">
                      <a16:creationId xmlns:a16="http://schemas.microsoft.com/office/drawing/2014/main" id="{F6523ECF-5681-43FE-92C1-F0F3ED8063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21558" y="3216878"/>
                  <a:ext cx="181215" cy="440600"/>
                </a:xfrm>
                <a:custGeom>
                  <a:avLst/>
                  <a:gdLst>
                    <a:gd name="T0" fmla="*/ 43 w 43"/>
                    <a:gd name="T1" fmla="*/ 4 h 105"/>
                    <a:gd name="T2" fmla="*/ 24 w 43"/>
                    <a:gd name="T3" fmla="*/ 47 h 105"/>
                    <a:gd name="T4" fmla="*/ 15 w 43"/>
                    <a:gd name="T5" fmla="*/ 61 h 105"/>
                    <a:gd name="T6" fmla="*/ 3 w 43"/>
                    <a:gd name="T7" fmla="*/ 88 h 105"/>
                    <a:gd name="T8" fmla="*/ 11 w 43"/>
                    <a:gd name="T9" fmla="*/ 53 h 105"/>
                    <a:gd name="T10" fmla="*/ 29 w 43"/>
                    <a:gd name="T11" fmla="*/ 21 h 105"/>
                    <a:gd name="T12" fmla="*/ 43 w 43"/>
                    <a:gd name="T13" fmla="*/ 4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05">
                      <a:moveTo>
                        <a:pt x="43" y="4"/>
                      </a:moveTo>
                      <a:cubicBezTo>
                        <a:pt x="43" y="4"/>
                        <a:pt x="24" y="42"/>
                        <a:pt x="24" y="47"/>
                      </a:cubicBezTo>
                      <a:cubicBezTo>
                        <a:pt x="23" y="53"/>
                        <a:pt x="18" y="58"/>
                        <a:pt x="15" y="61"/>
                      </a:cubicBezTo>
                      <a:cubicBezTo>
                        <a:pt x="13" y="64"/>
                        <a:pt x="6" y="72"/>
                        <a:pt x="3" y="88"/>
                      </a:cubicBezTo>
                      <a:cubicBezTo>
                        <a:pt x="0" y="105"/>
                        <a:pt x="0" y="73"/>
                        <a:pt x="11" y="53"/>
                      </a:cubicBezTo>
                      <a:cubicBezTo>
                        <a:pt x="22" y="34"/>
                        <a:pt x="23" y="36"/>
                        <a:pt x="29" y="21"/>
                      </a:cubicBezTo>
                      <a:cubicBezTo>
                        <a:pt x="36" y="5"/>
                        <a:pt x="41" y="0"/>
                        <a:pt x="43" y="4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09">
                  <a:extLst>
                    <a:ext uri="{FF2B5EF4-FFF2-40B4-BE49-F238E27FC236}">
                      <a16:creationId xmlns:a16="http://schemas.microsoft.com/office/drawing/2014/main" id="{40A634BC-8F2E-4D7B-9F5A-D9EFE446DC1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03543" y="3442510"/>
                  <a:ext cx="255832" cy="30202"/>
                </a:xfrm>
                <a:custGeom>
                  <a:avLst/>
                  <a:gdLst>
                    <a:gd name="T0" fmla="*/ 6 w 61"/>
                    <a:gd name="T1" fmla="*/ 0 h 7"/>
                    <a:gd name="T2" fmla="*/ 40 w 61"/>
                    <a:gd name="T3" fmla="*/ 2 h 7"/>
                    <a:gd name="T4" fmla="*/ 61 w 61"/>
                    <a:gd name="T5" fmla="*/ 2 h 7"/>
                    <a:gd name="T6" fmla="*/ 25 w 61"/>
                    <a:gd name="T7" fmla="*/ 7 h 7"/>
                    <a:gd name="T8" fmla="*/ 6 w 61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7">
                      <a:moveTo>
                        <a:pt x="6" y="0"/>
                      </a:moveTo>
                      <a:cubicBezTo>
                        <a:pt x="6" y="0"/>
                        <a:pt x="24" y="3"/>
                        <a:pt x="40" y="2"/>
                      </a:cubicBezTo>
                      <a:cubicBezTo>
                        <a:pt x="55" y="2"/>
                        <a:pt x="61" y="2"/>
                        <a:pt x="61" y="2"/>
                      </a:cubicBezTo>
                      <a:cubicBezTo>
                        <a:pt x="61" y="2"/>
                        <a:pt x="50" y="7"/>
                        <a:pt x="25" y="7"/>
                      </a:cubicBezTo>
                      <a:cubicBezTo>
                        <a:pt x="0" y="7"/>
                        <a:pt x="1" y="1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10">
                  <a:extLst>
                    <a:ext uri="{FF2B5EF4-FFF2-40B4-BE49-F238E27FC236}">
                      <a16:creationId xmlns:a16="http://schemas.microsoft.com/office/drawing/2014/main" id="{204F7ACC-D1F6-45F2-9B0F-AE68356ACE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7509" y="3396318"/>
                  <a:ext cx="67511" cy="206087"/>
                </a:xfrm>
                <a:custGeom>
                  <a:avLst/>
                  <a:gdLst>
                    <a:gd name="T0" fmla="*/ 0 w 16"/>
                    <a:gd name="T1" fmla="*/ 38 h 49"/>
                    <a:gd name="T2" fmla="*/ 13 w 16"/>
                    <a:gd name="T3" fmla="*/ 6 h 49"/>
                    <a:gd name="T4" fmla="*/ 14 w 16"/>
                    <a:gd name="T5" fmla="*/ 13 h 49"/>
                    <a:gd name="T6" fmla="*/ 2 w 16"/>
                    <a:gd name="T7" fmla="*/ 49 h 49"/>
                    <a:gd name="T8" fmla="*/ 0 w 16"/>
                    <a:gd name="T9" fmla="*/ 38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49">
                      <a:moveTo>
                        <a:pt x="0" y="38"/>
                      </a:moveTo>
                      <a:cubicBezTo>
                        <a:pt x="0" y="38"/>
                        <a:pt x="11" y="11"/>
                        <a:pt x="13" y="6"/>
                      </a:cubicBezTo>
                      <a:cubicBezTo>
                        <a:pt x="16" y="0"/>
                        <a:pt x="15" y="9"/>
                        <a:pt x="14" y="13"/>
                      </a:cubicBezTo>
                      <a:cubicBezTo>
                        <a:pt x="14" y="17"/>
                        <a:pt x="4" y="48"/>
                        <a:pt x="2" y="49"/>
                      </a:cubicBezTo>
                      <a:cubicBezTo>
                        <a:pt x="1" y="49"/>
                        <a:pt x="0" y="38"/>
                        <a:pt x="0" y="3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11">
                  <a:extLst>
                    <a:ext uri="{FF2B5EF4-FFF2-40B4-BE49-F238E27FC236}">
                      <a16:creationId xmlns:a16="http://schemas.microsoft.com/office/drawing/2014/main" id="{F4BE2349-AC30-45E9-8CC3-47C085C405A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32479" y="2444052"/>
                  <a:ext cx="481462" cy="582729"/>
                </a:xfrm>
                <a:custGeom>
                  <a:avLst/>
                  <a:gdLst>
                    <a:gd name="T0" fmla="*/ 94 w 115"/>
                    <a:gd name="T1" fmla="*/ 0 h 139"/>
                    <a:gd name="T2" fmla="*/ 88 w 115"/>
                    <a:gd name="T3" fmla="*/ 49 h 139"/>
                    <a:gd name="T4" fmla="*/ 103 w 115"/>
                    <a:gd name="T5" fmla="*/ 105 h 139"/>
                    <a:gd name="T6" fmla="*/ 112 w 115"/>
                    <a:gd name="T7" fmla="*/ 109 h 139"/>
                    <a:gd name="T8" fmla="*/ 106 w 115"/>
                    <a:gd name="T9" fmla="*/ 117 h 139"/>
                    <a:gd name="T10" fmla="*/ 82 w 115"/>
                    <a:gd name="T11" fmla="*/ 131 h 139"/>
                    <a:gd name="T12" fmla="*/ 70 w 115"/>
                    <a:gd name="T13" fmla="*/ 136 h 139"/>
                    <a:gd name="T14" fmla="*/ 86 w 115"/>
                    <a:gd name="T15" fmla="*/ 117 h 139"/>
                    <a:gd name="T16" fmla="*/ 91 w 115"/>
                    <a:gd name="T17" fmla="*/ 100 h 139"/>
                    <a:gd name="T18" fmla="*/ 75 w 115"/>
                    <a:gd name="T19" fmla="*/ 108 h 139"/>
                    <a:gd name="T20" fmla="*/ 44 w 115"/>
                    <a:gd name="T21" fmla="*/ 127 h 139"/>
                    <a:gd name="T22" fmla="*/ 11 w 115"/>
                    <a:gd name="T23" fmla="*/ 136 h 139"/>
                    <a:gd name="T24" fmla="*/ 15 w 115"/>
                    <a:gd name="T25" fmla="*/ 125 h 139"/>
                    <a:gd name="T26" fmla="*/ 70 w 115"/>
                    <a:gd name="T27" fmla="*/ 85 h 139"/>
                    <a:gd name="T28" fmla="*/ 80 w 115"/>
                    <a:gd name="T29" fmla="*/ 57 h 139"/>
                    <a:gd name="T30" fmla="*/ 94 w 115"/>
                    <a:gd name="T31" fmla="*/ 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5" h="139">
                      <a:moveTo>
                        <a:pt x="94" y="0"/>
                      </a:moveTo>
                      <a:cubicBezTo>
                        <a:pt x="94" y="0"/>
                        <a:pt x="87" y="41"/>
                        <a:pt x="88" y="49"/>
                      </a:cubicBezTo>
                      <a:cubicBezTo>
                        <a:pt x="90" y="56"/>
                        <a:pt x="101" y="102"/>
                        <a:pt x="103" y="105"/>
                      </a:cubicBezTo>
                      <a:cubicBezTo>
                        <a:pt x="105" y="108"/>
                        <a:pt x="108" y="111"/>
                        <a:pt x="112" y="109"/>
                      </a:cubicBezTo>
                      <a:cubicBezTo>
                        <a:pt x="115" y="108"/>
                        <a:pt x="115" y="114"/>
                        <a:pt x="106" y="117"/>
                      </a:cubicBezTo>
                      <a:cubicBezTo>
                        <a:pt x="98" y="120"/>
                        <a:pt x="88" y="127"/>
                        <a:pt x="82" y="131"/>
                      </a:cubicBezTo>
                      <a:cubicBezTo>
                        <a:pt x="76" y="134"/>
                        <a:pt x="76" y="133"/>
                        <a:pt x="70" y="136"/>
                      </a:cubicBezTo>
                      <a:cubicBezTo>
                        <a:pt x="64" y="139"/>
                        <a:pt x="79" y="123"/>
                        <a:pt x="86" y="117"/>
                      </a:cubicBezTo>
                      <a:cubicBezTo>
                        <a:pt x="94" y="110"/>
                        <a:pt x="92" y="102"/>
                        <a:pt x="91" y="100"/>
                      </a:cubicBezTo>
                      <a:cubicBezTo>
                        <a:pt x="89" y="97"/>
                        <a:pt x="81" y="104"/>
                        <a:pt x="75" y="108"/>
                      </a:cubicBezTo>
                      <a:cubicBezTo>
                        <a:pt x="68" y="112"/>
                        <a:pt x="50" y="125"/>
                        <a:pt x="44" y="127"/>
                      </a:cubicBezTo>
                      <a:cubicBezTo>
                        <a:pt x="37" y="129"/>
                        <a:pt x="21" y="136"/>
                        <a:pt x="11" y="136"/>
                      </a:cubicBezTo>
                      <a:cubicBezTo>
                        <a:pt x="11" y="136"/>
                        <a:pt x="0" y="132"/>
                        <a:pt x="15" y="125"/>
                      </a:cubicBezTo>
                      <a:cubicBezTo>
                        <a:pt x="31" y="118"/>
                        <a:pt x="51" y="88"/>
                        <a:pt x="70" y="85"/>
                      </a:cubicBezTo>
                      <a:cubicBezTo>
                        <a:pt x="88" y="83"/>
                        <a:pt x="81" y="65"/>
                        <a:pt x="80" y="57"/>
                      </a:cubicBezTo>
                      <a:cubicBezTo>
                        <a:pt x="80" y="49"/>
                        <a:pt x="87" y="7"/>
                        <a:pt x="94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Freeform 112">
                  <a:extLst>
                    <a:ext uri="{FF2B5EF4-FFF2-40B4-BE49-F238E27FC236}">
                      <a16:creationId xmlns:a16="http://schemas.microsoft.com/office/drawing/2014/main" id="{2142CF63-94A6-43BD-82C3-8756F1032E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33994" y="2650139"/>
                  <a:ext cx="374865" cy="243397"/>
                </a:xfrm>
                <a:custGeom>
                  <a:avLst/>
                  <a:gdLst>
                    <a:gd name="T0" fmla="*/ 0 w 89"/>
                    <a:gd name="T1" fmla="*/ 2 h 58"/>
                    <a:gd name="T2" fmla="*/ 26 w 89"/>
                    <a:gd name="T3" fmla="*/ 10 h 58"/>
                    <a:gd name="T4" fmla="*/ 82 w 89"/>
                    <a:gd name="T5" fmla="*/ 49 h 58"/>
                    <a:gd name="T6" fmla="*/ 89 w 89"/>
                    <a:gd name="T7" fmla="*/ 58 h 58"/>
                    <a:gd name="T8" fmla="*/ 65 w 89"/>
                    <a:gd name="T9" fmla="*/ 45 h 58"/>
                    <a:gd name="T10" fmla="*/ 40 w 89"/>
                    <a:gd name="T11" fmla="*/ 32 h 58"/>
                    <a:gd name="T12" fmla="*/ 25 w 89"/>
                    <a:gd name="T13" fmla="*/ 19 h 58"/>
                    <a:gd name="T14" fmla="*/ 0 w 89"/>
                    <a:gd name="T15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9" h="58">
                      <a:moveTo>
                        <a:pt x="0" y="2"/>
                      </a:moveTo>
                      <a:cubicBezTo>
                        <a:pt x="0" y="2"/>
                        <a:pt x="10" y="0"/>
                        <a:pt x="26" y="10"/>
                      </a:cubicBezTo>
                      <a:cubicBezTo>
                        <a:pt x="42" y="20"/>
                        <a:pt x="76" y="40"/>
                        <a:pt x="82" y="49"/>
                      </a:cubicBezTo>
                      <a:cubicBezTo>
                        <a:pt x="89" y="58"/>
                        <a:pt x="89" y="58"/>
                        <a:pt x="89" y="58"/>
                      </a:cubicBezTo>
                      <a:cubicBezTo>
                        <a:pt x="89" y="58"/>
                        <a:pt x="70" y="46"/>
                        <a:pt x="65" y="45"/>
                      </a:cubicBezTo>
                      <a:cubicBezTo>
                        <a:pt x="59" y="43"/>
                        <a:pt x="43" y="36"/>
                        <a:pt x="40" y="32"/>
                      </a:cubicBezTo>
                      <a:cubicBezTo>
                        <a:pt x="38" y="28"/>
                        <a:pt x="33" y="25"/>
                        <a:pt x="25" y="19"/>
                      </a:cubicBezTo>
                      <a:cubicBezTo>
                        <a:pt x="17" y="14"/>
                        <a:pt x="5" y="0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Freeform 113">
                  <a:extLst>
                    <a:ext uri="{FF2B5EF4-FFF2-40B4-BE49-F238E27FC236}">
                      <a16:creationId xmlns:a16="http://schemas.microsoft.com/office/drawing/2014/main" id="{0475FB5A-44FD-4CB5-A21F-FC82E9EF86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21558" y="2703439"/>
                  <a:ext cx="307354" cy="230960"/>
                </a:xfrm>
                <a:custGeom>
                  <a:avLst/>
                  <a:gdLst>
                    <a:gd name="T0" fmla="*/ 8 w 73"/>
                    <a:gd name="T1" fmla="*/ 8 h 55"/>
                    <a:gd name="T2" fmla="*/ 39 w 73"/>
                    <a:gd name="T3" fmla="*/ 26 h 55"/>
                    <a:gd name="T4" fmla="*/ 60 w 73"/>
                    <a:gd name="T5" fmla="*/ 29 h 55"/>
                    <a:gd name="T6" fmla="*/ 68 w 73"/>
                    <a:gd name="T7" fmla="*/ 36 h 55"/>
                    <a:gd name="T8" fmla="*/ 39 w 73"/>
                    <a:gd name="T9" fmla="*/ 35 h 55"/>
                    <a:gd name="T10" fmla="*/ 12 w 73"/>
                    <a:gd name="T11" fmla="*/ 45 h 55"/>
                    <a:gd name="T12" fmla="*/ 9 w 73"/>
                    <a:gd name="T13" fmla="*/ 28 h 55"/>
                    <a:gd name="T14" fmla="*/ 8 w 73"/>
                    <a:gd name="T15" fmla="*/ 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3" h="55">
                      <a:moveTo>
                        <a:pt x="8" y="8"/>
                      </a:moveTo>
                      <a:cubicBezTo>
                        <a:pt x="8" y="8"/>
                        <a:pt x="32" y="24"/>
                        <a:pt x="39" y="26"/>
                      </a:cubicBezTo>
                      <a:cubicBezTo>
                        <a:pt x="46" y="28"/>
                        <a:pt x="55" y="27"/>
                        <a:pt x="60" y="29"/>
                      </a:cubicBezTo>
                      <a:cubicBezTo>
                        <a:pt x="65" y="32"/>
                        <a:pt x="73" y="36"/>
                        <a:pt x="68" y="36"/>
                      </a:cubicBezTo>
                      <a:cubicBezTo>
                        <a:pt x="63" y="37"/>
                        <a:pt x="44" y="35"/>
                        <a:pt x="39" y="35"/>
                      </a:cubicBezTo>
                      <a:cubicBezTo>
                        <a:pt x="34" y="36"/>
                        <a:pt x="18" y="35"/>
                        <a:pt x="12" y="45"/>
                      </a:cubicBezTo>
                      <a:cubicBezTo>
                        <a:pt x="6" y="55"/>
                        <a:pt x="2" y="31"/>
                        <a:pt x="9" y="28"/>
                      </a:cubicBezTo>
                      <a:cubicBezTo>
                        <a:pt x="15" y="26"/>
                        <a:pt x="0" y="0"/>
                        <a:pt x="8" y="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14">
                  <a:extLst>
                    <a:ext uri="{FF2B5EF4-FFF2-40B4-BE49-F238E27FC236}">
                      <a16:creationId xmlns:a16="http://schemas.microsoft.com/office/drawing/2014/main" id="{A8F5EF54-7D5E-49B7-AEBF-C2B4D4F0E8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69017" y="2293039"/>
                  <a:ext cx="181215" cy="113703"/>
                </a:xfrm>
                <a:custGeom>
                  <a:avLst/>
                  <a:gdLst>
                    <a:gd name="T0" fmla="*/ 41 w 43"/>
                    <a:gd name="T1" fmla="*/ 19 h 27"/>
                    <a:gd name="T2" fmla="*/ 19 w 43"/>
                    <a:gd name="T3" fmla="*/ 5 h 27"/>
                    <a:gd name="T4" fmla="*/ 4 w 43"/>
                    <a:gd name="T5" fmla="*/ 6 h 27"/>
                    <a:gd name="T6" fmla="*/ 22 w 43"/>
                    <a:gd name="T7" fmla="*/ 16 h 27"/>
                    <a:gd name="T8" fmla="*/ 43 w 43"/>
                    <a:gd name="T9" fmla="*/ 25 h 27"/>
                    <a:gd name="T10" fmla="*/ 41 w 43"/>
                    <a:gd name="T11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27">
                      <a:moveTo>
                        <a:pt x="41" y="19"/>
                      </a:moveTo>
                      <a:cubicBezTo>
                        <a:pt x="41" y="19"/>
                        <a:pt x="21" y="10"/>
                        <a:pt x="19" y="5"/>
                      </a:cubicBezTo>
                      <a:cubicBezTo>
                        <a:pt x="17" y="0"/>
                        <a:pt x="7" y="1"/>
                        <a:pt x="4" y="6"/>
                      </a:cubicBezTo>
                      <a:cubicBezTo>
                        <a:pt x="0" y="10"/>
                        <a:pt x="13" y="8"/>
                        <a:pt x="22" y="16"/>
                      </a:cubicBezTo>
                      <a:cubicBezTo>
                        <a:pt x="31" y="23"/>
                        <a:pt x="43" y="27"/>
                        <a:pt x="43" y="25"/>
                      </a:cubicBezTo>
                      <a:cubicBezTo>
                        <a:pt x="43" y="22"/>
                        <a:pt x="41" y="19"/>
                        <a:pt x="41" y="19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15">
                  <a:extLst>
                    <a:ext uri="{FF2B5EF4-FFF2-40B4-BE49-F238E27FC236}">
                      <a16:creationId xmlns:a16="http://schemas.microsoft.com/office/drawing/2014/main" id="{D158AB73-469D-4165-831B-9C0660D6DB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673838" y="2909526"/>
                  <a:ext cx="95937" cy="151012"/>
                </a:xfrm>
                <a:custGeom>
                  <a:avLst/>
                  <a:gdLst>
                    <a:gd name="T0" fmla="*/ 23 w 23"/>
                    <a:gd name="T1" fmla="*/ 36 h 36"/>
                    <a:gd name="T2" fmla="*/ 6 w 23"/>
                    <a:gd name="T3" fmla="*/ 20 h 36"/>
                    <a:gd name="T4" fmla="*/ 0 w 23"/>
                    <a:gd name="T5" fmla="*/ 0 h 36"/>
                    <a:gd name="T6" fmla="*/ 8 w 23"/>
                    <a:gd name="T7" fmla="*/ 7 h 36"/>
                    <a:gd name="T8" fmla="*/ 16 w 23"/>
                    <a:gd name="T9" fmla="*/ 9 h 36"/>
                    <a:gd name="T10" fmla="*/ 11 w 23"/>
                    <a:gd name="T11" fmla="*/ 15 h 36"/>
                    <a:gd name="T12" fmla="*/ 23 w 23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" h="36">
                      <a:moveTo>
                        <a:pt x="23" y="36"/>
                      </a:moveTo>
                      <a:cubicBezTo>
                        <a:pt x="23" y="36"/>
                        <a:pt x="9" y="29"/>
                        <a:pt x="6" y="20"/>
                      </a:cubicBezTo>
                      <a:cubicBezTo>
                        <a:pt x="3" y="11"/>
                        <a:pt x="0" y="0"/>
                        <a:pt x="0" y="0"/>
                      </a:cubicBezTo>
                      <a:cubicBezTo>
                        <a:pt x="0" y="0"/>
                        <a:pt x="3" y="4"/>
                        <a:pt x="8" y="7"/>
                      </a:cubicBezTo>
                      <a:cubicBezTo>
                        <a:pt x="13" y="9"/>
                        <a:pt x="15" y="7"/>
                        <a:pt x="16" y="9"/>
                      </a:cubicBezTo>
                      <a:cubicBezTo>
                        <a:pt x="18" y="11"/>
                        <a:pt x="9" y="8"/>
                        <a:pt x="11" y="15"/>
                      </a:cubicBezTo>
                      <a:cubicBezTo>
                        <a:pt x="13" y="21"/>
                        <a:pt x="20" y="31"/>
                        <a:pt x="23" y="36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16">
                  <a:extLst>
                    <a:ext uri="{FF2B5EF4-FFF2-40B4-BE49-F238E27FC236}">
                      <a16:creationId xmlns:a16="http://schemas.microsoft.com/office/drawing/2014/main" id="{13201595-50EA-46BC-8284-526F9DDC310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51759" y="2216646"/>
                  <a:ext cx="154565" cy="184768"/>
                </a:xfrm>
                <a:custGeom>
                  <a:avLst/>
                  <a:gdLst>
                    <a:gd name="T0" fmla="*/ 37 w 37"/>
                    <a:gd name="T1" fmla="*/ 0 h 44"/>
                    <a:gd name="T2" fmla="*/ 9 w 37"/>
                    <a:gd name="T3" fmla="*/ 26 h 44"/>
                    <a:gd name="T4" fmla="*/ 0 w 37"/>
                    <a:gd name="T5" fmla="*/ 44 h 44"/>
                    <a:gd name="T6" fmla="*/ 37 w 37"/>
                    <a:gd name="T7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" h="44">
                      <a:moveTo>
                        <a:pt x="37" y="0"/>
                      </a:moveTo>
                      <a:cubicBezTo>
                        <a:pt x="37" y="0"/>
                        <a:pt x="22" y="5"/>
                        <a:pt x="9" y="26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44"/>
                        <a:pt x="20" y="13"/>
                        <a:pt x="37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17">
                  <a:extLst>
                    <a:ext uri="{FF2B5EF4-FFF2-40B4-BE49-F238E27FC236}">
                      <a16:creationId xmlns:a16="http://schemas.microsoft.com/office/drawing/2014/main" id="{C986D6F2-7EEA-40BB-A640-E954C2B4F0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88311" y="3010792"/>
                  <a:ext cx="142129" cy="222076"/>
                </a:xfrm>
                <a:custGeom>
                  <a:avLst/>
                  <a:gdLst>
                    <a:gd name="T0" fmla="*/ 24 w 34"/>
                    <a:gd name="T1" fmla="*/ 3 h 53"/>
                    <a:gd name="T2" fmla="*/ 26 w 34"/>
                    <a:gd name="T3" fmla="*/ 14 h 53"/>
                    <a:gd name="T4" fmla="*/ 8 w 34"/>
                    <a:gd name="T5" fmla="*/ 14 h 53"/>
                    <a:gd name="T6" fmla="*/ 10 w 34"/>
                    <a:gd name="T7" fmla="*/ 26 h 53"/>
                    <a:gd name="T8" fmla="*/ 19 w 34"/>
                    <a:gd name="T9" fmla="*/ 51 h 53"/>
                    <a:gd name="T10" fmla="*/ 23 w 34"/>
                    <a:gd name="T11" fmla="*/ 33 h 53"/>
                    <a:gd name="T12" fmla="*/ 28 w 34"/>
                    <a:gd name="T13" fmla="*/ 21 h 53"/>
                    <a:gd name="T14" fmla="*/ 24 w 34"/>
                    <a:gd name="T15" fmla="*/ 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53">
                      <a:moveTo>
                        <a:pt x="24" y="3"/>
                      </a:moveTo>
                      <a:cubicBezTo>
                        <a:pt x="24" y="3"/>
                        <a:pt x="31" y="12"/>
                        <a:pt x="26" y="14"/>
                      </a:cubicBezTo>
                      <a:cubicBezTo>
                        <a:pt x="21" y="16"/>
                        <a:pt x="16" y="19"/>
                        <a:pt x="8" y="14"/>
                      </a:cubicBezTo>
                      <a:cubicBezTo>
                        <a:pt x="0" y="9"/>
                        <a:pt x="8" y="19"/>
                        <a:pt x="10" y="26"/>
                      </a:cubicBezTo>
                      <a:cubicBezTo>
                        <a:pt x="12" y="33"/>
                        <a:pt x="18" y="53"/>
                        <a:pt x="19" y="51"/>
                      </a:cubicBezTo>
                      <a:cubicBezTo>
                        <a:pt x="20" y="50"/>
                        <a:pt x="23" y="41"/>
                        <a:pt x="23" y="33"/>
                      </a:cubicBezTo>
                      <a:cubicBezTo>
                        <a:pt x="23" y="26"/>
                        <a:pt x="22" y="26"/>
                        <a:pt x="28" y="21"/>
                      </a:cubicBezTo>
                      <a:cubicBezTo>
                        <a:pt x="33" y="17"/>
                        <a:pt x="34" y="0"/>
                        <a:pt x="24" y="3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18">
                  <a:extLst>
                    <a:ext uri="{FF2B5EF4-FFF2-40B4-BE49-F238E27FC236}">
                      <a16:creationId xmlns:a16="http://schemas.microsoft.com/office/drawing/2014/main" id="{992CF617-1864-4E2C-A261-3069C61824D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58109" y="2124262"/>
                  <a:ext cx="163448" cy="197204"/>
                </a:xfrm>
                <a:custGeom>
                  <a:avLst/>
                  <a:gdLst>
                    <a:gd name="T0" fmla="*/ 39 w 39"/>
                    <a:gd name="T1" fmla="*/ 0 h 47"/>
                    <a:gd name="T2" fmla="*/ 18 w 39"/>
                    <a:gd name="T3" fmla="*/ 31 h 47"/>
                    <a:gd name="T4" fmla="*/ 16 w 39"/>
                    <a:gd name="T5" fmla="*/ 38 h 47"/>
                    <a:gd name="T6" fmla="*/ 0 w 39"/>
                    <a:gd name="T7" fmla="*/ 47 h 47"/>
                    <a:gd name="T8" fmla="*/ 18 w 39"/>
                    <a:gd name="T9" fmla="*/ 40 h 47"/>
                    <a:gd name="T10" fmla="*/ 22 w 39"/>
                    <a:gd name="T11" fmla="*/ 27 h 47"/>
                    <a:gd name="T12" fmla="*/ 39 w 39"/>
                    <a:gd name="T13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9" h="47">
                      <a:moveTo>
                        <a:pt x="39" y="0"/>
                      </a:moveTo>
                      <a:cubicBezTo>
                        <a:pt x="39" y="0"/>
                        <a:pt x="21" y="11"/>
                        <a:pt x="18" y="31"/>
                      </a:cubicBezTo>
                      <a:cubicBezTo>
                        <a:pt x="16" y="38"/>
                        <a:pt x="16" y="38"/>
                        <a:pt x="16" y="38"/>
                      </a:cubicBezTo>
                      <a:cubicBezTo>
                        <a:pt x="16" y="38"/>
                        <a:pt x="1" y="44"/>
                        <a:pt x="0" y="47"/>
                      </a:cubicBezTo>
                      <a:cubicBezTo>
                        <a:pt x="0" y="47"/>
                        <a:pt x="12" y="46"/>
                        <a:pt x="18" y="40"/>
                      </a:cubicBezTo>
                      <a:cubicBezTo>
                        <a:pt x="23" y="35"/>
                        <a:pt x="20" y="31"/>
                        <a:pt x="22" y="27"/>
                      </a:cubicBezTo>
                      <a:cubicBezTo>
                        <a:pt x="24" y="23"/>
                        <a:pt x="35" y="6"/>
                        <a:pt x="39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19">
                  <a:extLst>
                    <a:ext uri="{FF2B5EF4-FFF2-40B4-BE49-F238E27FC236}">
                      <a16:creationId xmlns:a16="http://schemas.microsoft.com/office/drawing/2014/main" id="{D041AE01-7FF4-472D-8DCD-AA89082352E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9893" y="2376541"/>
                  <a:ext cx="385525" cy="477910"/>
                </a:xfrm>
                <a:custGeom>
                  <a:avLst/>
                  <a:gdLst>
                    <a:gd name="T0" fmla="*/ 92 w 92"/>
                    <a:gd name="T1" fmla="*/ 0 h 114"/>
                    <a:gd name="T2" fmla="*/ 0 w 92"/>
                    <a:gd name="T3" fmla="*/ 114 h 114"/>
                    <a:gd name="T4" fmla="*/ 10 w 92"/>
                    <a:gd name="T5" fmla="*/ 111 h 114"/>
                    <a:gd name="T6" fmla="*/ 28 w 92"/>
                    <a:gd name="T7" fmla="*/ 80 h 114"/>
                    <a:gd name="T8" fmla="*/ 92 w 92"/>
                    <a:gd name="T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14">
                      <a:moveTo>
                        <a:pt x="92" y="0"/>
                      </a:moveTo>
                      <a:cubicBezTo>
                        <a:pt x="92" y="0"/>
                        <a:pt x="7" y="92"/>
                        <a:pt x="0" y="114"/>
                      </a:cubicBezTo>
                      <a:cubicBezTo>
                        <a:pt x="0" y="114"/>
                        <a:pt x="5" y="107"/>
                        <a:pt x="10" y="111"/>
                      </a:cubicBezTo>
                      <a:cubicBezTo>
                        <a:pt x="10" y="111"/>
                        <a:pt x="16" y="96"/>
                        <a:pt x="28" y="80"/>
                      </a:cubicBezTo>
                      <a:cubicBezTo>
                        <a:pt x="39" y="65"/>
                        <a:pt x="78" y="18"/>
                        <a:pt x="92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20">
                  <a:extLst>
                    <a:ext uri="{FF2B5EF4-FFF2-40B4-BE49-F238E27FC236}">
                      <a16:creationId xmlns:a16="http://schemas.microsoft.com/office/drawing/2014/main" id="{95202B3F-EEE5-4CE0-A6D8-77E1D12C074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00252" y="2632373"/>
                  <a:ext cx="154565" cy="486792"/>
                </a:xfrm>
                <a:custGeom>
                  <a:avLst/>
                  <a:gdLst>
                    <a:gd name="T0" fmla="*/ 30 w 37"/>
                    <a:gd name="T1" fmla="*/ 0 h 116"/>
                    <a:gd name="T2" fmla="*/ 28 w 37"/>
                    <a:gd name="T3" fmla="*/ 23 h 116"/>
                    <a:gd name="T4" fmla="*/ 17 w 37"/>
                    <a:gd name="T5" fmla="*/ 35 h 116"/>
                    <a:gd name="T6" fmla="*/ 25 w 37"/>
                    <a:gd name="T7" fmla="*/ 35 h 116"/>
                    <a:gd name="T8" fmla="*/ 20 w 37"/>
                    <a:gd name="T9" fmla="*/ 45 h 116"/>
                    <a:gd name="T10" fmla="*/ 18 w 37"/>
                    <a:gd name="T11" fmla="*/ 55 h 116"/>
                    <a:gd name="T12" fmla="*/ 25 w 37"/>
                    <a:gd name="T13" fmla="*/ 64 h 116"/>
                    <a:gd name="T14" fmla="*/ 13 w 37"/>
                    <a:gd name="T15" fmla="*/ 57 h 116"/>
                    <a:gd name="T16" fmla="*/ 22 w 37"/>
                    <a:gd name="T17" fmla="*/ 74 h 116"/>
                    <a:gd name="T18" fmla="*/ 28 w 37"/>
                    <a:gd name="T19" fmla="*/ 93 h 116"/>
                    <a:gd name="T20" fmla="*/ 11 w 37"/>
                    <a:gd name="T21" fmla="*/ 65 h 116"/>
                    <a:gd name="T22" fmla="*/ 16 w 37"/>
                    <a:gd name="T23" fmla="*/ 89 h 116"/>
                    <a:gd name="T24" fmla="*/ 18 w 37"/>
                    <a:gd name="T25" fmla="*/ 91 h 116"/>
                    <a:gd name="T26" fmla="*/ 25 w 37"/>
                    <a:gd name="T27" fmla="*/ 103 h 116"/>
                    <a:gd name="T28" fmla="*/ 31 w 37"/>
                    <a:gd name="T29" fmla="*/ 116 h 116"/>
                    <a:gd name="T30" fmla="*/ 30 w 37"/>
                    <a:gd name="T3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7" h="116">
                      <a:moveTo>
                        <a:pt x="30" y="0"/>
                      </a:moveTo>
                      <a:cubicBezTo>
                        <a:pt x="30" y="0"/>
                        <a:pt x="30" y="22"/>
                        <a:pt x="28" y="23"/>
                      </a:cubicBezTo>
                      <a:cubicBezTo>
                        <a:pt x="25" y="24"/>
                        <a:pt x="17" y="31"/>
                        <a:pt x="17" y="35"/>
                      </a:cubicBezTo>
                      <a:cubicBezTo>
                        <a:pt x="17" y="39"/>
                        <a:pt x="23" y="31"/>
                        <a:pt x="25" y="35"/>
                      </a:cubicBezTo>
                      <a:cubicBezTo>
                        <a:pt x="27" y="38"/>
                        <a:pt x="23" y="43"/>
                        <a:pt x="20" y="45"/>
                      </a:cubicBezTo>
                      <a:cubicBezTo>
                        <a:pt x="16" y="47"/>
                        <a:pt x="10" y="51"/>
                        <a:pt x="18" y="55"/>
                      </a:cubicBezTo>
                      <a:cubicBezTo>
                        <a:pt x="26" y="58"/>
                        <a:pt x="27" y="63"/>
                        <a:pt x="25" y="64"/>
                      </a:cubicBezTo>
                      <a:cubicBezTo>
                        <a:pt x="24" y="66"/>
                        <a:pt x="14" y="60"/>
                        <a:pt x="13" y="57"/>
                      </a:cubicBezTo>
                      <a:cubicBezTo>
                        <a:pt x="11" y="54"/>
                        <a:pt x="16" y="66"/>
                        <a:pt x="22" y="74"/>
                      </a:cubicBezTo>
                      <a:cubicBezTo>
                        <a:pt x="28" y="82"/>
                        <a:pt x="29" y="94"/>
                        <a:pt x="28" y="93"/>
                      </a:cubicBezTo>
                      <a:cubicBezTo>
                        <a:pt x="27" y="91"/>
                        <a:pt x="15" y="69"/>
                        <a:pt x="11" y="65"/>
                      </a:cubicBezTo>
                      <a:cubicBezTo>
                        <a:pt x="6" y="60"/>
                        <a:pt x="0" y="71"/>
                        <a:pt x="16" y="89"/>
                      </a:cubicBezTo>
                      <a:cubicBezTo>
                        <a:pt x="17" y="89"/>
                        <a:pt x="17" y="90"/>
                        <a:pt x="18" y="91"/>
                      </a:cubicBezTo>
                      <a:cubicBezTo>
                        <a:pt x="37" y="110"/>
                        <a:pt x="25" y="103"/>
                        <a:pt x="25" y="103"/>
                      </a:cubicBezTo>
                      <a:cubicBezTo>
                        <a:pt x="25" y="103"/>
                        <a:pt x="15" y="101"/>
                        <a:pt x="31" y="116"/>
                      </a:cubicBezTo>
                      <a:cubicBezTo>
                        <a:pt x="31" y="116"/>
                        <a:pt x="33" y="37"/>
                        <a:pt x="3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22">
                  <a:extLst>
                    <a:ext uri="{FF2B5EF4-FFF2-40B4-BE49-F238E27FC236}">
                      <a16:creationId xmlns:a16="http://schemas.microsoft.com/office/drawing/2014/main" id="{92660950-1FC2-47F0-B5F8-4AB27C5580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49241" y="2888206"/>
                  <a:ext cx="181215" cy="156342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11 h 37"/>
                    <a:gd name="T4" fmla="*/ 42 w 43"/>
                    <a:gd name="T5" fmla="*/ 23 h 37"/>
                    <a:gd name="T6" fmla="*/ 37 w 43"/>
                    <a:gd name="T7" fmla="*/ 31 h 37"/>
                    <a:gd name="T8" fmla="*/ 21 w 43"/>
                    <a:gd name="T9" fmla="*/ 18 h 37"/>
                    <a:gd name="T10" fmla="*/ 0 w 43"/>
                    <a:gd name="T1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cubicBezTo>
                        <a:pt x="0" y="0"/>
                        <a:pt x="7" y="5"/>
                        <a:pt x="22" y="11"/>
                      </a:cubicBezTo>
                      <a:cubicBezTo>
                        <a:pt x="36" y="17"/>
                        <a:pt x="41" y="19"/>
                        <a:pt x="42" y="23"/>
                      </a:cubicBezTo>
                      <a:cubicBezTo>
                        <a:pt x="43" y="26"/>
                        <a:pt x="39" y="37"/>
                        <a:pt x="37" y="31"/>
                      </a:cubicBezTo>
                      <a:cubicBezTo>
                        <a:pt x="34" y="25"/>
                        <a:pt x="37" y="24"/>
                        <a:pt x="21" y="18"/>
                      </a:cubicBezTo>
                      <a:cubicBezTo>
                        <a:pt x="5" y="11"/>
                        <a:pt x="1" y="6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23">
                  <a:extLst>
                    <a:ext uri="{FF2B5EF4-FFF2-40B4-BE49-F238E27FC236}">
                      <a16:creationId xmlns:a16="http://schemas.microsoft.com/office/drawing/2014/main" id="{3ECE92AB-2D30-4613-AA5D-6622945C5C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38333" y="2993026"/>
                  <a:ext cx="24873" cy="177660"/>
                </a:xfrm>
                <a:custGeom>
                  <a:avLst/>
                  <a:gdLst>
                    <a:gd name="T0" fmla="*/ 5 w 6"/>
                    <a:gd name="T1" fmla="*/ 0 h 42"/>
                    <a:gd name="T2" fmla="*/ 3 w 6"/>
                    <a:gd name="T3" fmla="*/ 30 h 42"/>
                    <a:gd name="T4" fmla="*/ 3 w 6"/>
                    <a:gd name="T5" fmla="*/ 32 h 42"/>
                    <a:gd name="T6" fmla="*/ 0 w 6"/>
                    <a:gd name="T7" fmla="*/ 1 h 42"/>
                    <a:gd name="T8" fmla="*/ 5 w 6"/>
                    <a:gd name="T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2">
                      <a:moveTo>
                        <a:pt x="5" y="0"/>
                      </a:moveTo>
                      <a:cubicBezTo>
                        <a:pt x="5" y="0"/>
                        <a:pt x="6" y="17"/>
                        <a:pt x="3" y="30"/>
                      </a:cubicBezTo>
                      <a:cubicBezTo>
                        <a:pt x="1" y="42"/>
                        <a:pt x="3" y="32"/>
                        <a:pt x="3" y="3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24">
                  <a:extLst>
                    <a:ext uri="{FF2B5EF4-FFF2-40B4-BE49-F238E27FC236}">
                      <a16:creationId xmlns:a16="http://schemas.microsoft.com/office/drawing/2014/main" id="{9C5F0A9E-AD0D-40BD-96F6-253772C3D1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11159" y="3177794"/>
                  <a:ext cx="252279" cy="218523"/>
                </a:xfrm>
                <a:custGeom>
                  <a:avLst/>
                  <a:gdLst>
                    <a:gd name="T0" fmla="*/ 45 w 60"/>
                    <a:gd name="T1" fmla="*/ 9 h 52"/>
                    <a:gd name="T2" fmla="*/ 51 w 60"/>
                    <a:gd name="T3" fmla="*/ 4 h 52"/>
                    <a:gd name="T4" fmla="*/ 55 w 60"/>
                    <a:gd name="T5" fmla="*/ 9 h 52"/>
                    <a:gd name="T6" fmla="*/ 43 w 60"/>
                    <a:gd name="T7" fmla="*/ 29 h 52"/>
                    <a:gd name="T8" fmla="*/ 20 w 60"/>
                    <a:gd name="T9" fmla="*/ 45 h 52"/>
                    <a:gd name="T10" fmla="*/ 0 w 60"/>
                    <a:gd name="T11" fmla="*/ 52 h 52"/>
                    <a:gd name="T12" fmla="*/ 13 w 60"/>
                    <a:gd name="T13" fmla="*/ 43 h 52"/>
                    <a:gd name="T14" fmla="*/ 34 w 60"/>
                    <a:gd name="T15" fmla="*/ 34 h 52"/>
                    <a:gd name="T16" fmla="*/ 45 w 60"/>
                    <a:gd name="T17" fmla="*/ 9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52">
                      <a:moveTo>
                        <a:pt x="45" y="9"/>
                      </a:moveTo>
                      <a:cubicBezTo>
                        <a:pt x="45" y="9"/>
                        <a:pt x="51" y="9"/>
                        <a:pt x="51" y="4"/>
                      </a:cubicBezTo>
                      <a:cubicBezTo>
                        <a:pt x="52" y="0"/>
                        <a:pt x="60" y="2"/>
                        <a:pt x="55" y="9"/>
                      </a:cubicBezTo>
                      <a:cubicBezTo>
                        <a:pt x="50" y="15"/>
                        <a:pt x="49" y="22"/>
                        <a:pt x="43" y="29"/>
                      </a:cubicBezTo>
                      <a:cubicBezTo>
                        <a:pt x="37" y="36"/>
                        <a:pt x="31" y="43"/>
                        <a:pt x="20" y="45"/>
                      </a:cubicBezTo>
                      <a:cubicBezTo>
                        <a:pt x="9" y="48"/>
                        <a:pt x="0" y="52"/>
                        <a:pt x="0" y="52"/>
                      </a:cubicBezTo>
                      <a:cubicBezTo>
                        <a:pt x="0" y="52"/>
                        <a:pt x="2" y="46"/>
                        <a:pt x="13" y="43"/>
                      </a:cubicBezTo>
                      <a:cubicBezTo>
                        <a:pt x="24" y="39"/>
                        <a:pt x="31" y="39"/>
                        <a:pt x="34" y="34"/>
                      </a:cubicBezTo>
                      <a:cubicBezTo>
                        <a:pt x="36" y="28"/>
                        <a:pt x="48" y="21"/>
                        <a:pt x="45" y="9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25">
                  <a:extLst>
                    <a:ext uri="{FF2B5EF4-FFF2-40B4-BE49-F238E27FC236}">
                      <a16:creationId xmlns:a16="http://schemas.microsoft.com/office/drawing/2014/main" id="{3224978A-3E12-43CA-AD74-1C1214B2849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24863" y="3170686"/>
                  <a:ext cx="74618" cy="46192"/>
                </a:xfrm>
                <a:custGeom>
                  <a:avLst/>
                  <a:gdLst>
                    <a:gd name="T0" fmla="*/ 7 w 18"/>
                    <a:gd name="T1" fmla="*/ 0 h 11"/>
                    <a:gd name="T2" fmla="*/ 12 w 18"/>
                    <a:gd name="T3" fmla="*/ 3 h 11"/>
                    <a:gd name="T4" fmla="*/ 18 w 18"/>
                    <a:gd name="T5" fmla="*/ 11 h 11"/>
                    <a:gd name="T6" fmla="*/ 8 w 18"/>
                    <a:gd name="T7" fmla="*/ 4 h 11"/>
                    <a:gd name="T8" fmla="*/ 7 w 18"/>
                    <a:gd name="T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8" h="11">
                      <a:moveTo>
                        <a:pt x="7" y="0"/>
                      </a:moveTo>
                      <a:cubicBezTo>
                        <a:pt x="7" y="0"/>
                        <a:pt x="12" y="1"/>
                        <a:pt x="12" y="3"/>
                      </a:cubicBezTo>
                      <a:cubicBezTo>
                        <a:pt x="12" y="6"/>
                        <a:pt x="18" y="11"/>
                        <a:pt x="18" y="11"/>
                      </a:cubicBezTo>
                      <a:cubicBezTo>
                        <a:pt x="18" y="11"/>
                        <a:pt x="11" y="5"/>
                        <a:pt x="8" y="4"/>
                      </a:cubicBezTo>
                      <a:cubicBezTo>
                        <a:pt x="5" y="2"/>
                        <a:pt x="0" y="0"/>
                        <a:pt x="7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26">
                  <a:extLst>
                    <a:ext uri="{FF2B5EF4-FFF2-40B4-BE49-F238E27FC236}">
                      <a16:creationId xmlns:a16="http://schemas.microsoft.com/office/drawing/2014/main" id="{351FB794-C6C3-4945-8060-AAE5591AA6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1467" y="3303933"/>
                  <a:ext cx="234513" cy="67511"/>
                </a:xfrm>
                <a:custGeom>
                  <a:avLst/>
                  <a:gdLst>
                    <a:gd name="T0" fmla="*/ 28 w 56"/>
                    <a:gd name="T1" fmla="*/ 16 h 16"/>
                    <a:gd name="T2" fmla="*/ 50 w 56"/>
                    <a:gd name="T3" fmla="*/ 3 h 16"/>
                    <a:gd name="T4" fmla="*/ 24 w 56"/>
                    <a:gd name="T5" fmla="*/ 9 h 16"/>
                    <a:gd name="T6" fmla="*/ 13 w 56"/>
                    <a:gd name="T7" fmla="*/ 12 h 16"/>
                    <a:gd name="T8" fmla="*/ 28 w 56"/>
                    <a:gd name="T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16">
                      <a:moveTo>
                        <a:pt x="28" y="16"/>
                      </a:moveTo>
                      <a:cubicBezTo>
                        <a:pt x="28" y="16"/>
                        <a:pt x="45" y="5"/>
                        <a:pt x="50" y="3"/>
                      </a:cubicBezTo>
                      <a:cubicBezTo>
                        <a:pt x="56" y="0"/>
                        <a:pt x="34" y="11"/>
                        <a:pt x="24" y="9"/>
                      </a:cubicBezTo>
                      <a:cubicBezTo>
                        <a:pt x="13" y="6"/>
                        <a:pt x="0" y="8"/>
                        <a:pt x="13" y="12"/>
                      </a:cubicBezTo>
                      <a:cubicBezTo>
                        <a:pt x="13" y="12"/>
                        <a:pt x="26" y="14"/>
                        <a:pt x="28" y="16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27">
                  <a:extLst>
                    <a:ext uri="{FF2B5EF4-FFF2-40B4-BE49-F238E27FC236}">
                      <a16:creationId xmlns:a16="http://schemas.microsoft.com/office/drawing/2014/main" id="{326C9449-4D55-4D5A-841A-8001FC27BB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7456" y="3300380"/>
                  <a:ext cx="129692" cy="21319"/>
                </a:xfrm>
                <a:custGeom>
                  <a:avLst/>
                  <a:gdLst>
                    <a:gd name="T0" fmla="*/ 3 w 31"/>
                    <a:gd name="T1" fmla="*/ 5 h 5"/>
                    <a:gd name="T2" fmla="*/ 7 w 31"/>
                    <a:gd name="T3" fmla="*/ 2 h 5"/>
                    <a:gd name="T4" fmla="*/ 29 w 31"/>
                    <a:gd name="T5" fmla="*/ 3 h 5"/>
                    <a:gd name="T6" fmla="*/ 3 w 3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" h="5">
                      <a:moveTo>
                        <a:pt x="3" y="5"/>
                      </a:moveTo>
                      <a:cubicBezTo>
                        <a:pt x="3" y="5"/>
                        <a:pt x="0" y="0"/>
                        <a:pt x="7" y="2"/>
                      </a:cubicBezTo>
                      <a:cubicBezTo>
                        <a:pt x="13" y="3"/>
                        <a:pt x="28" y="3"/>
                        <a:pt x="29" y="3"/>
                      </a:cubicBezTo>
                      <a:cubicBezTo>
                        <a:pt x="31" y="3"/>
                        <a:pt x="11" y="5"/>
                        <a:pt x="3" y="5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28">
                  <a:extLst>
                    <a:ext uri="{FF2B5EF4-FFF2-40B4-BE49-F238E27FC236}">
                      <a16:creationId xmlns:a16="http://schemas.microsoft.com/office/drawing/2014/main" id="{FCEF81E9-6B1C-49DE-AA3D-BD8DA68CAB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6340" y="3275508"/>
                  <a:ext cx="120810" cy="24872"/>
                </a:xfrm>
                <a:custGeom>
                  <a:avLst/>
                  <a:gdLst>
                    <a:gd name="T0" fmla="*/ 2 w 29"/>
                    <a:gd name="T1" fmla="*/ 3 h 6"/>
                    <a:gd name="T2" fmla="*/ 23 w 29"/>
                    <a:gd name="T3" fmla="*/ 6 h 6"/>
                    <a:gd name="T4" fmla="*/ 3 w 29"/>
                    <a:gd name="T5" fmla="*/ 0 h 6"/>
                    <a:gd name="T6" fmla="*/ 2 w 29"/>
                    <a:gd name="T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6">
                      <a:moveTo>
                        <a:pt x="2" y="3"/>
                      </a:moveTo>
                      <a:cubicBezTo>
                        <a:pt x="2" y="3"/>
                        <a:pt x="17" y="6"/>
                        <a:pt x="23" y="6"/>
                      </a:cubicBezTo>
                      <a:cubicBezTo>
                        <a:pt x="29" y="6"/>
                        <a:pt x="6" y="0"/>
                        <a:pt x="3" y="0"/>
                      </a:cubicBezTo>
                      <a:cubicBezTo>
                        <a:pt x="0" y="0"/>
                        <a:pt x="2" y="3"/>
                        <a:pt x="2" y="3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31">
                  <a:extLst>
                    <a:ext uri="{FF2B5EF4-FFF2-40B4-BE49-F238E27FC236}">
                      <a16:creationId xmlns:a16="http://schemas.microsoft.com/office/drawing/2014/main" id="{66F357FF-3544-4A13-B63F-7FCB43508E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1467" y="3112059"/>
                  <a:ext cx="40862" cy="111926"/>
                </a:xfrm>
                <a:custGeom>
                  <a:avLst/>
                  <a:gdLst>
                    <a:gd name="T0" fmla="*/ 10 w 10"/>
                    <a:gd name="T1" fmla="*/ 0 h 27"/>
                    <a:gd name="T2" fmla="*/ 0 w 10"/>
                    <a:gd name="T3" fmla="*/ 6 h 27"/>
                    <a:gd name="T4" fmla="*/ 10 w 10"/>
                    <a:gd name="T5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27">
                      <a:moveTo>
                        <a:pt x="10" y="0"/>
                      </a:moveTo>
                      <a:cubicBezTo>
                        <a:pt x="10" y="0"/>
                        <a:pt x="6" y="17"/>
                        <a:pt x="0" y="6"/>
                      </a:cubicBezTo>
                      <a:cubicBezTo>
                        <a:pt x="0" y="6"/>
                        <a:pt x="8" y="27"/>
                        <a:pt x="1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32">
                  <a:extLst>
                    <a:ext uri="{FF2B5EF4-FFF2-40B4-BE49-F238E27FC236}">
                      <a16:creationId xmlns:a16="http://schemas.microsoft.com/office/drawing/2014/main" id="{6BC5AF05-23F7-4097-8B69-B069FEF32A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8573" y="3371444"/>
                  <a:ext cx="39086" cy="113703"/>
                </a:xfrm>
                <a:custGeom>
                  <a:avLst/>
                  <a:gdLst>
                    <a:gd name="T0" fmla="*/ 0 w 9"/>
                    <a:gd name="T1" fmla="*/ 4 h 27"/>
                    <a:gd name="T2" fmla="*/ 9 w 9"/>
                    <a:gd name="T3" fmla="*/ 0 h 27"/>
                    <a:gd name="T4" fmla="*/ 0 w 9"/>
                    <a:gd name="T5" fmla="*/ 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27">
                      <a:moveTo>
                        <a:pt x="0" y="4"/>
                      </a:moveTo>
                      <a:cubicBezTo>
                        <a:pt x="0" y="4"/>
                        <a:pt x="4" y="17"/>
                        <a:pt x="9" y="0"/>
                      </a:cubicBezTo>
                      <a:cubicBezTo>
                        <a:pt x="9" y="0"/>
                        <a:pt x="6" y="27"/>
                        <a:pt x="0" y="4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33">
                  <a:extLst>
                    <a:ext uri="{FF2B5EF4-FFF2-40B4-BE49-F238E27FC236}">
                      <a16:creationId xmlns:a16="http://schemas.microsoft.com/office/drawing/2014/main" id="{2A9D70A5-6D00-424B-9C49-A3755DBD99C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8" y="1982133"/>
                  <a:ext cx="179437" cy="239842"/>
                </a:xfrm>
                <a:custGeom>
                  <a:avLst/>
                  <a:gdLst>
                    <a:gd name="T0" fmla="*/ 0 w 43"/>
                    <a:gd name="T1" fmla="*/ 43 h 57"/>
                    <a:gd name="T2" fmla="*/ 23 w 43"/>
                    <a:gd name="T3" fmla="*/ 32 h 57"/>
                    <a:gd name="T4" fmla="*/ 43 w 43"/>
                    <a:gd name="T5" fmla="*/ 3 h 57"/>
                    <a:gd name="T6" fmla="*/ 0 w 43"/>
                    <a:gd name="T7" fmla="*/ 43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57">
                      <a:moveTo>
                        <a:pt x="0" y="43"/>
                      </a:moveTo>
                      <a:cubicBezTo>
                        <a:pt x="0" y="43"/>
                        <a:pt x="14" y="43"/>
                        <a:pt x="23" y="32"/>
                      </a:cubicBezTo>
                      <a:cubicBezTo>
                        <a:pt x="32" y="22"/>
                        <a:pt x="43" y="6"/>
                        <a:pt x="43" y="3"/>
                      </a:cubicBezTo>
                      <a:cubicBezTo>
                        <a:pt x="43" y="0"/>
                        <a:pt x="23" y="57"/>
                        <a:pt x="0" y="43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34">
                  <a:extLst>
                    <a:ext uri="{FF2B5EF4-FFF2-40B4-BE49-F238E27FC236}">
                      <a16:creationId xmlns:a16="http://schemas.microsoft.com/office/drawing/2014/main" id="{44D4050F-238E-4AF5-9A52-1CF39E799B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45949" y="2936173"/>
                  <a:ext cx="117257" cy="95937"/>
                </a:xfrm>
                <a:custGeom>
                  <a:avLst/>
                  <a:gdLst>
                    <a:gd name="T0" fmla="*/ 28 w 28"/>
                    <a:gd name="T1" fmla="*/ 0 h 23"/>
                    <a:gd name="T2" fmla="*/ 19 w 28"/>
                    <a:gd name="T3" fmla="*/ 6 h 23"/>
                    <a:gd name="T4" fmla="*/ 3 w 28"/>
                    <a:gd name="T5" fmla="*/ 22 h 23"/>
                    <a:gd name="T6" fmla="*/ 27 w 28"/>
                    <a:gd name="T7" fmla="*/ 15 h 23"/>
                    <a:gd name="T8" fmla="*/ 28 w 28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23">
                      <a:moveTo>
                        <a:pt x="28" y="0"/>
                      </a:moveTo>
                      <a:cubicBezTo>
                        <a:pt x="28" y="0"/>
                        <a:pt x="22" y="2"/>
                        <a:pt x="19" y="6"/>
                      </a:cubicBezTo>
                      <a:cubicBezTo>
                        <a:pt x="15" y="11"/>
                        <a:pt x="6" y="20"/>
                        <a:pt x="3" y="22"/>
                      </a:cubicBezTo>
                      <a:cubicBezTo>
                        <a:pt x="0" y="23"/>
                        <a:pt x="27" y="15"/>
                        <a:pt x="27" y="15"/>
                      </a:cubicBez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35">
                  <a:extLst>
                    <a:ext uri="{FF2B5EF4-FFF2-40B4-BE49-F238E27FC236}">
                      <a16:creationId xmlns:a16="http://schemas.microsoft.com/office/drawing/2014/main" id="{FFF9A3DC-C562-47C1-BC0F-A7E63830143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86563" y="2964599"/>
                  <a:ext cx="95937" cy="46192"/>
                </a:xfrm>
                <a:custGeom>
                  <a:avLst/>
                  <a:gdLst>
                    <a:gd name="T0" fmla="*/ 0 w 23"/>
                    <a:gd name="T1" fmla="*/ 6 h 11"/>
                    <a:gd name="T2" fmla="*/ 11 w 23"/>
                    <a:gd name="T3" fmla="*/ 2 h 11"/>
                    <a:gd name="T4" fmla="*/ 21 w 23"/>
                    <a:gd name="T5" fmla="*/ 8 h 11"/>
                    <a:gd name="T6" fmla="*/ 0 w 23"/>
                    <a:gd name="T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1">
                      <a:moveTo>
                        <a:pt x="0" y="6"/>
                      </a:moveTo>
                      <a:cubicBezTo>
                        <a:pt x="0" y="6"/>
                        <a:pt x="8" y="0"/>
                        <a:pt x="11" y="2"/>
                      </a:cubicBezTo>
                      <a:cubicBezTo>
                        <a:pt x="14" y="5"/>
                        <a:pt x="19" y="8"/>
                        <a:pt x="21" y="8"/>
                      </a:cubicBezTo>
                      <a:cubicBezTo>
                        <a:pt x="23" y="9"/>
                        <a:pt x="4" y="11"/>
                        <a:pt x="0" y="6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36">
                  <a:extLst>
                    <a:ext uri="{FF2B5EF4-FFF2-40B4-BE49-F238E27FC236}">
                      <a16:creationId xmlns:a16="http://schemas.microsoft.com/office/drawing/2014/main" id="{41EDD46C-F3EA-4E66-B57D-200B9A98383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57628" y="2973484"/>
                  <a:ext cx="135023" cy="46192"/>
                </a:xfrm>
                <a:custGeom>
                  <a:avLst/>
                  <a:gdLst>
                    <a:gd name="T0" fmla="*/ 6 w 32"/>
                    <a:gd name="T1" fmla="*/ 0 h 11"/>
                    <a:gd name="T2" fmla="*/ 13 w 32"/>
                    <a:gd name="T3" fmla="*/ 5 h 11"/>
                    <a:gd name="T4" fmla="*/ 24 w 32"/>
                    <a:gd name="T5" fmla="*/ 6 h 11"/>
                    <a:gd name="T6" fmla="*/ 32 w 32"/>
                    <a:gd name="T7" fmla="*/ 8 h 11"/>
                    <a:gd name="T8" fmla="*/ 16 w 32"/>
                    <a:gd name="T9" fmla="*/ 11 h 11"/>
                    <a:gd name="T10" fmla="*/ 6 w 32"/>
                    <a:gd name="T11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" h="11">
                      <a:moveTo>
                        <a:pt x="6" y="0"/>
                      </a:moveTo>
                      <a:cubicBezTo>
                        <a:pt x="6" y="0"/>
                        <a:pt x="10" y="2"/>
                        <a:pt x="13" y="5"/>
                      </a:cubicBezTo>
                      <a:cubicBezTo>
                        <a:pt x="15" y="8"/>
                        <a:pt x="17" y="7"/>
                        <a:pt x="24" y="6"/>
                      </a:cubicBezTo>
                      <a:cubicBezTo>
                        <a:pt x="32" y="5"/>
                        <a:pt x="32" y="8"/>
                        <a:pt x="32" y="8"/>
                      </a:cubicBezTo>
                      <a:cubicBezTo>
                        <a:pt x="32" y="8"/>
                        <a:pt x="22" y="11"/>
                        <a:pt x="16" y="11"/>
                      </a:cubicBezTo>
                      <a:cubicBezTo>
                        <a:pt x="10" y="10"/>
                        <a:pt x="0" y="5"/>
                        <a:pt x="6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137">
                  <a:extLst>
                    <a:ext uri="{FF2B5EF4-FFF2-40B4-BE49-F238E27FC236}">
                      <a16:creationId xmlns:a16="http://schemas.microsoft.com/office/drawing/2014/main" id="{2137AAE8-3520-4C5E-BB8E-1A747E0E90B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37575" y="2947722"/>
                  <a:ext cx="87054" cy="87054"/>
                </a:xfrm>
                <a:custGeom>
                  <a:avLst/>
                  <a:gdLst>
                    <a:gd name="T0" fmla="*/ 3 w 21"/>
                    <a:gd name="T1" fmla="*/ 2 h 21"/>
                    <a:gd name="T2" fmla="*/ 8 w 21"/>
                    <a:gd name="T3" fmla="*/ 11 h 21"/>
                    <a:gd name="T4" fmla="*/ 13 w 21"/>
                    <a:gd name="T5" fmla="*/ 16 h 21"/>
                    <a:gd name="T6" fmla="*/ 20 w 21"/>
                    <a:gd name="T7" fmla="*/ 21 h 21"/>
                    <a:gd name="T8" fmla="*/ 18 w 21"/>
                    <a:gd name="T9" fmla="*/ 11 h 21"/>
                    <a:gd name="T10" fmla="*/ 3 w 21"/>
                    <a:gd name="T11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21">
                      <a:moveTo>
                        <a:pt x="3" y="2"/>
                      </a:moveTo>
                      <a:cubicBezTo>
                        <a:pt x="3" y="2"/>
                        <a:pt x="0" y="8"/>
                        <a:pt x="8" y="11"/>
                      </a:cubicBezTo>
                      <a:cubicBezTo>
                        <a:pt x="16" y="14"/>
                        <a:pt x="13" y="16"/>
                        <a:pt x="13" y="16"/>
                      </a:cubicBez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20" y="21"/>
                        <a:pt x="21" y="13"/>
                        <a:pt x="18" y="11"/>
                      </a:cubicBezTo>
                      <a:cubicBezTo>
                        <a:pt x="14" y="9"/>
                        <a:pt x="4" y="0"/>
                        <a:pt x="3" y="2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138">
                  <a:extLst>
                    <a:ext uri="{FF2B5EF4-FFF2-40B4-BE49-F238E27FC236}">
                      <a16:creationId xmlns:a16="http://schemas.microsoft.com/office/drawing/2014/main" id="{D1A12A0F-A6C5-437A-9F86-650516BFE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12702" y="2826024"/>
                  <a:ext cx="111926" cy="42639"/>
                </a:xfrm>
                <a:custGeom>
                  <a:avLst/>
                  <a:gdLst>
                    <a:gd name="T0" fmla="*/ 0 w 27"/>
                    <a:gd name="T1" fmla="*/ 0 h 10"/>
                    <a:gd name="T2" fmla="*/ 13 w 27"/>
                    <a:gd name="T3" fmla="*/ 2 h 10"/>
                    <a:gd name="T4" fmla="*/ 25 w 27"/>
                    <a:gd name="T5" fmla="*/ 3 h 10"/>
                    <a:gd name="T6" fmla="*/ 20 w 27"/>
                    <a:gd name="T7" fmla="*/ 10 h 10"/>
                    <a:gd name="T8" fmla="*/ 21 w 27"/>
                    <a:gd name="T9" fmla="*/ 6 h 10"/>
                    <a:gd name="T10" fmla="*/ 0 w 27"/>
                    <a:gd name="T1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10">
                      <a:moveTo>
                        <a:pt x="0" y="0"/>
                      </a:moveTo>
                      <a:cubicBezTo>
                        <a:pt x="0" y="0"/>
                        <a:pt x="4" y="1"/>
                        <a:pt x="13" y="2"/>
                      </a:cubicBezTo>
                      <a:cubicBezTo>
                        <a:pt x="22" y="4"/>
                        <a:pt x="25" y="1"/>
                        <a:pt x="25" y="3"/>
                      </a:cubicBezTo>
                      <a:cubicBezTo>
                        <a:pt x="26" y="5"/>
                        <a:pt x="27" y="9"/>
                        <a:pt x="20" y="10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1" y="6"/>
                        <a:pt x="1" y="8"/>
                        <a:pt x="0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139">
                  <a:extLst>
                    <a:ext uri="{FF2B5EF4-FFF2-40B4-BE49-F238E27FC236}">
                      <a16:creationId xmlns:a16="http://schemas.microsoft.com/office/drawing/2014/main" id="{8D8F06B6-4297-462C-86D1-B9A7539BCE7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78438" y="2884652"/>
                  <a:ext cx="79947" cy="74619"/>
                </a:xfrm>
                <a:custGeom>
                  <a:avLst/>
                  <a:gdLst>
                    <a:gd name="T0" fmla="*/ 0 w 19"/>
                    <a:gd name="T1" fmla="*/ 0 h 18"/>
                    <a:gd name="T2" fmla="*/ 19 w 19"/>
                    <a:gd name="T3" fmla="*/ 4 h 18"/>
                    <a:gd name="T4" fmla="*/ 0 w 19"/>
                    <a:gd name="T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18">
                      <a:moveTo>
                        <a:pt x="0" y="0"/>
                      </a:moveTo>
                      <a:cubicBezTo>
                        <a:pt x="0" y="0"/>
                        <a:pt x="2" y="11"/>
                        <a:pt x="19" y="4"/>
                      </a:cubicBezTo>
                      <a:cubicBezTo>
                        <a:pt x="19" y="4"/>
                        <a:pt x="1" y="18"/>
                        <a:pt x="0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140">
                  <a:extLst>
                    <a:ext uri="{FF2B5EF4-FFF2-40B4-BE49-F238E27FC236}">
                      <a16:creationId xmlns:a16="http://schemas.microsoft.com/office/drawing/2014/main" id="{74C6D0A9-576D-440C-B1C1-ED63A31604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49735" y="3010792"/>
                  <a:ext cx="145681" cy="83500"/>
                </a:xfrm>
                <a:custGeom>
                  <a:avLst/>
                  <a:gdLst>
                    <a:gd name="T0" fmla="*/ 35 w 35"/>
                    <a:gd name="T1" fmla="*/ 3 h 20"/>
                    <a:gd name="T2" fmla="*/ 8 w 35"/>
                    <a:gd name="T3" fmla="*/ 17 h 20"/>
                    <a:gd name="T4" fmla="*/ 12 w 35"/>
                    <a:gd name="T5" fmla="*/ 10 h 20"/>
                    <a:gd name="T6" fmla="*/ 35 w 35"/>
                    <a:gd name="T7" fmla="*/ 3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" h="20">
                      <a:moveTo>
                        <a:pt x="35" y="3"/>
                      </a:moveTo>
                      <a:cubicBezTo>
                        <a:pt x="35" y="3"/>
                        <a:pt x="13" y="14"/>
                        <a:pt x="8" y="17"/>
                      </a:cubicBezTo>
                      <a:cubicBezTo>
                        <a:pt x="4" y="19"/>
                        <a:pt x="0" y="20"/>
                        <a:pt x="12" y="10"/>
                      </a:cubicBezTo>
                      <a:cubicBezTo>
                        <a:pt x="24" y="0"/>
                        <a:pt x="33" y="4"/>
                        <a:pt x="35" y="3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141">
                  <a:extLst>
                    <a:ext uri="{FF2B5EF4-FFF2-40B4-BE49-F238E27FC236}">
                      <a16:creationId xmlns:a16="http://schemas.microsoft.com/office/drawing/2014/main" id="{2351467B-F4B8-4D91-893A-07F454A8DAA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35261" y="4018132"/>
                  <a:ext cx="88831" cy="653794"/>
                </a:xfrm>
                <a:custGeom>
                  <a:avLst/>
                  <a:gdLst>
                    <a:gd name="T0" fmla="*/ 13 w 21"/>
                    <a:gd name="T1" fmla="*/ 0 h 156"/>
                    <a:gd name="T2" fmla="*/ 0 w 21"/>
                    <a:gd name="T3" fmla="*/ 42 h 156"/>
                    <a:gd name="T4" fmla="*/ 9 w 21"/>
                    <a:gd name="T5" fmla="*/ 72 h 156"/>
                    <a:gd name="T6" fmla="*/ 14 w 21"/>
                    <a:gd name="T7" fmla="*/ 133 h 156"/>
                    <a:gd name="T8" fmla="*/ 21 w 21"/>
                    <a:gd name="T9" fmla="*/ 156 h 156"/>
                    <a:gd name="T10" fmla="*/ 17 w 21"/>
                    <a:gd name="T11" fmla="*/ 101 h 156"/>
                    <a:gd name="T12" fmla="*/ 13 w 21"/>
                    <a:gd name="T13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156">
                      <a:moveTo>
                        <a:pt x="13" y="0"/>
                      </a:moveTo>
                      <a:cubicBezTo>
                        <a:pt x="13" y="0"/>
                        <a:pt x="0" y="35"/>
                        <a:pt x="0" y="42"/>
                      </a:cubicBezTo>
                      <a:cubicBezTo>
                        <a:pt x="0" y="49"/>
                        <a:pt x="7" y="65"/>
                        <a:pt x="9" y="72"/>
                      </a:cubicBezTo>
                      <a:cubicBezTo>
                        <a:pt x="11" y="80"/>
                        <a:pt x="6" y="117"/>
                        <a:pt x="14" y="133"/>
                      </a:cubicBezTo>
                      <a:cubicBezTo>
                        <a:pt x="21" y="150"/>
                        <a:pt x="21" y="156"/>
                        <a:pt x="21" y="156"/>
                      </a:cubicBezTo>
                      <a:cubicBezTo>
                        <a:pt x="21" y="156"/>
                        <a:pt x="20" y="122"/>
                        <a:pt x="17" y="101"/>
                      </a:cubicBezTo>
                      <a:cubicBezTo>
                        <a:pt x="14" y="80"/>
                        <a:pt x="5" y="23"/>
                        <a:pt x="13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5" name="Freeform 142">
                  <a:extLst>
                    <a:ext uri="{FF2B5EF4-FFF2-40B4-BE49-F238E27FC236}">
                      <a16:creationId xmlns:a16="http://schemas.microsoft.com/office/drawing/2014/main" id="{DC1A3578-5663-4F4F-A335-AE41C2AF31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44142" y="2348116"/>
                  <a:ext cx="234513" cy="197204"/>
                </a:xfrm>
                <a:custGeom>
                  <a:avLst/>
                  <a:gdLst>
                    <a:gd name="T0" fmla="*/ 0 w 56"/>
                    <a:gd name="T1" fmla="*/ 8 h 47"/>
                    <a:gd name="T2" fmla="*/ 14 w 56"/>
                    <a:gd name="T3" fmla="*/ 1 h 47"/>
                    <a:gd name="T4" fmla="*/ 31 w 56"/>
                    <a:gd name="T5" fmla="*/ 10 h 47"/>
                    <a:gd name="T6" fmla="*/ 52 w 56"/>
                    <a:gd name="T7" fmla="*/ 39 h 47"/>
                    <a:gd name="T8" fmla="*/ 54 w 56"/>
                    <a:gd name="T9" fmla="*/ 47 h 47"/>
                    <a:gd name="T10" fmla="*/ 30 w 56"/>
                    <a:gd name="T11" fmla="*/ 17 h 47"/>
                    <a:gd name="T12" fmla="*/ 0 w 56"/>
                    <a:gd name="T13" fmla="*/ 8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47">
                      <a:moveTo>
                        <a:pt x="0" y="8"/>
                      </a:moveTo>
                      <a:cubicBezTo>
                        <a:pt x="0" y="8"/>
                        <a:pt x="11" y="0"/>
                        <a:pt x="14" y="1"/>
                      </a:cubicBezTo>
                      <a:cubicBezTo>
                        <a:pt x="17" y="1"/>
                        <a:pt x="25" y="4"/>
                        <a:pt x="31" y="10"/>
                      </a:cubicBezTo>
                      <a:cubicBezTo>
                        <a:pt x="37" y="17"/>
                        <a:pt x="52" y="39"/>
                        <a:pt x="52" y="39"/>
                      </a:cubicBezTo>
                      <a:cubicBezTo>
                        <a:pt x="52" y="39"/>
                        <a:pt x="56" y="47"/>
                        <a:pt x="54" y="47"/>
                      </a:cubicBezTo>
                      <a:cubicBezTo>
                        <a:pt x="52" y="46"/>
                        <a:pt x="39" y="26"/>
                        <a:pt x="30" y="17"/>
                      </a:cubicBezTo>
                      <a:cubicBezTo>
                        <a:pt x="22" y="7"/>
                        <a:pt x="18" y="2"/>
                        <a:pt x="0" y="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6" name="Freeform 143">
                  <a:extLst>
                    <a:ext uri="{FF2B5EF4-FFF2-40B4-BE49-F238E27FC236}">
                      <a16:creationId xmlns:a16="http://schemas.microsoft.com/office/drawing/2014/main" id="{5FC48D6F-C81A-4F60-87FC-4741B51480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611653" y="2611054"/>
                  <a:ext cx="163448" cy="156342"/>
                </a:xfrm>
                <a:custGeom>
                  <a:avLst/>
                  <a:gdLst>
                    <a:gd name="T0" fmla="*/ 27 w 39"/>
                    <a:gd name="T1" fmla="*/ 18 h 37"/>
                    <a:gd name="T2" fmla="*/ 39 w 39"/>
                    <a:gd name="T3" fmla="*/ 33 h 37"/>
                    <a:gd name="T4" fmla="*/ 24 w 39"/>
                    <a:gd name="T5" fmla="*/ 28 h 37"/>
                    <a:gd name="T6" fmla="*/ 2 w 39"/>
                    <a:gd name="T7" fmla="*/ 5 h 37"/>
                    <a:gd name="T8" fmla="*/ 27 w 39"/>
                    <a:gd name="T9" fmla="*/ 1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37">
                      <a:moveTo>
                        <a:pt x="27" y="18"/>
                      </a:moveTo>
                      <a:cubicBezTo>
                        <a:pt x="27" y="18"/>
                        <a:pt x="39" y="29"/>
                        <a:pt x="39" y="33"/>
                      </a:cubicBezTo>
                      <a:cubicBezTo>
                        <a:pt x="38" y="37"/>
                        <a:pt x="29" y="32"/>
                        <a:pt x="24" y="28"/>
                      </a:cubicBezTo>
                      <a:cubicBezTo>
                        <a:pt x="18" y="23"/>
                        <a:pt x="4" y="11"/>
                        <a:pt x="2" y="5"/>
                      </a:cubicBezTo>
                      <a:cubicBezTo>
                        <a:pt x="0" y="0"/>
                        <a:pt x="16" y="19"/>
                        <a:pt x="27" y="1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7" name="Freeform 144">
                  <a:extLst>
                    <a:ext uri="{FF2B5EF4-FFF2-40B4-BE49-F238E27FC236}">
                      <a16:creationId xmlns:a16="http://schemas.microsoft.com/office/drawing/2014/main" id="{F58F6D4E-C182-4DF2-922D-A0A155F3ED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03542" y="2095836"/>
                  <a:ext cx="142129" cy="159894"/>
                </a:xfrm>
                <a:custGeom>
                  <a:avLst/>
                  <a:gdLst>
                    <a:gd name="T0" fmla="*/ 0 w 34"/>
                    <a:gd name="T1" fmla="*/ 32 h 38"/>
                    <a:gd name="T2" fmla="*/ 1 w 34"/>
                    <a:gd name="T3" fmla="*/ 38 h 38"/>
                    <a:gd name="T4" fmla="*/ 14 w 34"/>
                    <a:gd name="T5" fmla="*/ 24 h 38"/>
                    <a:gd name="T6" fmla="*/ 34 w 34"/>
                    <a:gd name="T7" fmla="*/ 0 h 38"/>
                    <a:gd name="T8" fmla="*/ 0 w 34"/>
                    <a:gd name="T9" fmla="*/ 32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8">
                      <a:moveTo>
                        <a:pt x="0" y="32"/>
                      </a:move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1" y="38"/>
                        <a:pt x="6" y="32"/>
                        <a:pt x="14" y="24"/>
                      </a:cubicBezTo>
                      <a:cubicBezTo>
                        <a:pt x="22" y="15"/>
                        <a:pt x="32" y="2"/>
                        <a:pt x="34" y="0"/>
                      </a:cubicBezTo>
                      <a:cubicBezTo>
                        <a:pt x="34" y="0"/>
                        <a:pt x="4" y="28"/>
                        <a:pt x="0" y="3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8" name="Freeform 145">
                  <a:extLst>
                    <a:ext uri="{FF2B5EF4-FFF2-40B4-BE49-F238E27FC236}">
                      <a16:creationId xmlns:a16="http://schemas.microsoft.com/office/drawing/2014/main" id="{04A595A2-6312-43B0-B4BE-4BD34A1BF6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7" y="2188220"/>
                  <a:ext cx="33755" cy="49745"/>
                </a:xfrm>
                <a:custGeom>
                  <a:avLst/>
                  <a:gdLst>
                    <a:gd name="T0" fmla="*/ 1 w 8"/>
                    <a:gd name="T1" fmla="*/ 0 h 12"/>
                    <a:gd name="T2" fmla="*/ 8 w 8"/>
                    <a:gd name="T3" fmla="*/ 10 h 12"/>
                    <a:gd name="T4" fmla="*/ 5 w 8"/>
                    <a:gd name="T5" fmla="*/ 12 h 12"/>
                    <a:gd name="T6" fmla="*/ 1 w 8"/>
                    <a:gd name="T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2">
                      <a:moveTo>
                        <a:pt x="1" y="0"/>
                      </a:move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2"/>
                        <a:pt x="0" y="5"/>
                        <a:pt x="1" y="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9" name="Freeform 146">
                  <a:extLst>
                    <a:ext uri="{FF2B5EF4-FFF2-40B4-BE49-F238E27FC236}">
                      <a16:creationId xmlns:a16="http://schemas.microsoft.com/office/drawing/2014/main" id="{CF05BBE1-9395-4C4E-AC1E-954621D4D8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87042" y="1625034"/>
                  <a:ext cx="101266" cy="197204"/>
                </a:xfrm>
                <a:custGeom>
                  <a:avLst/>
                  <a:gdLst>
                    <a:gd name="T0" fmla="*/ 5 w 24"/>
                    <a:gd name="T1" fmla="*/ 0 h 47"/>
                    <a:gd name="T2" fmla="*/ 4 w 24"/>
                    <a:gd name="T3" fmla="*/ 9 h 47"/>
                    <a:gd name="T4" fmla="*/ 8 w 24"/>
                    <a:gd name="T5" fmla="*/ 22 h 47"/>
                    <a:gd name="T6" fmla="*/ 11 w 24"/>
                    <a:gd name="T7" fmla="*/ 47 h 47"/>
                    <a:gd name="T8" fmla="*/ 22 w 24"/>
                    <a:gd name="T9" fmla="*/ 32 h 47"/>
                    <a:gd name="T10" fmla="*/ 5 w 24"/>
                    <a:gd name="T1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" h="47">
                      <a:moveTo>
                        <a:pt x="5" y="0"/>
                      </a:moveTo>
                      <a:cubicBezTo>
                        <a:pt x="5" y="0"/>
                        <a:pt x="0" y="4"/>
                        <a:pt x="4" y="9"/>
                      </a:cubicBezTo>
                      <a:cubicBezTo>
                        <a:pt x="7" y="15"/>
                        <a:pt x="8" y="17"/>
                        <a:pt x="8" y="22"/>
                      </a:cubicBezTo>
                      <a:cubicBezTo>
                        <a:pt x="8" y="27"/>
                        <a:pt x="6" y="43"/>
                        <a:pt x="11" y="47"/>
                      </a:cubicBezTo>
                      <a:cubicBezTo>
                        <a:pt x="11" y="47"/>
                        <a:pt x="16" y="29"/>
                        <a:pt x="22" y="32"/>
                      </a:cubicBezTo>
                      <a:cubicBezTo>
                        <a:pt x="22" y="32"/>
                        <a:pt x="24" y="12"/>
                        <a:pt x="5" y="0"/>
                      </a:cubicBezTo>
                      <a:close/>
                    </a:path>
                  </a:pathLst>
                </a:custGeom>
                <a:solidFill>
                  <a:srgbClr val="7D4E3B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0" name="Freeform 147">
                  <a:extLst>
                    <a:ext uri="{FF2B5EF4-FFF2-40B4-BE49-F238E27FC236}">
                      <a16:creationId xmlns:a16="http://schemas.microsoft.com/office/drawing/2014/main" id="{DCD77597-BFCF-4F0E-ACB7-C37FCCCBD8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73339" y="2275274"/>
                  <a:ext cx="51521" cy="51521"/>
                </a:xfrm>
                <a:custGeom>
                  <a:avLst/>
                  <a:gdLst>
                    <a:gd name="T0" fmla="*/ 12 w 12"/>
                    <a:gd name="T1" fmla="*/ 9 h 12"/>
                    <a:gd name="T2" fmla="*/ 2 w 12"/>
                    <a:gd name="T3" fmla="*/ 6 h 12"/>
                    <a:gd name="T4" fmla="*/ 7 w 12"/>
                    <a:gd name="T5" fmla="*/ 12 h 12"/>
                    <a:gd name="T6" fmla="*/ 12 w 12"/>
                    <a:gd name="T7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12">
                      <a:moveTo>
                        <a:pt x="12" y="9"/>
                      </a:moveTo>
                      <a:cubicBezTo>
                        <a:pt x="12" y="9"/>
                        <a:pt x="4" y="11"/>
                        <a:pt x="2" y="6"/>
                      </a:cubicBezTo>
                      <a:cubicBezTo>
                        <a:pt x="0" y="0"/>
                        <a:pt x="0" y="12"/>
                        <a:pt x="7" y="12"/>
                      </a:cubicBezTo>
                      <a:lnTo>
                        <a:pt x="12" y="9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1" name="Freeform 148">
                  <a:extLst>
                    <a:ext uri="{FF2B5EF4-FFF2-40B4-BE49-F238E27FC236}">
                      <a16:creationId xmlns:a16="http://schemas.microsoft.com/office/drawing/2014/main" id="{D3324DC1-415A-4E56-AA66-0E3C17F0436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65853" y="2492021"/>
                  <a:ext cx="42639" cy="197204"/>
                </a:xfrm>
                <a:custGeom>
                  <a:avLst/>
                  <a:gdLst>
                    <a:gd name="T0" fmla="*/ 6 w 10"/>
                    <a:gd name="T1" fmla="*/ 0 h 47"/>
                    <a:gd name="T2" fmla="*/ 7 w 10"/>
                    <a:gd name="T3" fmla="*/ 21 h 47"/>
                    <a:gd name="T4" fmla="*/ 9 w 10"/>
                    <a:gd name="T5" fmla="*/ 28 h 47"/>
                    <a:gd name="T6" fmla="*/ 0 w 10"/>
                    <a:gd name="T7" fmla="*/ 47 h 47"/>
                    <a:gd name="T8" fmla="*/ 6 w 10"/>
                    <a:gd name="T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7">
                      <a:moveTo>
                        <a:pt x="6" y="0"/>
                      </a:moveTo>
                      <a:cubicBezTo>
                        <a:pt x="6" y="0"/>
                        <a:pt x="4" y="18"/>
                        <a:pt x="7" y="21"/>
                      </a:cubicBezTo>
                      <a:cubicBezTo>
                        <a:pt x="10" y="24"/>
                        <a:pt x="9" y="28"/>
                        <a:pt x="9" y="28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47"/>
                        <a:pt x="5" y="7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2" name="Freeform 149">
                  <a:extLst>
                    <a:ext uri="{FF2B5EF4-FFF2-40B4-BE49-F238E27FC236}">
                      <a16:creationId xmlns:a16="http://schemas.microsoft.com/office/drawing/2014/main" id="{FCD7AB3B-A71D-43B3-8A40-487003B0DB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6232" y="2330351"/>
                  <a:ext cx="19542" cy="113703"/>
                </a:xfrm>
                <a:custGeom>
                  <a:avLst/>
                  <a:gdLst>
                    <a:gd name="T0" fmla="*/ 5 w 5"/>
                    <a:gd name="T1" fmla="*/ 0 h 27"/>
                    <a:gd name="T2" fmla="*/ 0 w 5"/>
                    <a:gd name="T3" fmla="*/ 18 h 27"/>
                    <a:gd name="T4" fmla="*/ 3 w 5"/>
                    <a:gd name="T5" fmla="*/ 16 h 27"/>
                    <a:gd name="T6" fmla="*/ 5 w 5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7">
                      <a:moveTo>
                        <a:pt x="5" y="0"/>
                      </a:moveTo>
                      <a:cubicBezTo>
                        <a:pt x="5" y="0"/>
                        <a:pt x="0" y="9"/>
                        <a:pt x="0" y="18"/>
                      </a:cubicBezTo>
                      <a:cubicBezTo>
                        <a:pt x="0" y="27"/>
                        <a:pt x="1" y="21"/>
                        <a:pt x="3" y="16"/>
                      </a:cubicBezTo>
                      <a:cubicBezTo>
                        <a:pt x="4" y="10"/>
                        <a:pt x="5" y="0"/>
                        <a:pt x="5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3" name="Freeform 150">
                  <a:extLst>
                    <a:ext uri="{FF2B5EF4-FFF2-40B4-BE49-F238E27FC236}">
                      <a16:creationId xmlns:a16="http://schemas.microsoft.com/office/drawing/2014/main" id="{13BD061E-C54B-483F-9A42-6F8AAB1B7F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30451" y="5453637"/>
                  <a:ext cx="74618" cy="79947"/>
                </a:xfrm>
                <a:custGeom>
                  <a:avLst/>
                  <a:gdLst>
                    <a:gd name="T0" fmla="*/ 8 w 18"/>
                    <a:gd name="T1" fmla="*/ 1 h 19"/>
                    <a:gd name="T2" fmla="*/ 7 w 18"/>
                    <a:gd name="T3" fmla="*/ 13 h 19"/>
                    <a:gd name="T4" fmla="*/ 18 w 18"/>
                    <a:gd name="T5" fmla="*/ 19 h 19"/>
                    <a:gd name="T6" fmla="*/ 12 w 18"/>
                    <a:gd name="T7" fmla="*/ 0 h 19"/>
                    <a:gd name="T8" fmla="*/ 8 w 18"/>
                    <a:gd name="T9" fmla="*/ 1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8" h="19">
                      <a:moveTo>
                        <a:pt x="8" y="1"/>
                      </a:moveTo>
                      <a:cubicBezTo>
                        <a:pt x="0" y="10"/>
                        <a:pt x="7" y="13"/>
                        <a:pt x="7" y="13"/>
                      </a:cubicBezTo>
                      <a:cubicBezTo>
                        <a:pt x="9" y="16"/>
                        <a:pt x="13" y="18"/>
                        <a:pt x="1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0" y="0"/>
                        <a:pt x="8" y="1"/>
                        <a:pt x="8" y="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4" name="Freeform 151">
                  <a:extLst>
                    <a:ext uri="{FF2B5EF4-FFF2-40B4-BE49-F238E27FC236}">
                      <a16:creationId xmlns:a16="http://schemas.microsoft.com/office/drawing/2014/main" id="{B4BB6FCE-0BD8-4C76-94DF-643901F9BDF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7507" y="5398561"/>
                  <a:ext cx="357098" cy="154565"/>
                </a:xfrm>
                <a:custGeom>
                  <a:avLst/>
                  <a:gdLst>
                    <a:gd name="T0" fmla="*/ 68 w 85"/>
                    <a:gd name="T1" fmla="*/ 25 h 37"/>
                    <a:gd name="T2" fmla="*/ 46 w 85"/>
                    <a:gd name="T3" fmla="*/ 12 h 37"/>
                    <a:gd name="T4" fmla="*/ 35 w 85"/>
                    <a:gd name="T5" fmla="*/ 0 h 37"/>
                    <a:gd name="T6" fmla="*/ 34 w 85"/>
                    <a:gd name="T7" fmla="*/ 0 h 37"/>
                    <a:gd name="T8" fmla="*/ 5 w 85"/>
                    <a:gd name="T9" fmla="*/ 10 h 37"/>
                    <a:gd name="T10" fmla="*/ 0 w 85"/>
                    <a:gd name="T11" fmla="*/ 11 h 37"/>
                    <a:gd name="T12" fmla="*/ 7 w 85"/>
                    <a:gd name="T13" fmla="*/ 34 h 37"/>
                    <a:gd name="T14" fmla="*/ 50 w 85"/>
                    <a:gd name="T15" fmla="*/ 35 h 37"/>
                    <a:gd name="T16" fmla="*/ 69 w 85"/>
                    <a:gd name="T17" fmla="*/ 32 h 37"/>
                    <a:gd name="T18" fmla="*/ 84 w 85"/>
                    <a:gd name="T19" fmla="*/ 30 h 37"/>
                    <a:gd name="T20" fmla="*/ 85 w 85"/>
                    <a:gd name="T21" fmla="*/ 30 h 37"/>
                    <a:gd name="T22" fmla="*/ 68 w 85"/>
                    <a:gd name="T2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5" h="37">
                      <a:moveTo>
                        <a:pt x="68" y="25"/>
                      </a:moveTo>
                      <a:cubicBezTo>
                        <a:pt x="64" y="25"/>
                        <a:pt x="50" y="16"/>
                        <a:pt x="46" y="12"/>
                      </a:cubicBezTo>
                      <a:cubicBezTo>
                        <a:pt x="43" y="9"/>
                        <a:pt x="37" y="2"/>
                        <a:pt x="35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3" y="1"/>
                        <a:pt x="12" y="9"/>
                        <a:pt x="5" y="10"/>
                      </a:cubicBezTo>
                      <a:cubicBezTo>
                        <a:pt x="4" y="10"/>
                        <a:pt x="2" y="11"/>
                        <a:pt x="0" y="1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26" y="37"/>
                        <a:pt x="50" y="35"/>
                        <a:pt x="50" y="35"/>
                      </a:cubicBezTo>
                      <a:cubicBezTo>
                        <a:pt x="58" y="35"/>
                        <a:pt x="69" y="32"/>
                        <a:pt x="69" y="32"/>
                      </a:cubicBezTo>
                      <a:cubicBezTo>
                        <a:pt x="84" y="30"/>
                        <a:pt x="84" y="30"/>
                        <a:pt x="84" y="30"/>
                      </a:cubicBezTo>
                      <a:cubicBezTo>
                        <a:pt x="85" y="30"/>
                        <a:pt x="85" y="30"/>
                        <a:pt x="85" y="30"/>
                      </a:cubicBezTo>
                      <a:cubicBezTo>
                        <a:pt x="85" y="30"/>
                        <a:pt x="71" y="25"/>
                        <a:pt x="68" y="2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342900" indent="-342900">
                    <a:buFont typeface="+mj-lt"/>
                    <a:buAutoNum type="arabicPeriod"/>
                  </a:pPr>
                  <a:endParaRPr lang="en-US" dirty="0"/>
                </a:p>
              </p:txBody>
            </p:sp>
            <p:sp>
              <p:nvSpPr>
                <p:cNvPr id="345" name="Freeform 158">
                  <a:extLst>
                    <a:ext uri="{FF2B5EF4-FFF2-40B4-BE49-F238E27FC236}">
                      <a16:creationId xmlns:a16="http://schemas.microsoft.com/office/drawing/2014/main" id="{7E328946-AB5E-401B-8ED3-EFDFDA65E0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57625" y="2998356"/>
                  <a:ext cx="591612" cy="296694"/>
                </a:xfrm>
                <a:custGeom>
                  <a:avLst/>
                  <a:gdLst>
                    <a:gd name="T0" fmla="*/ 32 w 141"/>
                    <a:gd name="T1" fmla="*/ 2 h 71"/>
                    <a:gd name="T2" fmla="*/ 24 w 141"/>
                    <a:gd name="T3" fmla="*/ 22 h 71"/>
                    <a:gd name="T4" fmla="*/ 13 w 141"/>
                    <a:gd name="T5" fmla="*/ 57 h 71"/>
                    <a:gd name="T6" fmla="*/ 62 w 141"/>
                    <a:gd name="T7" fmla="*/ 63 h 71"/>
                    <a:gd name="T8" fmla="*/ 139 w 141"/>
                    <a:gd name="T9" fmla="*/ 64 h 71"/>
                    <a:gd name="T10" fmla="*/ 139 w 141"/>
                    <a:gd name="T11" fmla="*/ 35 h 71"/>
                    <a:gd name="T12" fmla="*/ 70 w 141"/>
                    <a:gd name="T13" fmla="*/ 31 h 71"/>
                    <a:gd name="T14" fmla="*/ 67 w 141"/>
                    <a:gd name="T15" fmla="*/ 0 h 71"/>
                    <a:gd name="T16" fmla="*/ 32 w 141"/>
                    <a:gd name="T17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1" h="71">
                      <a:moveTo>
                        <a:pt x="32" y="2"/>
                      </a:moveTo>
                      <a:cubicBezTo>
                        <a:pt x="32" y="2"/>
                        <a:pt x="21" y="15"/>
                        <a:pt x="24" y="22"/>
                      </a:cubicBezTo>
                      <a:cubicBezTo>
                        <a:pt x="27" y="29"/>
                        <a:pt x="0" y="55"/>
                        <a:pt x="13" y="57"/>
                      </a:cubicBezTo>
                      <a:cubicBezTo>
                        <a:pt x="26" y="59"/>
                        <a:pt x="32" y="56"/>
                        <a:pt x="62" y="63"/>
                      </a:cubicBezTo>
                      <a:cubicBezTo>
                        <a:pt x="92" y="70"/>
                        <a:pt x="137" y="71"/>
                        <a:pt x="139" y="64"/>
                      </a:cubicBezTo>
                      <a:cubicBezTo>
                        <a:pt x="141" y="57"/>
                        <a:pt x="139" y="35"/>
                        <a:pt x="139" y="35"/>
                      </a:cubicBezTo>
                      <a:cubicBezTo>
                        <a:pt x="70" y="31"/>
                        <a:pt x="70" y="31"/>
                        <a:pt x="70" y="31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36" y="15"/>
                        <a:pt x="32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6" name="Freeform 130">
                  <a:extLst>
                    <a:ext uri="{FF2B5EF4-FFF2-40B4-BE49-F238E27FC236}">
                      <a16:creationId xmlns:a16="http://schemas.microsoft.com/office/drawing/2014/main" id="{A061B415-C4EC-4DA0-8678-AF05D00FD57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13444" y="2854451"/>
                  <a:ext cx="42639" cy="113703"/>
                </a:xfrm>
                <a:custGeom>
                  <a:avLst/>
                  <a:gdLst>
                    <a:gd name="T0" fmla="*/ 0 w 10"/>
                    <a:gd name="T1" fmla="*/ 2 h 27"/>
                    <a:gd name="T2" fmla="*/ 10 w 10"/>
                    <a:gd name="T3" fmla="*/ 0 h 27"/>
                    <a:gd name="T4" fmla="*/ 0 w 10"/>
                    <a:gd name="T5" fmla="*/ 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27">
                      <a:moveTo>
                        <a:pt x="0" y="2"/>
                      </a:moveTo>
                      <a:cubicBezTo>
                        <a:pt x="0" y="2"/>
                        <a:pt x="5" y="17"/>
                        <a:pt x="10" y="0"/>
                      </a:cubicBezTo>
                      <a:cubicBezTo>
                        <a:pt x="10" y="0"/>
                        <a:pt x="4" y="27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7" name="Freeform 129">
                  <a:extLst>
                    <a:ext uri="{FF2B5EF4-FFF2-40B4-BE49-F238E27FC236}">
                      <a16:creationId xmlns:a16="http://schemas.microsoft.com/office/drawing/2014/main" id="{A9877856-5CAD-40DA-8F43-D25DEC2B6B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7454" y="2435170"/>
                  <a:ext cx="42639" cy="335779"/>
                </a:xfrm>
                <a:custGeom>
                  <a:avLst/>
                  <a:gdLst>
                    <a:gd name="T0" fmla="*/ 10 w 10"/>
                    <a:gd name="T1" fmla="*/ 0 h 80"/>
                    <a:gd name="T2" fmla="*/ 10 w 10"/>
                    <a:gd name="T3" fmla="*/ 80 h 80"/>
                    <a:gd name="T4" fmla="*/ 2 w 10"/>
                    <a:gd name="T5" fmla="*/ 27 h 80"/>
                    <a:gd name="T6" fmla="*/ 10 w 10"/>
                    <a:gd name="T7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80">
                      <a:moveTo>
                        <a:pt x="10" y="0"/>
                      </a:moveTo>
                      <a:cubicBezTo>
                        <a:pt x="10" y="0"/>
                        <a:pt x="0" y="37"/>
                        <a:pt x="10" y="80"/>
                      </a:cubicBezTo>
                      <a:cubicBezTo>
                        <a:pt x="10" y="80"/>
                        <a:pt x="0" y="67"/>
                        <a:pt x="2" y="27"/>
                      </a:cubicBezTo>
                      <a:cubicBezTo>
                        <a:pt x="2" y="27"/>
                        <a:pt x="4" y="4"/>
                        <a:pt x="1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8" name="Freeform 121">
                  <a:extLst>
                    <a:ext uri="{FF2B5EF4-FFF2-40B4-BE49-F238E27FC236}">
                      <a16:creationId xmlns:a16="http://schemas.microsoft.com/office/drawing/2014/main" id="{2BCEAF48-A5C4-4C77-ABAB-915BAAE084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60139" y="2268169"/>
                  <a:ext cx="175883" cy="268268"/>
                </a:xfrm>
                <a:custGeom>
                  <a:avLst/>
                  <a:gdLst>
                    <a:gd name="T0" fmla="*/ 27 w 42"/>
                    <a:gd name="T1" fmla="*/ 11 h 64"/>
                    <a:gd name="T2" fmla="*/ 13 w 42"/>
                    <a:gd name="T3" fmla="*/ 35 h 64"/>
                    <a:gd name="T4" fmla="*/ 2 w 42"/>
                    <a:gd name="T5" fmla="*/ 56 h 64"/>
                    <a:gd name="T6" fmla="*/ 34 w 42"/>
                    <a:gd name="T7" fmla="*/ 14 h 64"/>
                    <a:gd name="T8" fmla="*/ 42 w 42"/>
                    <a:gd name="T9" fmla="*/ 0 h 64"/>
                    <a:gd name="T10" fmla="*/ 27 w 42"/>
                    <a:gd name="T11" fmla="*/ 11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2" h="64">
                      <a:moveTo>
                        <a:pt x="27" y="11"/>
                      </a:moveTo>
                      <a:cubicBezTo>
                        <a:pt x="27" y="11"/>
                        <a:pt x="15" y="30"/>
                        <a:pt x="13" y="35"/>
                      </a:cubicBezTo>
                      <a:cubicBezTo>
                        <a:pt x="11" y="40"/>
                        <a:pt x="4" y="49"/>
                        <a:pt x="2" y="56"/>
                      </a:cubicBezTo>
                      <a:cubicBezTo>
                        <a:pt x="0" y="64"/>
                        <a:pt x="24" y="21"/>
                        <a:pt x="34" y="14"/>
                      </a:cubicBezTo>
                      <a:cubicBezTo>
                        <a:pt x="42" y="0"/>
                        <a:pt x="42" y="0"/>
                        <a:pt x="42" y="0"/>
                      </a:cubicBezTo>
                      <a:lnTo>
                        <a:pt x="27" y="11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9" name="Freeform 96">
                  <a:extLst>
                    <a:ext uri="{FF2B5EF4-FFF2-40B4-BE49-F238E27FC236}">
                      <a16:creationId xmlns:a16="http://schemas.microsoft.com/office/drawing/2014/main" id="{A291726E-0745-4FA1-AF63-DC365590AE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3970" y="5386985"/>
                  <a:ext cx="165225" cy="85277"/>
                </a:xfrm>
                <a:custGeom>
                  <a:avLst/>
                  <a:gdLst>
                    <a:gd name="T0" fmla="*/ 2 w 39"/>
                    <a:gd name="T1" fmla="*/ 13 h 20"/>
                    <a:gd name="T2" fmla="*/ 11 w 39"/>
                    <a:gd name="T3" fmla="*/ 17 h 20"/>
                    <a:gd name="T4" fmla="*/ 27 w 39"/>
                    <a:gd name="T5" fmla="*/ 11 h 20"/>
                    <a:gd name="T6" fmla="*/ 37 w 39"/>
                    <a:gd name="T7" fmla="*/ 4 h 20"/>
                    <a:gd name="T8" fmla="*/ 21 w 39"/>
                    <a:gd name="T9" fmla="*/ 8 h 20"/>
                    <a:gd name="T10" fmla="*/ 2 w 39"/>
                    <a:gd name="T11" fmla="*/ 13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20">
                      <a:moveTo>
                        <a:pt x="2" y="13"/>
                      </a:moveTo>
                      <a:cubicBezTo>
                        <a:pt x="2" y="13"/>
                        <a:pt x="0" y="20"/>
                        <a:pt x="11" y="17"/>
                      </a:cubicBezTo>
                      <a:cubicBezTo>
                        <a:pt x="23" y="13"/>
                        <a:pt x="18" y="12"/>
                        <a:pt x="27" y="11"/>
                      </a:cubicBezTo>
                      <a:cubicBezTo>
                        <a:pt x="37" y="9"/>
                        <a:pt x="39" y="9"/>
                        <a:pt x="37" y="4"/>
                      </a:cubicBezTo>
                      <a:cubicBezTo>
                        <a:pt x="36" y="0"/>
                        <a:pt x="32" y="5"/>
                        <a:pt x="21" y="8"/>
                      </a:cubicBezTo>
                      <a:cubicBezTo>
                        <a:pt x="9" y="10"/>
                        <a:pt x="27" y="10"/>
                        <a:pt x="2" y="13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886482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>
            <a:extLst>
              <a:ext uri="{FF2B5EF4-FFF2-40B4-BE49-F238E27FC236}">
                <a16:creationId xmlns:a16="http://schemas.microsoft.com/office/drawing/2014/main" id="{D60A3309-7409-4CF3-BAF1-BEEF07DAB6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031105"/>
              </p:ext>
            </p:extLst>
          </p:nvPr>
        </p:nvGraphicFramePr>
        <p:xfrm>
          <a:off x="1375899" y="849148"/>
          <a:ext cx="4318956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uppieren 94">
            <a:extLst>
              <a:ext uri="{FF2B5EF4-FFF2-40B4-BE49-F238E27FC236}">
                <a16:creationId xmlns:a16="http://schemas.microsoft.com/office/drawing/2014/main" id="{224CACE6-C7BE-4913-9F5A-F36E12BD3FFC}"/>
              </a:ext>
            </a:extLst>
          </p:cNvPr>
          <p:cNvGrpSpPr/>
          <p:nvPr/>
        </p:nvGrpSpPr>
        <p:grpSpPr bwMode="gray">
          <a:xfrm flipH="1">
            <a:off x="249238" y="1303283"/>
            <a:ext cx="2172070" cy="3956106"/>
            <a:chOff x="6127578" y="1542741"/>
            <a:chExt cx="2418311" cy="4404597"/>
          </a:xfrm>
        </p:grpSpPr>
        <p:sp>
          <p:nvSpPr>
            <p:cNvPr id="4" name="Ellipse 30">
              <a:extLst>
                <a:ext uri="{FF2B5EF4-FFF2-40B4-BE49-F238E27FC236}">
                  <a16:creationId xmlns:a16="http://schemas.microsoft.com/office/drawing/2014/main" id="{4C94B885-CD18-442F-8972-E41552A255AA}"/>
                </a:ext>
              </a:extLst>
            </p:cNvPr>
            <p:cNvSpPr/>
            <p:nvPr/>
          </p:nvSpPr>
          <p:spPr bwMode="gray">
            <a:xfrm>
              <a:off x="6331597" y="5175636"/>
              <a:ext cx="2214292" cy="77170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" name="Gruppieren 96">
              <a:extLst>
                <a:ext uri="{FF2B5EF4-FFF2-40B4-BE49-F238E27FC236}">
                  <a16:creationId xmlns:a16="http://schemas.microsoft.com/office/drawing/2014/main" id="{2C471FCC-003A-49D9-AE36-EA569B39647D}"/>
                </a:ext>
              </a:extLst>
            </p:cNvPr>
            <p:cNvGrpSpPr/>
            <p:nvPr/>
          </p:nvGrpSpPr>
          <p:grpSpPr bwMode="gray">
            <a:xfrm>
              <a:off x="6127578" y="1542741"/>
              <a:ext cx="2193849" cy="4260459"/>
              <a:chOff x="1952625" y="539750"/>
              <a:chExt cx="3198703" cy="6211888"/>
            </a:xfrm>
          </p:grpSpPr>
          <p:sp>
            <p:nvSpPr>
              <p:cNvPr id="6" name="Freeform 99">
                <a:extLst>
                  <a:ext uri="{FF2B5EF4-FFF2-40B4-BE49-F238E27FC236}">
                    <a16:creationId xmlns:a16="http://schemas.microsoft.com/office/drawing/2014/main" id="{EB72DFAC-02CD-40A7-9BE9-D98AAF375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6296" y="3130204"/>
                <a:ext cx="1254902" cy="3314197"/>
              </a:xfrm>
              <a:custGeom>
                <a:avLst/>
                <a:gdLst>
                  <a:gd name="T0" fmla="*/ 41 w 338"/>
                  <a:gd name="T1" fmla="*/ 108 h 872"/>
                  <a:gd name="T2" fmla="*/ 25 w 338"/>
                  <a:gd name="T3" fmla="*/ 184 h 872"/>
                  <a:gd name="T4" fmla="*/ 16 w 338"/>
                  <a:gd name="T5" fmla="*/ 252 h 872"/>
                  <a:gd name="T6" fmla="*/ 16 w 338"/>
                  <a:gd name="T7" fmla="*/ 385 h 872"/>
                  <a:gd name="T8" fmla="*/ 11 w 338"/>
                  <a:gd name="T9" fmla="*/ 418 h 872"/>
                  <a:gd name="T10" fmla="*/ 14 w 338"/>
                  <a:gd name="T11" fmla="*/ 476 h 872"/>
                  <a:gd name="T12" fmla="*/ 12 w 338"/>
                  <a:gd name="T13" fmla="*/ 500 h 872"/>
                  <a:gd name="T14" fmla="*/ 11 w 338"/>
                  <a:gd name="T15" fmla="*/ 753 h 872"/>
                  <a:gd name="T16" fmla="*/ 10 w 338"/>
                  <a:gd name="T17" fmla="*/ 770 h 872"/>
                  <a:gd name="T18" fmla="*/ 0 w 338"/>
                  <a:gd name="T19" fmla="*/ 812 h 872"/>
                  <a:gd name="T20" fmla="*/ 43 w 338"/>
                  <a:gd name="T21" fmla="*/ 830 h 872"/>
                  <a:gd name="T22" fmla="*/ 111 w 338"/>
                  <a:gd name="T23" fmla="*/ 837 h 872"/>
                  <a:gd name="T24" fmla="*/ 152 w 338"/>
                  <a:gd name="T25" fmla="*/ 824 h 872"/>
                  <a:gd name="T26" fmla="*/ 158 w 338"/>
                  <a:gd name="T27" fmla="*/ 817 h 872"/>
                  <a:gd name="T28" fmla="*/ 171 w 338"/>
                  <a:gd name="T29" fmla="*/ 615 h 872"/>
                  <a:gd name="T30" fmla="*/ 180 w 338"/>
                  <a:gd name="T31" fmla="*/ 464 h 872"/>
                  <a:gd name="T32" fmla="*/ 189 w 338"/>
                  <a:gd name="T33" fmla="*/ 451 h 872"/>
                  <a:gd name="T34" fmla="*/ 203 w 338"/>
                  <a:gd name="T35" fmla="*/ 542 h 872"/>
                  <a:gd name="T36" fmla="*/ 215 w 338"/>
                  <a:gd name="T37" fmla="*/ 672 h 872"/>
                  <a:gd name="T38" fmla="*/ 206 w 338"/>
                  <a:gd name="T39" fmla="*/ 698 h 872"/>
                  <a:gd name="T40" fmla="*/ 202 w 338"/>
                  <a:gd name="T41" fmla="*/ 715 h 872"/>
                  <a:gd name="T42" fmla="*/ 199 w 338"/>
                  <a:gd name="T43" fmla="*/ 748 h 872"/>
                  <a:gd name="T44" fmla="*/ 196 w 338"/>
                  <a:gd name="T45" fmla="*/ 780 h 872"/>
                  <a:gd name="T46" fmla="*/ 191 w 338"/>
                  <a:gd name="T47" fmla="*/ 829 h 872"/>
                  <a:gd name="T48" fmla="*/ 193 w 338"/>
                  <a:gd name="T49" fmla="*/ 854 h 872"/>
                  <a:gd name="T50" fmla="*/ 194 w 338"/>
                  <a:gd name="T51" fmla="*/ 866 h 872"/>
                  <a:gd name="T52" fmla="*/ 220 w 338"/>
                  <a:gd name="T53" fmla="*/ 871 h 872"/>
                  <a:gd name="T54" fmla="*/ 292 w 338"/>
                  <a:gd name="T55" fmla="*/ 858 h 872"/>
                  <a:gd name="T56" fmla="*/ 302 w 338"/>
                  <a:gd name="T57" fmla="*/ 840 h 872"/>
                  <a:gd name="T58" fmla="*/ 331 w 338"/>
                  <a:gd name="T59" fmla="*/ 610 h 872"/>
                  <a:gd name="T60" fmla="*/ 324 w 338"/>
                  <a:gd name="T61" fmla="*/ 302 h 872"/>
                  <a:gd name="T62" fmla="*/ 322 w 338"/>
                  <a:gd name="T63" fmla="*/ 271 h 872"/>
                  <a:gd name="T64" fmla="*/ 327 w 338"/>
                  <a:gd name="T65" fmla="*/ 243 h 872"/>
                  <a:gd name="T66" fmla="*/ 327 w 338"/>
                  <a:gd name="T67" fmla="*/ 240 h 872"/>
                  <a:gd name="T68" fmla="*/ 134 w 338"/>
                  <a:gd name="T69" fmla="*/ 252 h 872"/>
                  <a:gd name="T70" fmla="*/ 97 w 338"/>
                  <a:gd name="T71" fmla="*/ 216 h 872"/>
                  <a:gd name="T72" fmla="*/ 79 w 338"/>
                  <a:gd name="T73" fmla="*/ 89 h 872"/>
                  <a:gd name="T74" fmla="*/ 75 w 338"/>
                  <a:gd name="T75" fmla="*/ 5 h 872"/>
                  <a:gd name="T76" fmla="*/ 69 w 338"/>
                  <a:gd name="T77" fmla="*/ 0 h 872"/>
                  <a:gd name="T78" fmla="*/ 41 w 338"/>
                  <a:gd name="T79" fmla="*/ 108 h 872"/>
                  <a:gd name="connsiteX0" fmla="*/ 889 w 9857"/>
                  <a:gd name="connsiteY0" fmla="*/ 1733 h 10092"/>
                  <a:gd name="connsiteX1" fmla="*/ 740 w 9857"/>
                  <a:gd name="connsiteY1" fmla="*/ 2213 h 10092"/>
                  <a:gd name="connsiteX2" fmla="*/ 473 w 9857"/>
                  <a:gd name="connsiteY2" fmla="*/ 2993 h 10092"/>
                  <a:gd name="connsiteX3" fmla="*/ 473 w 9857"/>
                  <a:gd name="connsiteY3" fmla="*/ 4518 h 10092"/>
                  <a:gd name="connsiteX4" fmla="*/ 325 w 9857"/>
                  <a:gd name="connsiteY4" fmla="*/ 4897 h 10092"/>
                  <a:gd name="connsiteX5" fmla="*/ 414 w 9857"/>
                  <a:gd name="connsiteY5" fmla="*/ 5562 h 10092"/>
                  <a:gd name="connsiteX6" fmla="*/ 355 w 9857"/>
                  <a:gd name="connsiteY6" fmla="*/ 5837 h 10092"/>
                  <a:gd name="connsiteX7" fmla="*/ 325 w 9857"/>
                  <a:gd name="connsiteY7" fmla="*/ 8738 h 10092"/>
                  <a:gd name="connsiteX8" fmla="*/ 296 w 9857"/>
                  <a:gd name="connsiteY8" fmla="*/ 8933 h 10092"/>
                  <a:gd name="connsiteX9" fmla="*/ 0 w 9857"/>
                  <a:gd name="connsiteY9" fmla="*/ 9415 h 10092"/>
                  <a:gd name="connsiteX10" fmla="*/ 1272 w 9857"/>
                  <a:gd name="connsiteY10" fmla="*/ 9621 h 10092"/>
                  <a:gd name="connsiteX11" fmla="*/ 3284 w 9857"/>
                  <a:gd name="connsiteY11" fmla="*/ 9702 h 10092"/>
                  <a:gd name="connsiteX12" fmla="*/ 4497 w 9857"/>
                  <a:gd name="connsiteY12" fmla="*/ 9553 h 10092"/>
                  <a:gd name="connsiteX13" fmla="*/ 4675 w 9857"/>
                  <a:gd name="connsiteY13" fmla="*/ 9472 h 10092"/>
                  <a:gd name="connsiteX14" fmla="*/ 5059 w 9857"/>
                  <a:gd name="connsiteY14" fmla="*/ 7156 h 10092"/>
                  <a:gd name="connsiteX15" fmla="*/ 5325 w 9857"/>
                  <a:gd name="connsiteY15" fmla="*/ 5424 h 10092"/>
                  <a:gd name="connsiteX16" fmla="*/ 5592 w 9857"/>
                  <a:gd name="connsiteY16" fmla="*/ 5275 h 10092"/>
                  <a:gd name="connsiteX17" fmla="*/ 6006 w 9857"/>
                  <a:gd name="connsiteY17" fmla="*/ 6319 h 10092"/>
                  <a:gd name="connsiteX18" fmla="*/ 6361 w 9857"/>
                  <a:gd name="connsiteY18" fmla="*/ 7809 h 10092"/>
                  <a:gd name="connsiteX19" fmla="*/ 6095 w 9857"/>
                  <a:gd name="connsiteY19" fmla="*/ 8108 h 10092"/>
                  <a:gd name="connsiteX20" fmla="*/ 5976 w 9857"/>
                  <a:gd name="connsiteY20" fmla="*/ 8303 h 10092"/>
                  <a:gd name="connsiteX21" fmla="*/ 5888 w 9857"/>
                  <a:gd name="connsiteY21" fmla="*/ 8681 h 10092"/>
                  <a:gd name="connsiteX22" fmla="*/ 5799 w 9857"/>
                  <a:gd name="connsiteY22" fmla="*/ 9048 h 10092"/>
                  <a:gd name="connsiteX23" fmla="*/ 5651 w 9857"/>
                  <a:gd name="connsiteY23" fmla="*/ 9610 h 10092"/>
                  <a:gd name="connsiteX24" fmla="*/ 5710 w 9857"/>
                  <a:gd name="connsiteY24" fmla="*/ 9897 h 10092"/>
                  <a:gd name="connsiteX25" fmla="*/ 5740 w 9857"/>
                  <a:gd name="connsiteY25" fmla="*/ 10034 h 10092"/>
                  <a:gd name="connsiteX26" fmla="*/ 6509 w 9857"/>
                  <a:gd name="connsiteY26" fmla="*/ 10092 h 10092"/>
                  <a:gd name="connsiteX27" fmla="*/ 8639 w 9857"/>
                  <a:gd name="connsiteY27" fmla="*/ 9942 h 10092"/>
                  <a:gd name="connsiteX28" fmla="*/ 8935 w 9857"/>
                  <a:gd name="connsiteY28" fmla="*/ 9736 h 10092"/>
                  <a:gd name="connsiteX29" fmla="*/ 9793 w 9857"/>
                  <a:gd name="connsiteY29" fmla="*/ 7098 h 10092"/>
                  <a:gd name="connsiteX30" fmla="*/ 9586 w 9857"/>
                  <a:gd name="connsiteY30" fmla="*/ 3566 h 10092"/>
                  <a:gd name="connsiteX31" fmla="*/ 9527 w 9857"/>
                  <a:gd name="connsiteY31" fmla="*/ 3211 h 10092"/>
                  <a:gd name="connsiteX32" fmla="*/ 9675 w 9857"/>
                  <a:gd name="connsiteY32" fmla="*/ 2890 h 10092"/>
                  <a:gd name="connsiteX33" fmla="*/ 9675 w 9857"/>
                  <a:gd name="connsiteY33" fmla="*/ 2855 h 10092"/>
                  <a:gd name="connsiteX34" fmla="*/ 3964 w 9857"/>
                  <a:gd name="connsiteY34" fmla="*/ 2993 h 10092"/>
                  <a:gd name="connsiteX35" fmla="*/ 2870 w 9857"/>
                  <a:gd name="connsiteY35" fmla="*/ 2580 h 10092"/>
                  <a:gd name="connsiteX36" fmla="*/ 2337 w 9857"/>
                  <a:gd name="connsiteY36" fmla="*/ 1124 h 10092"/>
                  <a:gd name="connsiteX37" fmla="*/ 2219 w 9857"/>
                  <a:gd name="connsiteY37" fmla="*/ 160 h 10092"/>
                  <a:gd name="connsiteX38" fmla="*/ 2041 w 9857"/>
                  <a:gd name="connsiteY38" fmla="*/ 103 h 10092"/>
                  <a:gd name="connsiteX39" fmla="*/ 889 w 9857"/>
                  <a:gd name="connsiteY39" fmla="*/ 1733 h 10092"/>
                  <a:gd name="connsiteX0" fmla="*/ 902 w 10000"/>
                  <a:gd name="connsiteY0" fmla="*/ 1717 h 10000"/>
                  <a:gd name="connsiteX1" fmla="*/ 751 w 10000"/>
                  <a:gd name="connsiteY1" fmla="*/ 2193 h 10000"/>
                  <a:gd name="connsiteX2" fmla="*/ 480 w 10000"/>
                  <a:gd name="connsiteY2" fmla="*/ 2966 h 10000"/>
                  <a:gd name="connsiteX3" fmla="*/ 480 w 10000"/>
                  <a:gd name="connsiteY3" fmla="*/ 4477 h 10000"/>
                  <a:gd name="connsiteX4" fmla="*/ 330 w 10000"/>
                  <a:gd name="connsiteY4" fmla="*/ 4852 h 10000"/>
                  <a:gd name="connsiteX5" fmla="*/ 420 w 10000"/>
                  <a:gd name="connsiteY5" fmla="*/ 5511 h 10000"/>
                  <a:gd name="connsiteX6" fmla="*/ 360 w 10000"/>
                  <a:gd name="connsiteY6" fmla="*/ 5784 h 10000"/>
                  <a:gd name="connsiteX7" fmla="*/ 330 w 10000"/>
                  <a:gd name="connsiteY7" fmla="*/ 8658 h 10000"/>
                  <a:gd name="connsiteX8" fmla="*/ 300 w 10000"/>
                  <a:gd name="connsiteY8" fmla="*/ 8852 h 10000"/>
                  <a:gd name="connsiteX9" fmla="*/ 0 w 10000"/>
                  <a:gd name="connsiteY9" fmla="*/ 9329 h 10000"/>
                  <a:gd name="connsiteX10" fmla="*/ 1290 w 10000"/>
                  <a:gd name="connsiteY10" fmla="*/ 9533 h 10000"/>
                  <a:gd name="connsiteX11" fmla="*/ 3332 w 10000"/>
                  <a:gd name="connsiteY11" fmla="*/ 9614 h 10000"/>
                  <a:gd name="connsiteX12" fmla="*/ 4562 w 10000"/>
                  <a:gd name="connsiteY12" fmla="*/ 9466 h 10000"/>
                  <a:gd name="connsiteX13" fmla="*/ 4743 w 10000"/>
                  <a:gd name="connsiteY13" fmla="*/ 9386 h 10000"/>
                  <a:gd name="connsiteX14" fmla="*/ 5132 w 10000"/>
                  <a:gd name="connsiteY14" fmla="*/ 7091 h 10000"/>
                  <a:gd name="connsiteX15" fmla="*/ 5402 w 10000"/>
                  <a:gd name="connsiteY15" fmla="*/ 5375 h 10000"/>
                  <a:gd name="connsiteX16" fmla="*/ 5673 w 10000"/>
                  <a:gd name="connsiteY16" fmla="*/ 5227 h 10000"/>
                  <a:gd name="connsiteX17" fmla="*/ 6093 w 10000"/>
                  <a:gd name="connsiteY17" fmla="*/ 6261 h 10000"/>
                  <a:gd name="connsiteX18" fmla="*/ 6453 w 10000"/>
                  <a:gd name="connsiteY18" fmla="*/ 7738 h 10000"/>
                  <a:gd name="connsiteX19" fmla="*/ 6183 w 10000"/>
                  <a:gd name="connsiteY19" fmla="*/ 8034 h 10000"/>
                  <a:gd name="connsiteX20" fmla="*/ 6063 w 10000"/>
                  <a:gd name="connsiteY20" fmla="*/ 8227 h 10000"/>
                  <a:gd name="connsiteX21" fmla="*/ 5973 w 10000"/>
                  <a:gd name="connsiteY21" fmla="*/ 8602 h 10000"/>
                  <a:gd name="connsiteX22" fmla="*/ 5883 w 10000"/>
                  <a:gd name="connsiteY22" fmla="*/ 8966 h 10000"/>
                  <a:gd name="connsiteX23" fmla="*/ 5733 w 10000"/>
                  <a:gd name="connsiteY23" fmla="*/ 9522 h 10000"/>
                  <a:gd name="connsiteX24" fmla="*/ 5793 w 10000"/>
                  <a:gd name="connsiteY24" fmla="*/ 9807 h 10000"/>
                  <a:gd name="connsiteX25" fmla="*/ 5823 w 10000"/>
                  <a:gd name="connsiteY25" fmla="*/ 9943 h 10000"/>
                  <a:gd name="connsiteX26" fmla="*/ 6603 w 10000"/>
                  <a:gd name="connsiteY26" fmla="*/ 10000 h 10000"/>
                  <a:gd name="connsiteX27" fmla="*/ 8764 w 10000"/>
                  <a:gd name="connsiteY27" fmla="*/ 9851 h 10000"/>
                  <a:gd name="connsiteX28" fmla="*/ 9065 w 10000"/>
                  <a:gd name="connsiteY28" fmla="*/ 9647 h 10000"/>
                  <a:gd name="connsiteX29" fmla="*/ 9935 w 10000"/>
                  <a:gd name="connsiteY29" fmla="*/ 7033 h 10000"/>
                  <a:gd name="connsiteX30" fmla="*/ 9725 w 10000"/>
                  <a:gd name="connsiteY30" fmla="*/ 3533 h 10000"/>
                  <a:gd name="connsiteX31" fmla="*/ 9665 w 10000"/>
                  <a:gd name="connsiteY31" fmla="*/ 3182 h 10000"/>
                  <a:gd name="connsiteX32" fmla="*/ 9815 w 10000"/>
                  <a:gd name="connsiteY32" fmla="*/ 2864 h 10000"/>
                  <a:gd name="connsiteX33" fmla="*/ 9815 w 10000"/>
                  <a:gd name="connsiteY33" fmla="*/ 2829 h 10000"/>
                  <a:gd name="connsiteX34" fmla="*/ 4022 w 10000"/>
                  <a:gd name="connsiteY34" fmla="*/ 2966 h 10000"/>
                  <a:gd name="connsiteX35" fmla="*/ 2912 w 10000"/>
                  <a:gd name="connsiteY35" fmla="*/ 2556 h 10000"/>
                  <a:gd name="connsiteX36" fmla="*/ 2371 w 10000"/>
                  <a:gd name="connsiteY36" fmla="*/ 1114 h 10000"/>
                  <a:gd name="connsiteX37" fmla="*/ 2251 w 10000"/>
                  <a:gd name="connsiteY37" fmla="*/ 159 h 10000"/>
                  <a:gd name="connsiteX38" fmla="*/ 2071 w 10000"/>
                  <a:gd name="connsiteY38" fmla="*/ 102 h 10000"/>
                  <a:gd name="connsiteX39" fmla="*/ 902 w 10000"/>
                  <a:gd name="connsiteY39" fmla="*/ 1717 h 10000"/>
                  <a:gd name="connsiteX0" fmla="*/ 902 w 10000"/>
                  <a:gd name="connsiteY0" fmla="*/ 1717 h 10042"/>
                  <a:gd name="connsiteX1" fmla="*/ 751 w 10000"/>
                  <a:gd name="connsiteY1" fmla="*/ 2193 h 10042"/>
                  <a:gd name="connsiteX2" fmla="*/ 480 w 10000"/>
                  <a:gd name="connsiteY2" fmla="*/ 2966 h 10042"/>
                  <a:gd name="connsiteX3" fmla="*/ 480 w 10000"/>
                  <a:gd name="connsiteY3" fmla="*/ 4477 h 10042"/>
                  <a:gd name="connsiteX4" fmla="*/ 330 w 10000"/>
                  <a:gd name="connsiteY4" fmla="*/ 4852 h 10042"/>
                  <a:gd name="connsiteX5" fmla="*/ 420 w 10000"/>
                  <a:gd name="connsiteY5" fmla="*/ 5511 h 10042"/>
                  <a:gd name="connsiteX6" fmla="*/ 360 w 10000"/>
                  <a:gd name="connsiteY6" fmla="*/ 5784 h 10042"/>
                  <a:gd name="connsiteX7" fmla="*/ 330 w 10000"/>
                  <a:gd name="connsiteY7" fmla="*/ 8658 h 10042"/>
                  <a:gd name="connsiteX8" fmla="*/ 300 w 10000"/>
                  <a:gd name="connsiteY8" fmla="*/ 8852 h 10042"/>
                  <a:gd name="connsiteX9" fmla="*/ 0 w 10000"/>
                  <a:gd name="connsiteY9" fmla="*/ 9329 h 10042"/>
                  <a:gd name="connsiteX10" fmla="*/ 1290 w 10000"/>
                  <a:gd name="connsiteY10" fmla="*/ 9533 h 10042"/>
                  <a:gd name="connsiteX11" fmla="*/ 3332 w 10000"/>
                  <a:gd name="connsiteY11" fmla="*/ 9614 h 10042"/>
                  <a:gd name="connsiteX12" fmla="*/ 4562 w 10000"/>
                  <a:gd name="connsiteY12" fmla="*/ 9466 h 10042"/>
                  <a:gd name="connsiteX13" fmla="*/ 4743 w 10000"/>
                  <a:gd name="connsiteY13" fmla="*/ 9386 h 10042"/>
                  <a:gd name="connsiteX14" fmla="*/ 5132 w 10000"/>
                  <a:gd name="connsiteY14" fmla="*/ 7091 h 10042"/>
                  <a:gd name="connsiteX15" fmla="*/ 5402 w 10000"/>
                  <a:gd name="connsiteY15" fmla="*/ 5375 h 10042"/>
                  <a:gd name="connsiteX16" fmla="*/ 5673 w 10000"/>
                  <a:gd name="connsiteY16" fmla="*/ 5227 h 10042"/>
                  <a:gd name="connsiteX17" fmla="*/ 6093 w 10000"/>
                  <a:gd name="connsiteY17" fmla="*/ 6261 h 10042"/>
                  <a:gd name="connsiteX18" fmla="*/ 6453 w 10000"/>
                  <a:gd name="connsiteY18" fmla="*/ 7738 h 10042"/>
                  <a:gd name="connsiteX19" fmla="*/ 6183 w 10000"/>
                  <a:gd name="connsiteY19" fmla="*/ 8034 h 10042"/>
                  <a:gd name="connsiteX20" fmla="*/ 6063 w 10000"/>
                  <a:gd name="connsiteY20" fmla="*/ 8227 h 10042"/>
                  <a:gd name="connsiteX21" fmla="*/ 5973 w 10000"/>
                  <a:gd name="connsiteY21" fmla="*/ 8602 h 10042"/>
                  <a:gd name="connsiteX22" fmla="*/ 5883 w 10000"/>
                  <a:gd name="connsiteY22" fmla="*/ 8966 h 10042"/>
                  <a:gd name="connsiteX23" fmla="*/ 5733 w 10000"/>
                  <a:gd name="connsiteY23" fmla="*/ 9522 h 10042"/>
                  <a:gd name="connsiteX24" fmla="*/ 5793 w 10000"/>
                  <a:gd name="connsiteY24" fmla="*/ 9807 h 10042"/>
                  <a:gd name="connsiteX25" fmla="*/ 5823 w 10000"/>
                  <a:gd name="connsiteY25" fmla="*/ 9943 h 10042"/>
                  <a:gd name="connsiteX26" fmla="*/ 6822 w 10000"/>
                  <a:gd name="connsiteY26" fmla="*/ 10042 h 10042"/>
                  <a:gd name="connsiteX27" fmla="*/ 8764 w 10000"/>
                  <a:gd name="connsiteY27" fmla="*/ 9851 h 10042"/>
                  <a:gd name="connsiteX28" fmla="*/ 9065 w 10000"/>
                  <a:gd name="connsiteY28" fmla="*/ 9647 h 10042"/>
                  <a:gd name="connsiteX29" fmla="*/ 9935 w 10000"/>
                  <a:gd name="connsiteY29" fmla="*/ 7033 h 10042"/>
                  <a:gd name="connsiteX30" fmla="*/ 9725 w 10000"/>
                  <a:gd name="connsiteY30" fmla="*/ 3533 h 10042"/>
                  <a:gd name="connsiteX31" fmla="*/ 9665 w 10000"/>
                  <a:gd name="connsiteY31" fmla="*/ 3182 h 10042"/>
                  <a:gd name="connsiteX32" fmla="*/ 9815 w 10000"/>
                  <a:gd name="connsiteY32" fmla="*/ 2864 h 10042"/>
                  <a:gd name="connsiteX33" fmla="*/ 9815 w 10000"/>
                  <a:gd name="connsiteY33" fmla="*/ 2829 h 10042"/>
                  <a:gd name="connsiteX34" fmla="*/ 4022 w 10000"/>
                  <a:gd name="connsiteY34" fmla="*/ 2966 h 10042"/>
                  <a:gd name="connsiteX35" fmla="*/ 2912 w 10000"/>
                  <a:gd name="connsiteY35" fmla="*/ 2556 h 10042"/>
                  <a:gd name="connsiteX36" fmla="*/ 2371 w 10000"/>
                  <a:gd name="connsiteY36" fmla="*/ 1114 h 10042"/>
                  <a:gd name="connsiteX37" fmla="*/ 2251 w 10000"/>
                  <a:gd name="connsiteY37" fmla="*/ 159 h 10042"/>
                  <a:gd name="connsiteX38" fmla="*/ 2071 w 10000"/>
                  <a:gd name="connsiteY38" fmla="*/ 102 h 10042"/>
                  <a:gd name="connsiteX39" fmla="*/ 902 w 10000"/>
                  <a:gd name="connsiteY39" fmla="*/ 1717 h 10042"/>
                  <a:gd name="connsiteX0" fmla="*/ 939 w 10037"/>
                  <a:gd name="connsiteY0" fmla="*/ 1717 h 10042"/>
                  <a:gd name="connsiteX1" fmla="*/ 788 w 10037"/>
                  <a:gd name="connsiteY1" fmla="*/ 2193 h 10042"/>
                  <a:gd name="connsiteX2" fmla="*/ 517 w 10037"/>
                  <a:gd name="connsiteY2" fmla="*/ 2966 h 10042"/>
                  <a:gd name="connsiteX3" fmla="*/ 517 w 10037"/>
                  <a:gd name="connsiteY3" fmla="*/ 4477 h 10042"/>
                  <a:gd name="connsiteX4" fmla="*/ 367 w 10037"/>
                  <a:gd name="connsiteY4" fmla="*/ 4852 h 10042"/>
                  <a:gd name="connsiteX5" fmla="*/ 457 w 10037"/>
                  <a:gd name="connsiteY5" fmla="*/ 5511 h 10042"/>
                  <a:gd name="connsiteX6" fmla="*/ 397 w 10037"/>
                  <a:gd name="connsiteY6" fmla="*/ 5784 h 10042"/>
                  <a:gd name="connsiteX7" fmla="*/ 367 w 10037"/>
                  <a:gd name="connsiteY7" fmla="*/ 8658 h 10042"/>
                  <a:gd name="connsiteX8" fmla="*/ 337 w 10037"/>
                  <a:gd name="connsiteY8" fmla="*/ 8852 h 10042"/>
                  <a:gd name="connsiteX9" fmla="*/ 37 w 10037"/>
                  <a:gd name="connsiteY9" fmla="*/ 9329 h 10042"/>
                  <a:gd name="connsiteX10" fmla="*/ 1144 w 10037"/>
                  <a:gd name="connsiteY10" fmla="*/ 9602 h 10042"/>
                  <a:gd name="connsiteX11" fmla="*/ 3369 w 10037"/>
                  <a:gd name="connsiteY11" fmla="*/ 9614 h 10042"/>
                  <a:gd name="connsiteX12" fmla="*/ 4599 w 10037"/>
                  <a:gd name="connsiteY12" fmla="*/ 9466 h 10042"/>
                  <a:gd name="connsiteX13" fmla="*/ 4780 w 10037"/>
                  <a:gd name="connsiteY13" fmla="*/ 9386 h 10042"/>
                  <a:gd name="connsiteX14" fmla="*/ 5169 w 10037"/>
                  <a:gd name="connsiteY14" fmla="*/ 7091 h 10042"/>
                  <a:gd name="connsiteX15" fmla="*/ 5439 w 10037"/>
                  <a:gd name="connsiteY15" fmla="*/ 5375 h 10042"/>
                  <a:gd name="connsiteX16" fmla="*/ 5710 w 10037"/>
                  <a:gd name="connsiteY16" fmla="*/ 5227 h 10042"/>
                  <a:gd name="connsiteX17" fmla="*/ 6130 w 10037"/>
                  <a:gd name="connsiteY17" fmla="*/ 6261 h 10042"/>
                  <a:gd name="connsiteX18" fmla="*/ 6490 w 10037"/>
                  <a:gd name="connsiteY18" fmla="*/ 7738 h 10042"/>
                  <a:gd name="connsiteX19" fmla="*/ 6220 w 10037"/>
                  <a:gd name="connsiteY19" fmla="*/ 8034 h 10042"/>
                  <a:gd name="connsiteX20" fmla="*/ 6100 w 10037"/>
                  <a:gd name="connsiteY20" fmla="*/ 8227 h 10042"/>
                  <a:gd name="connsiteX21" fmla="*/ 6010 w 10037"/>
                  <a:gd name="connsiteY21" fmla="*/ 8602 h 10042"/>
                  <a:gd name="connsiteX22" fmla="*/ 5920 w 10037"/>
                  <a:gd name="connsiteY22" fmla="*/ 8966 h 10042"/>
                  <a:gd name="connsiteX23" fmla="*/ 5770 w 10037"/>
                  <a:gd name="connsiteY23" fmla="*/ 9522 h 10042"/>
                  <a:gd name="connsiteX24" fmla="*/ 5830 w 10037"/>
                  <a:gd name="connsiteY24" fmla="*/ 9807 h 10042"/>
                  <a:gd name="connsiteX25" fmla="*/ 5860 w 10037"/>
                  <a:gd name="connsiteY25" fmla="*/ 9943 h 10042"/>
                  <a:gd name="connsiteX26" fmla="*/ 6859 w 10037"/>
                  <a:gd name="connsiteY26" fmla="*/ 10042 h 10042"/>
                  <a:gd name="connsiteX27" fmla="*/ 8801 w 10037"/>
                  <a:gd name="connsiteY27" fmla="*/ 9851 h 10042"/>
                  <a:gd name="connsiteX28" fmla="*/ 9102 w 10037"/>
                  <a:gd name="connsiteY28" fmla="*/ 9647 h 10042"/>
                  <a:gd name="connsiteX29" fmla="*/ 9972 w 10037"/>
                  <a:gd name="connsiteY29" fmla="*/ 7033 h 10042"/>
                  <a:gd name="connsiteX30" fmla="*/ 9762 w 10037"/>
                  <a:gd name="connsiteY30" fmla="*/ 3533 h 10042"/>
                  <a:gd name="connsiteX31" fmla="*/ 9702 w 10037"/>
                  <a:gd name="connsiteY31" fmla="*/ 3182 h 10042"/>
                  <a:gd name="connsiteX32" fmla="*/ 9852 w 10037"/>
                  <a:gd name="connsiteY32" fmla="*/ 2864 h 10042"/>
                  <a:gd name="connsiteX33" fmla="*/ 9852 w 10037"/>
                  <a:gd name="connsiteY33" fmla="*/ 2829 h 10042"/>
                  <a:gd name="connsiteX34" fmla="*/ 4059 w 10037"/>
                  <a:gd name="connsiteY34" fmla="*/ 2966 h 10042"/>
                  <a:gd name="connsiteX35" fmla="*/ 2949 w 10037"/>
                  <a:gd name="connsiteY35" fmla="*/ 2556 h 10042"/>
                  <a:gd name="connsiteX36" fmla="*/ 2408 w 10037"/>
                  <a:gd name="connsiteY36" fmla="*/ 1114 h 10042"/>
                  <a:gd name="connsiteX37" fmla="*/ 2288 w 10037"/>
                  <a:gd name="connsiteY37" fmla="*/ 159 h 10042"/>
                  <a:gd name="connsiteX38" fmla="*/ 2108 w 10037"/>
                  <a:gd name="connsiteY38" fmla="*/ 102 h 10042"/>
                  <a:gd name="connsiteX39" fmla="*/ 939 w 10037"/>
                  <a:gd name="connsiteY39" fmla="*/ 1717 h 10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037" h="10042">
                    <a:moveTo>
                      <a:pt x="939" y="1717"/>
                    </a:moveTo>
                    <a:cubicBezTo>
                      <a:pt x="788" y="2013"/>
                      <a:pt x="858" y="1985"/>
                      <a:pt x="788" y="2193"/>
                    </a:cubicBezTo>
                    <a:cubicBezTo>
                      <a:pt x="718" y="2401"/>
                      <a:pt x="517" y="2806"/>
                      <a:pt x="517" y="2966"/>
                    </a:cubicBezTo>
                    <a:cubicBezTo>
                      <a:pt x="517" y="3124"/>
                      <a:pt x="638" y="4284"/>
                      <a:pt x="517" y="4477"/>
                    </a:cubicBezTo>
                    <a:cubicBezTo>
                      <a:pt x="397" y="4670"/>
                      <a:pt x="367" y="4772"/>
                      <a:pt x="367" y="4852"/>
                    </a:cubicBezTo>
                    <a:cubicBezTo>
                      <a:pt x="367" y="4932"/>
                      <a:pt x="367" y="5386"/>
                      <a:pt x="457" y="5511"/>
                    </a:cubicBezTo>
                    <a:cubicBezTo>
                      <a:pt x="547" y="5636"/>
                      <a:pt x="397" y="5784"/>
                      <a:pt x="397" y="5784"/>
                    </a:cubicBezTo>
                    <a:cubicBezTo>
                      <a:pt x="307" y="6056"/>
                      <a:pt x="337" y="8579"/>
                      <a:pt x="367" y="8658"/>
                    </a:cubicBezTo>
                    <a:cubicBezTo>
                      <a:pt x="397" y="8739"/>
                      <a:pt x="337" y="8852"/>
                      <a:pt x="337" y="8852"/>
                    </a:cubicBezTo>
                    <a:cubicBezTo>
                      <a:pt x="157" y="9045"/>
                      <a:pt x="-97" y="9204"/>
                      <a:pt x="37" y="9329"/>
                    </a:cubicBezTo>
                    <a:cubicBezTo>
                      <a:pt x="171" y="9454"/>
                      <a:pt x="775" y="9511"/>
                      <a:pt x="1144" y="9602"/>
                    </a:cubicBezTo>
                    <a:cubicBezTo>
                      <a:pt x="1144" y="9602"/>
                      <a:pt x="2793" y="9637"/>
                      <a:pt x="3369" y="9614"/>
                    </a:cubicBezTo>
                    <a:cubicBezTo>
                      <a:pt x="3945" y="9591"/>
                      <a:pt x="4359" y="9533"/>
                      <a:pt x="4599" y="9466"/>
                    </a:cubicBezTo>
                    <a:cubicBezTo>
                      <a:pt x="4659" y="9431"/>
                      <a:pt x="4719" y="9408"/>
                      <a:pt x="4780" y="9386"/>
                    </a:cubicBezTo>
                    <a:cubicBezTo>
                      <a:pt x="4900" y="9306"/>
                      <a:pt x="5140" y="7193"/>
                      <a:pt x="5169" y="7091"/>
                    </a:cubicBezTo>
                    <a:cubicBezTo>
                      <a:pt x="5200" y="6989"/>
                      <a:pt x="5379" y="5705"/>
                      <a:pt x="5439" y="5375"/>
                    </a:cubicBezTo>
                    <a:cubicBezTo>
                      <a:pt x="5500" y="5046"/>
                      <a:pt x="5650" y="5170"/>
                      <a:pt x="5710" y="5227"/>
                    </a:cubicBezTo>
                    <a:cubicBezTo>
                      <a:pt x="5770" y="5283"/>
                      <a:pt x="6010" y="6011"/>
                      <a:pt x="6130" y="6261"/>
                    </a:cubicBezTo>
                    <a:cubicBezTo>
                      <a:pt x="6250" y="6511"/>
                      <a:pt x="6490" y="7738"/>
                      <a:pt x="6490" y="7738"/>
                    </a:cubicBezTo>
                    <a:cubicBezTo>
                      <a:pt x="6610" y="8045"/>
                      <a:pt x="6220" y="8034"/>
                      <a:pt x="6220" y="8034"/>
                    </a:cubicBezTo>
                    <a:cubicBezTo>
                      <a:pt x="6010" y="8079"/>
                      <a:pt x="6100" y="8227"/>
                      <a:pt x="6100" y="8227"/>
                    </a:cubicBezTo>
                    <a:cubicBezTo>
                      <a:pt x="6100" y="8307"/>
                      <a:pt x="6010" y="8602"/>
                      <a:pt x="6010" y="8602"/>
                    </a:cubicBezTo>
                    <a:cubicBezTo>
                      <a:pt x="5799" y="8874"/>
                      <a:pt x="5920" y="8966"/>
                      <a:pt x="5920" y="8966"/>
                    </a:cubicBezTo>
                    <a:cubicBezTo>
                      <a:pt x="5770" y="9159"/>
                      <a:pt x="5710" y="9386"/>
                      <a:pt x="5770" y="9522"/>
                    </a:cubicBezTo>
                    <a:cubicBezTo>
                      <a:pt x="5830" y="9658"/>
                      <a:pt x="5830" y="9807"/>
                      <a:pt x="5830" y="9807"/>
                    </a:cubicBezTo>
                    <a:cubicBezTo>
                      <a:pt x="5770" y="9874"/>
                      <a:pt x="5799" y="9909"/>
                      <a:pt x="5860" y="9943"/>
                    </a:cubicBezTo>
                    <a:cubicBezTo>
                      <a:pt x="6010" y="10011"/>
                      <a:pt x="6619" y="10042"/>
                      <a:pt x="6859" y="10042"/>
                    </a:cubicBezTo>
                    <a:cubicBezTo>
                      <a:pt x="7160" y="10042"/>
                      <a:pt x="8427" y="9917"/>
                      <a:pt x="8801" y="9851"/>
                    </a:cubicBezTo>
                    <a:cubicBezTo>
                      <a:pt x="9175" y="9785"/>
                      <a:pt x="9011" y="9727"/>
                      <a:pt x="9102" y="9647"/>
                    </a:cubicBezTo>
                    <a:cubicBezTo>
                      <a:pt x="9882" y="8966"/>
                      <a:pt x="9762" y="7670"/>
                      <a:pt x="9972" y="7033"/>
                    </a:cubicBezTo>
                    <a:cubicBezTo>
                      <a:pt x="10182" y="6329"/>
                      <a:pt x="9822" y="3614"/>
                      <a:pt x="9762" y="3533"/>
                    </a:cubicBezTo>
                    <a:cubicBezTo>
                      <a:pt x="9702" y="3454"/>
                      <a:pt x="9702" y="3182"/>
                      <a:pt x="9702" y="3182"/>
                    </a:cubicBezTo>
                    <a:cubicBezTo>
                      <a:pt x="9822" y="3034"/>
                      <a:pt x="9852" y="2920"/>
                      <a:pt x="9852" y="2864"/>
                    </a:cubicBezTo>
                    <a:lnTo>
                      <a:pt x="9852" y="2829"/>
                    </a:lnTo>
                    <a:cubicBezTo>
                      <a:pt x="7931" y="3011"/>
                      <a:pt x="4990" y="2999"/>
                      <a:pt x="4059" y="2966"/>
                    </a:cubicBezTo>
                    <a:cubicBezTo>
                      <a:pt x="3128" y="2932"/>
                      <a:pt x="2949" y="2556"/>
                      <a:pt x="2949" y="2556"/>
                    </a:cubicBezTo>
                    <a:cubicBezTo>
                      <a:pt x="2679" y="2272"/>
                      <a:pt x="2408" y="1137"/>
                      <a:pt x="2408" y="1114"/>
                    </a:cubicBezTo>
                    <a:cubicBezTo>
                      <a:pt x="2408" y="1114"/>
                      <a:pt x="2198" y="250"/>
                      <a:pt x="2288" y="159"/>
                    </a:cubicBezTo>
                    <a:cubicBezTo>
                      <a:pt x="2288" y="159"/>
                      <a:pt x="2333" y="-158"/>
                      <a:pt x="2108" y="102"/>
                    </a:cubicBezTo>
                    <a:cubicBezTo>
                      <a:pt x="1882" y="362"/>
                      <a:pt x="1419" y="626"/>
                      <a:pt x="939" y="1717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Freeform 141">
                <a:extLst>
                  <a:ext uri="{FF2B5EF4-FFF2-40B4-BE49-F238E27FC236}">
                    <a16:creationId xmlns:a16="http://schemas.microsoft.com/office/drawing/2014/main" id="{B58398E7-8223-4BCC-A5CE-5C0991D1FD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9860" y="3156285"/>
                <a:ext cx="197448" cy="550528"/>
              </a:xfrm>
              <a:custGeom>
                <a:avLst/>
                <a:gdLst>
                  <a:gd name="T0" fmla="*/ 0 w 49"/>
                  <a:gd name="T1" fmla="*/ 153 h 153"/>
                  <a:gd name="T2" fmla="*/ 27 w 49"/>
                  <a:gd name="T3" fmla="*/ 150 h 153"/>
                  <a:gd name="T4" fmla="*/ 38 w 49"/>
                  <a:gd name="T5" fmla="*/ 137 h 153"/>
                  <a:gd name="T6" fmla="*/ 20 w 49"/>
                  <a:gd name="T7" fmla="*/ 118 h 153"/>
                  <a:gd name="T8" fmla="*/ 37 w 49"/>
                  <a:gd name="T9" fmla="*/ 121 h 153"/>
                  <a:gd name="T10" fmla="*/ 24 w 49"/>
                  <a:gd name="T11" fmla="*/ 105 h 153"/>
                  <a:gd name="T12" fmla="*/ 36 w 49"/>
                  <a:gd name="T13" fmla="*/ 99 h 153"/>
                  <a:gd name="T14" fmla="*/ 43 w 49"/>
                  <a:gd name="T15" fmla="*/ 88 h 153"/>
                  <a:gd name="T16" fmla="*/ 40 w 49"/>
                  <a:gd name="T17" fmla="*/ 13 h 153"/>
                  <a:gd name="T18" fmla="*/ 19 w 49"/>
                  <a:gd name="T19" fmla="*/ 47 h 153"/>
                  <a:gd name="T20" fmla="*/ 0 w 49"/>
                  <a:gd name="T21" fmla="*/ 153 h 153"/>
                  <a:gd name="connsiteX0" fmla="*/ 0 w 8826"/>
                  <a:gd name="connsiteY0" fmla="*/ 9591 h 9591"/>
                  <a:gd name="connsiteX1" fmla="*/ 5510 w 8826"/>
                  <a:gd name="connsiteY1" fmla="*/ 9395 h 9591"/>
                  <a:gd name="connsiteX2" fmla="*/ 7755 w 8826"/>
                  <a:gd name="connsiteY2" fmla="*/ 8545 h 9591"/>
                  <a:gd name="connsiteX3" fmla="*/ 4082 w 8826"/>
                  <a:gd name="connsiteY3" fmla="*/ 7303 h 9591"/>
                  <a:gd name="connsiteX4" fmla="*/ 7551 w 8826"/>
                  <a:gd name="connsiteY4" fmla="*/ 7499 h 9591"/>
                  <a:gd name="connsiteX5" fmla="*/ 4898 w 8826"/>
                  <a:gd name="connsiteY5" fmla="*/ 6454 h 9591"/>
                  <a:gd name="connsiteX6" fmla="*/ 7347 w 8826"/>
                  <a:gd name="connsiteY6" fmla="*/ 6062 h 9591"/>
                  <a:gd name="connsiteX7" fmla="*/ 8776 w 8826"/>
                  <a:gd name="connsiteY7" fmla="*/ 5343 h 9591"/>
                  <a:gd name="connsiteX8" fmla="*/ 8163 w 8826"/>
                  <a:gd name="connsiteY8" fmla="*/ 192 h 9591"/>
                  <a:gd name="connsiteX9" fmla="*/ 3878 w 8826"/>
                  <a:gd name="connsiteY9" fmla="*/ 2663 h 9591"/>
                  <a:gd name="connsiteX10" fmla="*/ 0 w 8826"/>
                  <a:gd name="connsiteY10" fmla="*/ 9591 h 9591"/>
                  <a:gd name="connsiteX0" fmla="*/ 0 w 9999"/>
                  <a:gd name="connsiteY0" fmla="*/ 10016 h 10016"/>
                  <a:gd name="connsiteX1" fmla="*/ 6243 w 9999"/>
                  <a:gd name="connsiteY1" fmla="*/ 9812 h 10016"/>
                  <a:gd name="connsiteX2" fmla="*/ 8787 w 9999"/>
                  <a:gd name="connsiteY2" fmla="*/ 8925 h 10016"/>
                  <a:gd name="connsiteX3" fmla="*/ 4625 w 9999"/>
                  <a:gd name="connsiteY3" fmla="*/ 7630 h 10016"/>
                  <a:gd name="connsiteX4" fmla="*/ 8555 w 9999"/>
                  <a:gd name="connsiteY4" fmla="*/ 7835 h 10016"/>
                  <a:gd name="connsiteX5" fmla="*/ 5550 w 9999"/>
                  <a:gd name="connsiteY5" fmla="*/ 6745 h 10016"/>
                  <a:gd name="connsiteX6" fmla="*/ 8324 w 9999"/>
                  <a:gd name="connsiteY6" fmla="*/ 6337 h 10016"/>
                  <a:gd name="connsiteX7" fmla="*/ 9943 w 9999"/>
                  <a:gd name="connsiteY7" fmla="*/ 5587 h 10016"/>
                  <a:gd name="connsiteX8" fmla="*/ 9249 w 9999"/>
                  <a:gd name="connsiteY8" fmla="*/ 216 h 10016"/>
                  <a:gd name="connsiteX9" fmla="*/ 4394 w 9999"/>
                  <a:gd name="connsiteY9" fmla="*/ 2793 h 10016"/>
                  <a:gd name="connsiteX10" fmla="*/ 0 w 9999"/>
                  <a:gd name="connsiteY10" fmla="*/ 10016 h 10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9" h="10016">
                    <a:moveTo>
                      <a:pt x="0" y="10016"/>
                    </a:moveTo>
                    <a:cubicBezTo>
                      <a:pt x="0" y="10016"/>
                      <a:pt x="2775" y="9607"/>
                      <a:pt x="6243" y="9812"/>
                    </a:cubicBezTo>
                    <a:cubicBezTo>
                      <a:pt x="9480" y="10016"/>
                      <a:pt x="11330" y="9744"/>
                      <a:pt x="8787" y="8925"/>
                    </a:cubicBezTo>
                    <a:cubicBezTo>
                      <a:pt x="6243" y="8108"/>
                      <a:pt x="4856" y="8245"/>
                      <a:pt x="4625" y="7630"/>
                    </a:cubicBezTo>
                    <a:cubicBezTo>
                      <a:pt x="4394" y="7017"/>
                      <a:pt x="7400" y="7835"/>
                      <a:pt x="8555" y="7835"/>
                    </a:cubicBezTo>
                    <a:cubicBezTo>
                      <a:pt x="8555" y="7835"/>
                      <a:pt x="9249" y="7291"/>
                      <a:pt x="5550" y="6745"/>
                    </a:cubicBezTo>
                    <a:cubicBezTo>
                      <a:pt x="1850" y="6132"/>
                      <a:pt x="6936" y="6337"/>
                      <a:pt x="8324" y="6337"/>
                    </a:cubicBezTo>
                    <a:cubicBezTo>
                      <a:pt x="9711" y="6337"/>
                      <a:pt x="10174" y="6404"/>
                      <a:pt x="9943" y="5587"/>
                    </a:cubicBezTo>
                    <a:cubicBezTo>
                      <a:pt x="9480" y="4768"/>
                      <a:pt x="9249" y="625"/>
                      <a:pt x="9249" y="216"/>
                    </a:cubicBezTo>
                    <a:cubicBezTo>
                      <a:pt x="9018" y="-125"/>
                      <a:pt x="6583" y="-497"/>
                      <a:pt x="4394" y="2793"/>
                    </a:cubicBezTo>
                    <a:cubicBezTo>
                      <a:pt x="1850" y="6063"/>
                      <a:pt x="0" y="10016"/>
                      <a:pt x="0" y="10016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97">
                <a:extLst>
                  <a:ext uri="{FF2B5EF4-FFF2-40B4-BE49-F238E27FC236}">
                    <a16:creationId xmlns:a16="http://schemas.microsoft.com/office/drawing/2014/main" id="{A53EAA22-9496-4B29-8F7F-8EBF8F2689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8338" y="6208713"/>
                <a:ext cx="976313" cy="280988"/>
              </a:xfrm>
              <a:custGeom>
                <a:avLst/>
                <a:gdLst>
                  <a:gd name="T0" fmla="*/ 145 w 260"/>
                  <a:gd name="T1" fmla="*/ 18 h 75"/>
                  <a:gd name="T2" fmla="*/ 102 w 260"/>
                  <a:gd name="T3" fmla="*/ 0 h 75"/>
                  <a:gd name="T4" fmla="*/ 48 w 260"/>
                  <a:gd name="T5" fmla="*/ 18 h 75"/>
                  <a:gd name="T6" fmla="*/ 10 w 260"/>
                  <a:gd name="T7" fmla="*/ 31 h 75"/>
                  <a:gd name="T8" fmla="*/ 5 w 260"/>
                  <a:gd name="T9" fmla="*/ 50 h 75"/>
                  <a:gd name="T10" fmla="*/ 98 w 260"/>
                  <a:gd name="T11" fmla="*/ 61 h 75"/>
                  <a:gd name="T12" fmla="*/ 157 w 260"/>
                  <a:gd name="T13" fmla="*/ 40 h 75"/>
                  <a:gd name="T14" fmla="*/ 182 w 260"/>
                  <a:gd name="T15" fmla="*/ 38 h 75"/>
                  <a:gd name="T16" fmla="*/ 185 w 260"/>
                  <a:gd name="T17" fmla="*/ 47 h 75"/>
                  <a:gd name="T18" fmla="*/ 260 w 260"/>
                  <a:gd name="T19" fmla="*/ 29 h 75"/>
                  <a:gd name="T20" fmla="*/ 254 w 260"/>
                  <a:gd name="T21" fmla="*/ 12 h 75"/>
                  <a:gd name="T22" fmla="*/ 213 w 260"/>
                  <a:gd name="T23" fmla="*/ 25 h 75"/>
                  <a:gd name="T24" fmla="*/ 145 w 260"/>
                  <a:gd name="T25" fmla="*/ 1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0" h="75">
                    <a:moveTo>
                      <a:pt x="145" y="18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77" y="10"/>
                      <a:pt x="48" y="18"/>
                    </a:cubicBezTo>
                    <a:cubicBezTo>
                      <a:pt x="19" y="26"/>
                      <a:pt x="15" y="21"/>
                      <a:pt x="10" y="31"/>
                    </a:cubicBezTo>
                    <a:cubicBezTo>
                      <a:pt x="10" y="31"/>
                      <a:pt x="0" y="42"/>
                      <a:pt x="5" y="50"/>
                    </a:cubicBezTo>
                    <a:cubicBezTo>
                      <a:pt x="5" y="50"/>
                      <a:pt x="12" y="75"/>
                      <a:pt x="98" y="61"/>
                    </a:cubicBezTo>
                    <a:cubicBezTo>
                      <a:pt x="98" y="61"/>
                      <a:pt x="119" y="60"/>
                      <a:pt x="157" y="40"/>
                    </a:cubicBezTo>
                    <a:cubicBezTo>
                      <a:pt x="157" y="40"/>
                      <a:pt x="179" y="36"/>
                      <a:pt x="182" y="38"/>
                    </a:cubicBezTo>
                    <a:cubicBezTo>
                      <a:pt x="182" y="38"/>
                      <a:pt x="181" y="47"/>
                      <a:pt x="185" y="47"/>
                    </a:cubicBezTo>
                    <a:cubicBezTo>
                      <a:pt x="189" y="47"/>
                      <a:pt x="253" y="48"/>
                      <a:pt x="260" y="29"/>
                    </a:cubicBezTo>
                    <a:cubicBezTo>
                      <a:pt x="260" y="29"/>
                      <a:pt x="260" y="16"/>
                      <a:pt x="254" y="12"/>
                    </a:cubicBezTo>
                    <a:cubicBezTo>
                      <a:pt x="246" y="18"/>
                      <a:pt x="232" y="24"/>
                      <a:pt x="213" y="25"/>
                    </a:cubicBezTo>
                    <a:cubicBezTo>
                      <a:pt x="186" y="26"/>
                      <a:pt x="145" y="18"/>
                      <a:pt x="145" y="18"/>
                    </a:cubicBezTo>
                    <a:close/>
                  </a:path>
                </a:pathLst>
              </a:custGeom>
              <a:solidFill>
                <a:srgbClr val="000405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98">
                <a:extLst>
                  <a:ext uri="{FF2B5EF4-FFF2-40B4-BE49-F238E27FC236}">
                    <a16:creationId xmlns:a16="http://schemas.microsoft.com/office/drawing/2014/main" id="{17430EBE-6925-4E10-925F-37A526DD6C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1000" y="6313488"/>
                <a:ext cx="541338" cy="420688"/>
              </a:xfrm>
              <a:custGeom>
                <a:avLst/>
                <a:gdLst>
                  <a:gd name="T0" fmla="*/ 60 w 144"/>
                  <a:gd name="T1" fmla="*/ 31 h 112"/>
                  <a:gd name="T2" fmla="*/ 34 w 144"/>
                  <a:gd name="T3" fmla="*/ 26 h 112"/>
                  <a:gd name="T4" fmla="*/ 19 w 144"/>
                  <a:gd name="T5" fmla="*/ 60 h 112"/>
                  <a:gd name="T6" fmla="*/ 7 w 144"/>
                  <a:gd name="T7" fmla="*/ 88 h 112"/>
                  <a:gd name="T8" fmla="*/ 24 w 144"/>
                  <a:gd name="T9" fmla="*/ 107 h 112"/>
                  <a:gd name="T10" fmla="*/ 88 w 144"/>
                  <a:gd name="T11" fmla="*/ 96 h 112"/>
                  <a:gd name="T12" fmla="*/ 126 w 144"/>
                  <a:gd name="T13" fmla="*/ 56 h 112"/>
                  <a:gd name="T14" fmla="*/ 131 w 144"/>
                  <a:gd name="T15" fmla="*/ 35 h 112"/>
                  <a:gd name="T16" fmla="*/ 144 w 144"/>
                  <a:gd name="T17" fmla="*/ 20 h 112"/>
                  <a:gd name="T18" fmla="*/ 142 w 144"/>
                  <a:gd name="T19" fmla="*/ 0 h 112"/>
                  <a:gd name="T20" fmla="*/ 132 w 144"/>
                  <a:gd name="T21" fmla="*/ 18 h 112"/>
                  <a:gd name="T22" fmla="*/ 60 w 144"/>
                  <a:gd name="T23" fmla="*/ 3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4" h="112">
                    <a:moveTo>
                      <a:pt x="60" y="31"/>
                    </a:moveTo>
                    <a:cubicBezTo>
                      <a:pt x="52" y="31"/>
                      <a:pt x="39" y="32"/>
                      <a:pt x="34" y="26"/>
                    </a:cubicBezTo>
                    <a:cubicBezTo>
                      <a:pt x="30" y="32"/>
                      <a:pt x="19" y="54"/>
                      <a:pt x="19" y="60"/>
                    </a:cubicBezTo>
                    <a:cubicBezTo>
                      <a:pt x="19" y="60"/>
                      <a:pt x="7" y="82"/>
                      <a:pt x="7" y="88"/>
                    </a:cubicBezTo>
                    <a:cubicBezTo>
                      <a:pt x="7" y="94"/>
                      <a:pt x="0" y="102"/>
                      <a:pt x="24" y="107"/>
                    </a:cubicBezTo>
                    <a:cubicBezTo>
                      <a:pt x="48" y="112"/>
                      <a:pt x="64" y="111"/>
                      <a:pt x="88" y="96"/>
                    </a:cubicBezTo>
                    <a:cubicBezTo>
                      <a:pt x="112" y="81"/>
                      <a:pt x="125" y="67"/>
                      <a:pt x="126" y="56"/>
                    </a:cubicBezTo>
                    <a:cubicBezTo>
                      <a:pt x="127" y="45"/>
                      <a:pt x="131" y="35"/>
                      <a:pt x="131" y="35"/>
                    </a:cubicBezTo>
                    <a:cubicBezTo>
                      <a:pt x="131" y="35"/>
                      <a:pt x="136" y="37"/>
                      <a:pt x="144" y="20"/>
                    </a:cubicBezTo>
                    <a:cubicBezTo>
                      <a:pt x="144" y="20"/>
                      <a:pt x="143" y="9"/>
                      <a:pt x="142" y="0"/>
                    </a:cubicBezTo>
                    <a:cubicBezTo>
                      <a:pt x="139" y="7"/>
                      <a:pt x="135" y="13"/>
                      <a:pt x="132" y="18"/>
                    </a:cubicBezTo>
                    <a:cubicBezTo>
                      <a:pt x="132" y="18"/>
                      <a:pt x="70" y="31"/>
                      <a:pt x="60" y="31"/>
                    </a:cubicBezTo>
                    <a:close/>
                  </a:path>
                </a:pathLst>
              </a:custGeom>
              <a:solidFill>
                <a:srgbClr val="000405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00">
                <a:extLst>
                  <a:ext uri="{FF2B5EF4-FFF2-40B4-BE49-F238E27FC236}">
                    <a16:creationId xmlns:a16="http://schemas.microsoft.com/office/drawing/2014/main" id="{0E2ED992-3196-445B-ACE0-8DD2D3FF08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163" y="1498600"/>
                <a:ext cx="296863" cy="666750"/>
              </a:xfrm>
              <a:custGeom>
                <a:avLst/>
                <a:gdLst>
                  <a:gd name="T0" fmla="*/ 43 w 79"/>
                  <a:gd name="T1" fmla="*/ 5 h 178"/>
                  <a:gd name="T2" fmla="*/ 37 w 79"/>
                  <a:gd name="T3" fmla="*/ 1 h 178"/>
                  <a:gd name="T4" fmla="*/ 25 w 79"/>
                  <a:gd name="T5" fmla="*/ 10 h 178"/>
                  <a:gd name="T6" fmla="*/ 24 w 79"/>
                  <a:gd name="T7" fmla="*/ 16 h 178"/>
                  <a:gd name="T8" fmla="*/ 21 w 79"/>
                  <a:gd name="T9" fmla="*/ 30 h 178"/>
                  <a:gd name="T10" fmla="*/ 16 w 79"/>
                  <a:gd name="T11" fmla="*/ 73 h 178"/>
                  <a:gd name="T12" fmla="*/ 0 w 79"/>
                  <a:gd name="T13" fmla="*/ 178 h 178"/>
                  <a:gd name="T14" fmla="*/ 55 w 79"/>
                  <a:gd name="T15" fmla="*/ 87 h 178"/>
                  <a:gd name="T16" fmla="*/ 79 w 79"/>
                  <a:gd name="T17" fmla="*/ 47 h 178"/>
                  <a:gd name="T18" fmla="*/ 43 w 79"/>
                  <a:gd name="T19" fmla="*/ 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178">
                    <a:moveTo>
                      <a:pt x="43" y="5"/>
                    </a:moveTo>
                    <a:cubicBezTo>
                      <a:pt x="40" y="1"/>
                      <a:pt x="37" y="1"/>
                      <a:pt x="37" y="1"/>
                    </a:cubicBezTo>
                    <a:cubicBezTo>
                      <a:pt x="28" y="0"/>
                      <a:pt x="25" y="6"/>
                      <a:pt x="25" y="10"/>
                    </a:cubicBezTo>
                    <a:cubicBezTo>
                      <a:pt x="25" y="12"/>
                      <a:pt x="24" y="14"/>
                      <a:pt x="24" y="16"/>
                    </a:cubicBezTo>
                    <a:cubicBezTo>
                      <a:pt x="23" y="19"/>
                      <a:pt x="23" y="23"/>
                      <a:pt x="21" y="30"/>
                    </a:cubicBezTo>
                    <a:cubicBezTo>
                      <a:pt x="17" y="43"/>
                      <a:pt x="18" y="61"/>
                      <a:pt x="16" y="73"/>
                    </a:cubicBezTo>
                    <a:cubicBezTo>
                      <a:pt x="14" y="85"/>
                      <a:pt x="5" y="163"/>
                      <a:pt x="0" y="178"/>
                    </a:cubicBezTo>
                    <a:cubicBezTo>
                      <a:pt x="0" y="178"/>
                      <a:pt x="26" y="129"/>
                      <a:pt x="55" y="87"/>
                    </a:cubicBezTo>
                    <a:cubicBezTo>
                      <a:pt x="55" y="87"/>
                      <a:pt x="66" y="68"/>
                      <a:pt x="79" y="47"/>
                    </a:cubicBezTo>
                    <a:cubicBezTo>
                      <a:pt x="67" y="37"/>
                      <a:pt x="45" y="9"/>
                      <a:pt x="43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1">
                <a:extLst>
                  <a:ext uri="{FF2B5EF4-FFF2-40B4-BE49-F238E27FC236}">
                    <a16:creationId xmlns:a16="http://schemas.microsoft.com/office/drawing/2014/main" id="{87716B0F-42BE-4A8F-BBDE-35B526F9CC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76388"/>
                <a:ext cx="41275" cy="123825"/>
              </a:xfrm>
              <a:custGeom>
                <a:avLst/>
                <a:gdLst>
                  <a:gd name="T0" fmla="*/ 8 w 11"/>
                  <a:gd name="T1" fmla="*/ 26 h 33"/>
                  <a:gd name="T2" fmla="*/ 11 w 11"/>
                  <a:gd name="T3" fmla="*/ 15 h 33"/>
                  <a:gd name="T4" fmla="*/ 6 w 11"/>
                  <a:gd name="T5" fmla="*/ 0 h 33"/>
                  <a:gd name="T6" fmla="*/ 4 w 11"/>
                  <a:gd name="T7" fmla="*/ 9 h 33"/>
                  <a:gd name="T8" fmla="*/ 0 w 11"/>
                  <a:gd name="T9" fmla="*/ 33 h 33"/>
                  <a:gd name="T10" fmla="*/ 8 w 11"/>
                  <a:gd name="T11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3">
                    <a:moveTo>
                      <a:pt x="8" y="26"/>
                    </a:moveTo>
                    <a:cubicBezTo>
                      <a:pt x="10" y="22"/>
                      <a:pt x="11" y="15"/>
                      <a:pt x="11" y="15"/>
                    </a:cubicBezTo>
                    <a:cubicBezTo>
                      <a:pt x="10" y="10"/>
                      <a:pt x="8" y="5"/>
                      <a:pt x="6" y="0"/>
                    </a:cubicBezTo>
                    <a:cubicBezTo>
                      <a:pt x="6" y="2"/>
                      <a:pt x="5" y="5"/>
                      <a:pt x="4" y="9"/>
                    </a:cubicBezTo>
                    <a:cubicBezTo>
                      <a:pt x="1" y="16"/>
                      <a:pt x="1" y="25"/>
                      <a:pt x="0" y="33"/>
                    </a:cubicBezTo>
                    <a:cubicBezTo>
                      <a:pt x="3" y="30"/>
                      <a:pt x="7" y="28"/>
                      <a:pt x="8" y="26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2">
                <a:extLst>
                  <a:ext uri="{FF2B5EF4-FFF2-40B4-BE49-F238E27FC236}">
                    <a16:creationId xmlns:a16="http://schemas.microsoft.com/office/drawing/2014/main" id="{99317041-F896-49F7-A348-59B0FD083D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150" y="1562100"/>
                <a:ext cx="142875" cy="341313"/>
              </a:xfrm>
              <a:custGeom>
                <a:avLst/>
                <a:gdLst>
                  <a:gd name="T0" fmla="*/ 11 w 38"/>
                  <a:gd name="T1" fmla="*/ 0 h 91"/>
                  <a:gd name="T2" fmla="*/ 9 w 38"/>
                  <a:gd name="T3" fmla="*/ 11 h 91"/>
                  <a:gd name="T4" fmla="*/ 6 w 38"/>
                  <a:gd name="T5" fmla="*/ 23 h 91"/>
                  <a:gd name="T6" fmla="*/ 5 w 38"/>
                  <a:gd name="T7" fmla="*/ 42 h 91"/>
                  <a:gd name="T8" fmla="*/ 1 w 38"/>
                  <a:gd name="T9" fmla="*/ 72 h 91"/>
                  <a:gd name="T10" fmla="*/ 0 w 38"/>
                  <a:gd name="T11" fmla="*/ 91 h 91"/>
                  <a:gd name="T12" fmla="*/ 14 w 38"/>
                  <a:gd name="T13" fmla="*/ 70 h 91"/>
                  <a:gd name="T14" fmla="*/ 38 w 38"/>
                  <a:gd name="T15" fmla="*/ 30 h 91"/>
                  <a:gd name="T16" fmla="*/ 11 w 38"/>
                  <a:gd name="T17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91">
                    <a:moveTo>
                      <a:pt x="11" y="0"/>
                    </a:moveTo>
                    <a:cubicBezTo>
                      <a:pt x="10" y="5"/>
                      <a:pt x="9" y="10"/>
                      <a:pt x="9" y="11"/>
                    </a:cubicBezTo>
                    <a:cubicBezTo>
                      <a:pt x="10" y="14"/>
                      <a:pt x="8" y="21"/>
                      <a:pt x="6" y="23"/>
                    </a:cubicBezTo>
                    <a:cubicBezTo>
                      <a:pt x="4" y="25"/>
                      <a:pt x="4" y="38"/>
                      <a:pt x="5" y="42"/>
                    </a:cubicBezTo>
                    <a:cubicBezTo>
                      <a:pt x="5" y="47"/>
                      <a:pt x="3" y="66"/>
                      <a:pt x="1" y="72"/>
                    </a:cubicBezTo>
                    <a:cubicBezTo>
                      <a:pt x="0" y="75"/>
                      <a:pt x="0" y="83"/>
                      <a:pt x="0" y="91"/>
                    </a:cubicBezTo>
                    <a:cubicBezTo>
                      <a:pt x="4" y="84"/>
                      <a:pt x="9" y="77"/>
                      <a:pt x="14" y="70"/>
                    </a:cubicBezTo>
                    <a:cubicBezTo>
                      <a:pt x="14" y="70"/>
                      <a:pt x="25" y="51"/>
                      <a:pt x="38" y="30"/>
                    </a:cubicBezTo>
                    <a:cubicBezTo>
                      <a:pt x="30" y="24"/>
                      <a:pt x="19" y="10"/>
                      <a:pt x="11" y="0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03">
                <a:extLst>
                  <a:ext uri="{FF2B5EF4-FFF2-40B4-BE49-F238E27FC236}">
                    <a16:creationId xmlns:a16="http://schemas.microsoft.com/office/drawing/2014/main" id="{52449D5B-E05D-4176-93E0-2E7952AFFE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76388"/>
                <a:ext cx="41275" cy="123825"/>
              </a:xfrm>
              <a:custGeom>
                <a:avLst/>
                <a:gdLst>
                  <a:gd name="T0" fmla="*/ 8 w 11"/>
                  <a:gd name="T1" fmla="*/ 26 h 33"/>
                  <a:gd name="T2" fmla="*/ 11 w 11"/>
                  <a:gd name="T3" fmla="*/ 15 h 33"/>
                  <a:gd name="T4" fmla="*/ 6 w 11"/>
                  <a:gd name="T5" fmla="*/ 0 h 33"/>
                  <a:gd name="T6" fmla="*/ 4 w 11"/>
                  <a:gd name="T7" fmla="*/ 9 h 33"/>
                  <a:gd name="T8" fmla="*/ 0 w 11"/>
                  <a:gd name="T9" fmla="*/ 33 h 33"/>
                  <a:gd name="T10" fmla="*/ 8 w 11"/>
                  <a:gd name="T11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3">
                    <a:moveTo>
                      <a:pt x="8" y="26"/>
                    </a:moveTo>
                    <a:cubicBezTo>
                      <a:pt x="10" y="22"/>
                      <a:pt x="11" y="15"/>
                      <a:pt x="11" y="15"/>
                    </a:cubicBezTo>
                    <a:cubicBezTo>
                      <a:pt x="11" y="8"/>
                      <a:pt x="8" y="5"/>
                      <a:pt x="6" y="0"/>
                    </a:cubicBezTo>
                    <a:cubicBezTo>
                      <a:pt x="6" y="2"/>
                      <a:pt x="5" y="5"/>
                      <a:pt x="4" y="9"/>
                    </a:cubicBezTo>
                    <a:cubicBezTo>
                      <a:pt x="1" y="16"/>
                      <a:pt x="1" y="25"/>
                      <a:pt x="0" y="33"/>
                    </a:cubicBezTo>
                    <a:cubicBezTo>
                      <a:pt x="3" y="30"/>
                      <a:pt x="7" y="28"/>
                      <a:pt x="8" y="26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04">
                <a:extLst>
                  <a:ext uri="{FF2B5EF4-FFF2-40B4-BE49-F238E27FC236}">
                    <a16:creationId xmlns:a16="http://schemas.microsoft.com/office/drawing/2014/main" id="{D5BA2C06-E62B-4CFC-AA75-633B7CFB17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5925" y="1501775"/>
                <a:ext cx="6350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05">
                <a:extLst>
                  <a:ext uri="{FF2B5EF4-FFF2-40B4-BE49-F238E27FC236}">
                    <a16:creationId xmlns:a16="http://schemas.microsoft.com/office/drawing/2014/main" id="{78DC2B86-451A-4D5B-B642-B4F2983B8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0" y="1501775"/>
                <a:ext cx="41275" cy="49213"/>
              </a:xfrm>
              <a:custGeom>
                <a:avLst/>
                <a:gdLst>
                  <a:gd name="T0" fmla="*/ 11 w 11"/>
                  <a:gd name="T1" fmla="*/ 0 h 13"/>
                  <a:gd name="T2" fmla="*/ 0 w 11"/>
                  <a:gd name="T3" fmla="*/ 11 h 13"/>
                  <a:gd name="T4" fmla="*/ 0 w 11"/>
                  <a:gd name="T5" fmla="*/ 13 h 13"/>
                  <a:gd name="T6" fmla="*/ 11 w 11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3">
                    <a:moveTo>
                      <a:pt x="11" y="0"/>
                    </a:moveTo>
                    <a:cubicBezTo>
                      <a:pt x="4" y="0"/>
                      <a:pt x="1" y="7"/>
                      <a:pt x="0" y="11"/>
                    </a:cubicBezTo>
                    <a:cubicBezTo>
                      <a:pt x="0" y="11"/>
                      <a:pt x="0" y="12"/>
                      <a:pt x="0" y="13"/>
                    </a:cubicBezTo>
                    <a:cubicBezTo>
                      <a:pt x="0" y="11"/>
                      <a:pt x="3" y="1"/>
                      <a:pt x="11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06">
                <a:extLst>
                  <a:ext uri="{FF2B5EF4-FFF2-40B4-BE49-F238E27FC236}">
                    <a16:creationId xmlns:a16="http://schemas.microsoft.com/office/drawing/2014/main" id="{52743CAD-2A7F-468E-898B-E30A409D45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509713"/>
                <a:ext cx="0" cy="30163"/>
              </a:xfrm>
              <a:custGeom>
                <a:avLst/>
                <a:gdLst>
                  <a:gd name="T0" fmla="*/ 8 h 8"/>
                  <a:gd name="T1" fmla="*/ 0 h 8"/>
                  <a:gd name="T2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5"/>
                      <a:pt x="0" y="2"/>
                      <a:pt x="0" y="0"/>
                    </a:cubicBezTo>
                    <a:cubicBezTo>
                      <a:pt x="0" y="3"/>
                      <a:pt x="0" y="6"/>
                      <a:pt x="0" y="8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07">
                <a:extLst>
                  <a:ext uri="{FF2B5EF4-FFF2-40B4-BE49-F238E27FC236}">
                    <a16:creationId xmlns:a16="http://schemas.microsoft.com/office/drawing/2014/main" id="{830438EF-E8C6-48B9-9E6E-7A4CF3E920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150" y="1562100"/>
                <a:ext cx="142875" cy="341313"/>
              </a:xfrm>
              <a:custGeom>
                <a:avLst/>
                <a:gdLst>
                  <a:gd name="T0" fmla="*/ 9 w 38"/>
                  <a:gd name="T1" fmla="*/ 11 h 91"/>
                  <a:gd name="T2" fmla="*/ 6 w 38"/>
                  <a:gd name="T3" fmla="*/ 23 h 91"/>
                  <a:gd name="T4" fmla="*/ 5 w 38"/>
                  <a:gd name="T5" fmla="*/ 42 h 91"/>
                  <a:gd name="T6" fmla="*/ 1 w 38"/>
                  <a:gd name="T7" fmla="*/ 72 h 91"/>
                  <a:gd name="T8" fmla="*/ 0 w 38"/>
                  <a:gd name="T9" fmla="*/ 91 h 91"/>
                  <a:gd name="T10" fmla="*/ 14 w 38"/>
                  <a:gd name="T11" fmla="*/ 70 h 91"/>
                  <a:gd name="T12" fmla="*/ 38 w 38"/>
                  <a:gd name="T13" fmla="*/ 30 h 91"/>
                  <a:gd name="T14" fmla="*/ 11 w 38"/>
                  <a:gd name="T15" fmla="*/ 0 h 91"/>
                  <a:gd name="T16" fmla="*/ 9 w 38"/>
                  <a:gd name="T17" fmla="*/ 1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91">
                    <a:moveTo>
                      <a:pt x="9" y="11"/>
                    </a:moveTo>
                    <a:cubicBezTo>
                      <a:pt x="10" y="14"/>
                      <a:pt x="8" y="21"/>
                      <a:pt x="6" y="23"/>
                    </a:cubicBezTo>
                    <a:cubicBezTo>
                      <a:pt x="4" y="25"/>
                      <a:pt x="4" y="38"/>
                      <a:pt x="5" y="42"/>
                    </a:cubicBezTo>
                    <a:cubicBezTo>
                      <a:pt x="5" y="47"/>
                      <a:pt x="3" y="66"/>
                      <a:pt x="1" y="72"/>
                    </a:cubicBezTo>
                    <a:cubicBezTo>
                      <a:pt x="0" y="75"/>
                      <a:pt x="0" y="83"/>
                      <a:pt x="0" y="91"/>
                    </a:cubicBezTo>
                    <a:cubicBezTo>
                      <a:pt x="4" y="84"/>
                      <a:pt x="9" y="77"/>
                      <a:pt x="14" y="70"/>
                    </a:cubicBezTo>
                    <a:cubicBezTo>
                      <a:pt x="14" y="70"/>
                      <a:pt x="25" y="51"/>
                      <a:pt x="38" y="30"/>
                    </a:cubicBezTo>
                    <a:cubicBezTo>
                      <a:pt x="30" y="24"/>
                      <a:pt x="19" y="10"/>
                      <a:pt x="11" y="0"/>
                    </a:cubicBezTo>
                    <a:cubicBezTo>
                      <a:pt x="10" y="5"/>
                      <a:pt x="9" y="10"/>
                      <a:pt x="9" y="1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08">
                <a:extLst>
                  <a:ext uri="{FF2B5EF4-FFF2-40B4-BE49-F238E27FC236}">
                    <a16:creationId xmlns:a16="http://schemas.microsoft.com/office/drawing/2014/main" id="{A91E6B88-68FC-48C9-A00D-374BDE2F53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163" y="1501775"/>
                <a:ext cx="187325" cy="663575"/>
              </a:xfrm>
              <a:custGeom>
                <a:avLst/>
                <a:gdLst>
                  <a:gd name="T0" fmla="*/ 50 w 50"/>
                  <a:gd name="T1" fmla="*/ 15 h 177"/>
                  <a:gd name="T2" fmla="*/ 48 w 50"/>
                  <a:gd name="T3" fmla="*/ 11 h 177"/>
                  <a:gd name="T4" fmla="*/ 43 w 50"/>
                  <a:gd name="T5" fmla="*/ 4 h 177"/>
                  <a:gd name="T6" fmla="*/ 37 w 50"/>
                  <a:gd name="T7" fmla="*/ 0 h 177"/>
                  <a:gd name="T8" fmla="*/ 35 w 50"/>
                  <a:gd name="T9" fmla="*/ 0 h 177"/>
                  <a:gd name="T10" fmla="*/ 24 w 50"/>
                  <a:gd name="T11" fmla="*/ 13 h 177"/>
                  <a:gd name="T12" fmla="*/ 23 w 50"/>
                  <a:gd name="T13" fmla="*/ 20 h 177"/>
                  <a:gd name="T14" fmla="*/ 28 w 50"/>
                  <a:gd name="T15" fmla="*/ 35 h 177"/>
                  <a:gd name="T16" fmla="*/ 25 w 50"/>
                  <a:gd name="T17" fmla="*/ 46 h 177"/>
                  <a:gd name="T18" fmla="*/ 17 w 50"/>
                  <a:gd name="T19" fmla="*/ 53 h 177"/>
                  <a:gd name="T20" fmla="*/ 16 w 50"/>
                  <a:gd name="T21" fmla="*/ 72 h 177"/>
                  <a:gd name="T22" fmla="*/ 0 w 50"/>
                  <a:gd name="T23" fmla="*/ 177 h 177"/>
                  <a:gd name="T24" fmla="*/ 34 w 50"/>
                  <a:gd name="T25" fmla="*/ 117 h 177"/>
                  <a:gd name="T26" fmla="*/ 41 w 50"/>
                  <a:gd name="T27" fmla="*/ 107 h 177"/>
                  <a:gd name="T28" fmla="*/ 42 w 50"/>
                  <a:gd name="T29" fmla="*/ 88 h 177"/>
                  <a:gd name="T30" fmla="*/ 46 w 50"/>
                  <a:gd name="T31" fmla="*/ 58 h 177"/>
                  <a:gd name="T32" fmla="*/ 47 w 50"/>
                  <a:gd name="T33" fmla="*/ 39 h 177"/>
                  <a:gd name="T34" fmla="*/ 49 w 50"/>
                  <a:gd name="T35" fmla="*/ 26 h 177"/>
                  <a:gd name="T36" fmla="*/ 50 w 50"/>
                  <a:gd name="T37" fmla="*/ 15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77">
                    <a:moveTo>
                      <a:pt x="50" y="15"/>
                    </a:moveTo>
                    <a:cubicBezTo>
                      <a:pt x="49" y="13"/>
                      <a:pt x="49" y="13"/>
                      <a:pt x="48" y="11"/>
                    </a:cubicBezTo>
                    <a:cubicBezTo>
                      <a:pt x="45" y="8"/>
                      <a:pt x="43" y="5"/>
                      <a:pt x="43" y="4"/>
                    </a:cubicBezTo>
                    <a:cubicBezTo>
                      <a:pt x="40" y="0"/>
                      <a:pt x="37" y="0"/>
                      <a:pt x="37" y="0"/>
                    </a:cubicBezTo>
                    <a:cubicBezTo>
                      <a:pt x="36" y="0"/>
                      <a:pt x="35" y="0"/>
                      <a:pt x="35" y="0"/>
                    </a:cubicBezTo>
                    <a:cubicBezTo>
                      <a:pt x="27" y="1"/>
                      <a:pt x="24" y="11"/>
                      <a:pt x="24" y="13"/>
                    </a:cubicBezTo>
                    <a:cubicBezTo>
                      <a:pt x="23" y="15"/>
                      <a:pt x="23" y="19"/>
                      <a:pt x="23" y="20"/>
                    </a:cubicBezTo>
                    <a:cubicBezTo>
                      <a:pt x="25" y="25"/>
                      <a:pt x="28" y="28"/>
                      <a:pt x="28" y="35"/>
                    </a:cubicBezTo>
                    <a:cubicBezTo>
                      <a:pt x="28" y="35"/>
                      <a:pt x="27" y="42"/>
                      <a:pt x="25" y="46"/>
                    </a:cubicBezTo>
                    <a:cubicBezTo>
                      <a:pt x="24" y="48"/>
                      <a:pt x="20" y="50"/>
                      <a:pt x="17" y="53"/>
                    </a:cubicBezTo>
                    <a:cubicBezTo>
                      <a:pt x="17" y="60"/>
                      <a:pt x="16" y="67"/>
                      <a:pt x="16" y="72"/>
                    </a:cubicBezTo>
                    <a:cubicBezTo>
                      <a:pt x="14" y="84"/>
                      <a:pt x="5" y="162"/>
                      <a:pt x="0" y="177"/>
                    </a:cubicBezTo>
                    <a:cubicBezTo>
                      <a:pt x="0" y="177"/>
                      <a:pt x="14" y="149"/>
                      <a:pt x="34" y="117"/>
                    </a:cubicBezTo>
                    <a:cubicBezTo>
                      <a:pt x="36" y="114"/>
                      <a:pt x="39" y="110"/>
                      <a:pt x="41" y="107"/>
                    </a:cubicBezTo>
                    <a:cubicBezTo>
                      <a:pt x="41" y="99"/>
                      <a:pt x="41" y="91"/>
                      <a:pt x="42" y="88"/>
                    </a:cubicBezTo>
                    <a:cubicBezTo>
                      <a:pt x="44" y="82"/>
                      <a:pt x="46" y="63"/>
                      <a:pt x="46" y="58"/>
                    </a:cubicBezTo>
                    <a:cubicBezTo>
                      <a:pt x="45" y="54"/>
                      <a:pt x="45" y="42"/>
                      <a:pt x="47" y="39"/>
                    </a:cubicBezTo>
                    <a:cubicBezTo>
                      <a:pt x="49" y="35"/>
                      <a:pt x="50" y="29"/>
                      <a:pt x="49" y="26"/>
                    </a:cubicBezTo>
                    <a:cubicBezTo>
                      <a:pt x="49" y="25"/>
                      <a:pt x="49" y="19"/>
                      <a:pt x="50" y="15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09">
                <a:extLst>
                  <a:ext uri="{FF2B5EF4-FFF2-40B4-BE49-F238E27FC236}">
                    <a16:creationId xmlns:a16="http://schemas.microsoft.com/office/drawing/2014/main" id="{DCCC0741-2057-4B41-85C1-8F67F7E3D5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509713"/>
                <a:ext cx="0" cy="30163"/>
              </a:xfrm>
              <a:custGeom>
                <a:avLst/>
                <a:gdLst>
                  <a:gd name="T0" fmla="*/ 8 h 8"/>
                  <a:gd name="T1" fmla="*/ 0 h 8"/>
                  <a:gd name="T2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5"/>
                      <a:pt x="0" y="2"/>
                      <a:pt x="0" y="0"/>
                    </a:cubicBezTo>
                    <a:cubicBezTo>
                      <a:pt x="0" y="3"/>
                      <a:pt x="0" y="6"/>
                      <a:pt x="0" y="8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10">
                <a:extLst>
                  <a:ext uri="{FF2B5EF4-FFF2-40B4-BE49-F238E27FC236}">
                    <a16:creationId xmlns:a16="http://schemas.microsoft.com/office/drawing/2014/main" id="{A479D35F-B972-44E2-8E9D-7E7CDF204B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7038" y="1558925"/>
                <a:ext cx="153988" cy="358775"/>
              </a:xfrm>
              <a:custGeom>
                <a:avLst/>
                <a:gdLst>
                  <a:gd name="T0" fmla="*/ 12 w 41"/>
                  <a:gd name="T1" fmla="*/ 1 h 96"/>
                  <a:gd name="T2" fmla="*/ 10 w 41"/>
                  <a:gd name="T3" fmla="*/ 14 h 96"/>
                  <a:gd name="T4" fmla="*/ 7 w 41"/>
                  <a:gd name="T5" fmla="*/ 50 h 96"/>
                  <a:gd name="T6" fmla="*/ 3 w 41"/>
                  <a:gd name="T7" fmla="*/ 75 h 96"/>
                  <a:gd name="T8" fmla="*/ 2 w 41"/>
                  <a:gd name="T9" fmla="*/ 92 h 96"/>
                  <a:gd name="T10" fmla="*/ 16 w 41"/>
                  <a:gd name="T11" fmla="*/ 70 h 96"/>
                  <a:gd name="T12" fmla="*/ 41 w 41"/>
                  <a:gd name="T13" fmla="*/ 31 h 96"/>
                  <a:gd name="T14" fmla="*/ 12 w 41"/>
                  <a:gd name="T15" fmla="*/ 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96">
                    <a:moveTo>
                      <a:pt x="12" y="1"/>
                    </a:moveTo>
                    <a:cubicBezTo>
                      <a:pt x="10" y="0"/>
                      <a:pt x="10" y="9"/>
                      <a:pt x="10" y="14"/>
                    </a:cubicBezTo>
                    <a:cubicBezTo>
                      <a:pt x="9" y="21"/>
                      <a:pt x="8" y="44"/>
                      <a:pt x="7" y="50"/>
                    </a:cubicBezTo>
                    <a:cubicBezTo>
                      <a:pt x="7" y="51"/>
                      <a:pt x="3" y="74"/>
                      <a:pt x="3" y="75"/>
                    </a:cubicBezTo>
                    <a:cubicBezTo>
                      <a:pt x="3" y="78"/>
                      <a:pt x="0" y="96"/>
                      <a:pt x="2" y="92"/>
                    </a:cubicBezTo>
                    <a:cubicBezTo>
                      <a:pt x="7" y="85"/>
                      <a:pt x="11" y="77"/>
                      <a:pt x="16" y="70"/>
                    </a:cubicBezTo>
                    <a:cubicBezTo>
                      <a:pt x="16" y="70"/>
                      <a:pt x="28" y="52"/>
                      <a:pt x="41" y="31"/>
                    </a:cubicBezTo>
                    <a:cubicBezTo>
                      <a:pt x="33" y="25"/>
                      <a:pt x="20" y="11"/>
                      <a:pt x="12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11">
                <a:extLst>
                  <a:ext uri="{FF2B5EF4-FFF2-40B4-BE49-F238E27FC236}">
                    <a16:creationId xmlns:a16="http://schemas.microsoft.com/office/drawing/2014/main" id="{57180445-DD48-48B0-9563-B35C30F09B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190625"/>
                <a:ext cx="468313" cy="484188"/>
              </a:xfrm>
              <a:custGeom>
                <a:avLst/>
                <a:gdLst>
                  <a:gd name="T0" fmla="*/ 115 w 125"/>
                  <a:gd name="T1" fmla="*/ 13 h 129"/>
                  <a:gd name="T2" fmla="*/ 118 w 125"/>
                  <a:gd name="T3" fmla="*/ 12 h 129"/>
                  <a:gd name="T4" fmla="*/ 102 w 125"/>
                  <a:gd name="T5" fmla="*/ 0 h 129"/>
                  <a:gd name="T6" fmla="*/ 102 w 125"/>
                  <a:gd name="T7" fmla="*/ 5 h 129"/>
                  <a:gd name="T8" fmla="*/ 100 w 125"/>
                  <a:gd name="T9" fmla="*/ 11 h 129"/>
                  <a:gd name="T10" fmla="*/ 23 w 125"/>
                  <a:gd name="T11" fmla="*/ 82 h 129"/>
                  <a:gd name="T12" fmla="*/ 15 w 125"/>
                  <a:gd name="T13" fmla="*/ 75 h 129"/>
                  <a:gd name="T14" fmla="*/ 0 w 125"/>
                  <a:gd name="T15" fmla="*/ 77 h 129"/>
                  <a:gd name="T16" fmla="*/ 0 w 125"/>
                  <a:gd name="T17" fmla="*/ 78 h 129"/>
                  <a:gd name="T18" fmla="*/ 0 w 125"/>
                  <a:gd name="T19" fmla="*/ 85 h 129"/>
                  <a:gd name="T20" fmla="*/ 0 w 125"/>
                  <a:gd name="T21" fmla="*/ 93 h 129"/>
                  <a:gd name="T22" fmla="*/ 2 w 125"/>
                  <a:gd name="T23" fmla="*/ 96 h 129"/>
                  <a:gd name="T24" fmla="*/ 2 w 125"/>
                  <a:gd name="T25" fmla="*/ 96 h 129"/>
                  <a:gd name="T26" fmla="*/ 2 w 125"/>
                  <a:gd name="T27" fmla="*/ 94 h 129"/>
                  <a:gd name="T28" fmla="*/ 13 w 125"/>
                  <a:gd name="T29" fmla="*/ 83 h 129"/>
                  <a:gd name="T30" fmla="*/ 15 w 125"/>
                  <a:gd name="T31" fmla="*/ 83 h 129"/>
                  <a:gd name="T32" fmla="*/ 21 w 125"/>
                  <a:gd name="T33" fmla="*/ 87 h 129"/>
                  <a:gd name="T34" fmla="*/ 26 w 125"/>
                  <a:gd name="T35" fmla="*/ 94 h 129"/>
                  <a:gd name="T36" fmla="*/ 30 w 125"/>
                  <a:gd name="T37" fmla="*/ 99 h 129"/>
                  <a:gd name="T38" fmla="*/ 57 w 125"/>
                  <a:gd name="T39" fmla="*/ 129 h 129"/>
                  <a:gd name="T40" fmla="*/ 62 w 125"/>
                  <a:gd name="T41" fmla="*/ 122 h 129"/>
                  <a:gd name="T42" fmla="*/ 96 w 125"/>
                  <a:gd name="T43" fmla="*/ 70 h 129"/>
                  <a:gd name="T44" fmla="*/ 125 w 125"/>
                  <a:gd name="T45" fmla="*/ 33 h 129"/>
                  <a:gd name="T46" fmla="*/ 115 w 125"/>
                  <a:gd name="T47" fmla="*/ 1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5" h="129">
                    <a:moveTo>
                      <a:pt x="115" y="13"/>
                    </a:moveTo>
                    <a:cubicBezTo>
                      <a:pt x="114" y="12"/>
                      <a:pt x="116" y="12"/>
                      <a:pt x="118" y="12"/>
                    </a:cubicBezTo>
                    <a:cubicBezTo>
                      <a:pt x="111" y="6"/>
                      <a:pt x="105" y="0"/>
                      <a:pt x="102" y="0"/>
                    </a:cubicBezTo>
                    <a:cubicBezTo>
                      <a:pt x="102" y="0"/>
                      <a:pt x="103" y="2"/>
                      <a:pt x="102" y="5"/>
                    </a:cubicBezTo>
                    <a:cubicBezTo>
                      <a:pt x="102" y="7"/>
                      <a:pt x="101" y="9"/>
                      <a:pt x="100" y="11"/>
                    </a:cubicBezTo>
                    <a:cubicBezTo>
                      <a:pt x="95" y="16"/>
                      <a:pt x="28" y="76"/>
                      <a:pt x="23" y="82"/>
                    </a:cubicBezTo>
                    <a:cubicBezTo>
                      <a:pt x="23" y="82"/>
                      <a:pt x="20" y="77"/>
                      <a:pt x="15" y="75"/>
                    </a:cubicBezTo>
                    <a:cubicBezTo>
                      <a:pt x="15" y="75"/>
                      <a:pt x="9" y="74"/>
                      <a:pt x="0" y="77"/>
                    </a:cubicBezTo>
                    <a:cubicBezTo>
                      <a:pt x="0" y="77"/>
                      <a:pt x="0" y="78"/>
                      <a:pt x="0" y="78"/>
                    </a:cubicBezTo>
                    <a:cubicBezTo>
                      <a:pt x="0" y="80"/>
                      <a:pt x="0" y="83"/>
                      <a:pt x="0" y="85"/>
                    </a:cubicBezTo>
                    <a:cubicBezTo>
                      <a:pt x="0" y="87"/>
                      <a:pt x="0" y="90"/>
                      <a:pt x="0" y="93"/>
                    </a:cubicBezTo>
                    <a:cubicBezTo>
                      <a:pt x="1" y="94"/>
                      <a:pt x="1" y="95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5"/>
                      <a:pt x="2" y="94"/>
                      <a:pt x="2" y="94"/>
                    </a:cubicBezTo>
                    <a:cubicBezTo>
                      <a:pt x="3" y="90"/>
                      <a:pt x="6" y="83"/>
                      <a:pt x="13" y="83"/>
                    </a:cubicBezTo>
                    <a:cubicBezTo>
                      <a:pt x="13" y="83"/>
                      <a:pt x="14" y="83"/>
                      <a:pt x="15" y="83"/>
                    </a:cubicBezTo>
                    <a:cubicBezTo>
                      <a:pt x="15" y="83"/>
                      <a:pt x="18" y="83"/>
                      <a:pt x="21" y="87"/>
                    </a:cubicBezTo>
                    <a:cubicBezTo>
                      <a:pt x="21" y="88"/>
                      <a:pt x="23" y="91"/>
                      <a:pt x="26" y="94"/>
                    </a:cubicBezTo>
                    <a:cubicBezTo>
                      <a:pt x="27" y="96"/>
                      <a:pt x="28" y="97"/>
                      <a:pt x="30" y="99"/>
                    </a:cubicBezTo>
                    <a:cubicBezTo>
                      <a:pt x="38" y="109"/>
                      <a:pt x="49" y="123"/>
                      <a:pt x="57" y="129"/>
                    </a:cubicBezTo>
                    <a:cubicBezTo>
                      <a:pt x="59" y="126"/>
                      <a:pt x="60" y="124"/>
                      <a:pt x="62" y="122"/>
                    </a:cubicBezTo>
                    <a:cubicBezTo>
                      <a:pt x="75" y="101"/>
                      <a:pt x="89" y="79"/>
                      <a:pt x="96" y="70"/>
                    </a:cubicBezTo>
                    <a:cubicBezTo>
                      <a:pt x="111" y="51"/>
                      <a:pt x="125" y="33"/>
                      <a:pt x="125" y="33"/>
                    </a:cubicBezTo>
                    <a:cubicBezTo>
                      <a:pt x="125" y="33"/>
                      <a:pt x="116" y="18"/>
                      <a:pt x="115" y="13"/>
                    </a:cubicBezTo>
                    <a:close/>
                  </a:path>
                </a:pathLst>
              </a:custGeom>
              <a:solidFill>
                <a:srgbClr val="D4E7F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112">
                <a:extLst>
                  <a:ext uri="{FF2B5EF4-FFF2-40B4-BE49-F238E27FC236}">
                    <a16:creationId xmlns:a16="http://schemas.microsoft.com/office/drawing/2014/main" id="{58BB30EF-B966-4621-BEB5-D01948E31D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65563" y="539750"/>
                <a:ext cx="712788" cy="561975"/>
              </a:xfrm>
              <a:custGeom>
                <a:avLst/>
                <a:gdLst>
                  <a:gd name="T0" fmla="*/ 19 w 190"/>
                  <a:gd name="T1" fmla="*/ 77 h 150"/>
                  <a:gd name="T2" fmla="*/ 55 w 190"/>
                  <a:gd name="T3" fmla="*/ 58 h 150"/>
                  <a:gd name="T4" fmla="*/ 84 w 190"/>
                  <a:gd name="T5" fmla="*/ 62 h 150"/>
                  <a:gd name="T6" fmla="*/ 104 w 190"/>
                  <a:gd name="T7" fmla="*/ 97 h 150"/>
                  <a:gd name="T8" fmla="*/ 111 w 190"/>
                  <a:gd name="T9" fmla="*/ 103 h 150"/>
                  <a:gd name="T10" fmla="*/ 119 w 190"/>
                  <a:gd name="T11" fmla="*/ 120 h 150"/>
                  <a:gd name="T12" fmla="*/ 141 w 190"/>
                  <a:gd name="T13" fmla="*/ 112 h 150"/>
                  <a:gd name="T14" fmla="*/ 157 w 190"/>
                  <a:gd name="T15" fmla="*/ 94 h 150"/>
                  <a:gd name="T16" fmla="*/ 175 w 190"/>
                  <a:gd name="T17" fmla="*/ 111 h 150"/>
                  <a:gd name="T18" fmla="*/ 178 w 190"/>
                  <a:gd name="T19" fmla="*/ 150 h 150"/>
                  <a:gd name="T20" fmla="*/ 181 w 190"/>
                  <a:gd name="T21" fmla="*/ 122 h 150"/>
                  <a:gd name="T22" fmla="*/ 119 w 190"/>
                  <a:gd name="T23" fmla="*/ 9 h 150"/>
                  <a:gd name="T24" fmla="*/ 58 w 190"/>
                  <a:gd name="T25" fmla="*/ 14 h 150"/>
                  <a:gd name="T26" fmla="*/ 23 w 190"/>
                  <a:gd name="T27" fmla="*/ 37 h 150"/>
                  <a:gd name="T28" fmla="*/ 12 w 190"/>
                  <a:gd name="T29" fmla="*/ 49 h 150"/>
                  <a:gd name="T30" fmla="*/ 3 w 190"/>
                  <a:gd name="T31" fmla="*/ 59 h 150"/>
                  <a:gd name="T32" fmla="*/ 4 w 190"/>
                  <a:gd name="T33" fmla="*/ 69 h 150"/>
                  <a:gd name="T34" fmla="*/ 7 w 190"/>
                  <a:gd name="T35" fmla="*/ 77 h 150"/>
                  <a:gd name="T36" fmla="*/ 7 w 190"/>
                  <a:gd name="T37" fmla="*/ 76 h 150"/>
                  <a:gd name="T38" fmla="*/ 19 w 190"/>
                  <a:gd name="T39" fmla="*/ 77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0" h="150">
                    <a:moveTo>
                      <a:pt x="19" y="77"/>
                    </a:moveTo>
                    <a:cubicBezTo>
                      <a:pt x="32" y="77"/>
                      <a:pt x="38" y="69"/>
                      <a:pt x="55" y="58"/>
                    </a:cubicBezTo>
                    <a:cubicBezTo>
                      <a:pt x="72" y="48"/>
                      <a:pt x="84" y="62"/>
                      <a:pt x="84" y="62"/>
                    </a:cubicBezTo>
                    <a:cubicBezTo>
                      <a:pt x="83" y="83"/>
                      <a:pt x="97" y="94"/>
                      <a:pt x="104" y="97"/>
                    </a:cubicBezTo>
                    <a:cubicBezTo>
                      <a:pt x="110" y="99"/>
                      <a:pt x="111" y="103"/>
                      <a:pt x="111" y="103"/>
                    </a:cubicBezTo>
                    <a:cubicBezTo>
                      <a:pt x="113" y="105"/>
                      <a:pt x="116" y="117"/>
                      <a:pt x="119" y="120"/>
                    </a:cubicBezTo>
                    <a:cubicBezTo>
                      <a:pt x="121" y="123"/>
                      <a:pt x="137" y="125"/>
                      <a:pt x="141" y="112"/>
                    </a:cubicBezTo>
                    <a:cubicBezTo>
                      <a:pt x="146" y="99"/>
                      <a:pt x="157" y="94"/>
                      <a:pt x="157" y="94"/>
                    </a:cubicBezTo>
                    <a:cubicBezTo>
                      <a:pt x="163" y="89"/>
                      <a:pt x="175" y="98"/>
                      <a:pt x="175" y="111"/>
                    </a:cubicBezTo>
                    <a:cubicBezTo>
                      <a:pt x="175" y="123"/>
                      <a:pt x="176" y="138"/>
                      <a:pt x="178" y="150"/>
                    </a:cubicBezTo>
                    <a:cubicBezTo>
                      <a:pt x="179" y="140"/>
                      <a:pt x="180" y="127"/>
                      <a:pt x="181" y="122"/>
                    </a:cubicBezTo>
                    <a:cubicBezTo>
                      <a:pt x="181" y="122"/>
                      <a:pt x="190" y="31"/>
                      <a:pt x="119" y="9"/>
                    </a:cubicBezTo>
                    <a:cubicBezTo>
                      <a:pt x="119" y="9"/>
                      <a:pt x="89" y="0"/>
                      <a:pt x="58" y="14"/>
                    </a:cubicBezTo>
                    <a:cubicBezTo>
                      <a:pt x="27" y="28"/>
                      <a:pt x="27" y="35"/>
                      <a:pt x="23" y="37"/>
                    </a:cubicBezTo>
                    <a:cubicBezTo>
                      <a:pt x="18" y="40"/>
                      <a:pt x="13" y="47"/>
                      <a:pt x="12" y="49"/>
                    </a:cubicBezTo>
                    <a:cubicBezTo>
                      <a:pt x="11" y="51"/>
                      <a:pt x="5" y="58"/>
                      <a:pt x="3" y="59"/>
                    </a:cubicBezTo>
                    <a:cubicBezTo>
                      <a:pt x="2" y="60"/>
                      <a:pt x="0" y="62"/>
                      <a:pt x="4" y="69"/>
                    </a:cubicBezTo>
                    <a:cubicBezTo>
                      <a:pt x="5" y="73"/>
                      <a:pt x="6" y="75"/>
                      <a:pt x="7" y="77"/>
                    </a:cubicBezTo>
                    <a:cubicBezTo>
                      <a:pt x="7" y="77"/>
                      <a:pt x="7" y="76"/>
                      <a:pt x="7" y="76"/>
                    </a:cubicBezTo>
                    <a:lnTo>
                      <a:pt x="19" y="77"/>
                    </a:lnTo>
                    <a:close/>
                  </a:path>
                </a:pathLst>
              </a:custGeom>
              <a:solidFill>
                <a:srgbClr val="38291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113">
                <a:extLst>
                  <a:ext uri="{FF2B5EF4-FFF2-40B4-BE49-F238E27FC236}">
                    <a16:creationId xmlns:a16="http://schemas.microsoft.com/office/drawing/2014/main" id="{89FA25AB-6579-4B75-8E33-D50368A778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3500" y="714375"/>
                <a:ext cx="685800" cy="784225"/>
              </a:xfrm>
              <a:custGeom>
                <a:avLst/>
                <a:gdLst>
                  <a:gd name="T0" fmla="*/ 177 w 183"/>
                  <a:gd name="T1" fmla="*/ 107 h 209"/>
                  <a:gd name="T2" fmla="*/ 176 w 183"/>
                  <a:gd name="T3" fmla="*/ 102 h 209"/>
                  <a:gd name="T4" fmla="*/ 173 w 183"/>
                  <a:gd name="T5" fmla="*/ 63 h 209"/>
                  <a:gd name="T6" fmla="*/ 155 w 183"/>
                  <a:gd name="T7" fmla="*/ 46 h 209"/>
                  <a:gd name="T8" fmla="*/ 139 w 183"/>
                  <a:gd name="T9" fmla="*/ 64 h 209"/>
                  <a:gd name="T10" fmla="*/ 117 w 183"/>
                  <a:gd name="T11" fmla="*/ 72 h 209"/>
                  <a:gd name="T12" fmla="*/ 109 w 183"/>
                  <a:gd name="T13" fmla="*/ 55 h 209"/>
                  <a:gd name="T14" fmla="*/ 102 w 183"/>
                  <a:gd name="T15" fmla="*/ 49 h 209"/>
                  <a:gd name="T16" fmla="*/ 82 w 183"/>
                  <a:gd name="T17" fmla="*/ 14 h 209"/>
                  <a:gd name="T18" fmla="*/ 53 w 183"/>
                  <a:gd name="T19" fmla="*/ 10 h 209"/>
                  <a:gd name="T20" fmla="*/ 17 w 183"/>
                  <a:gd name="T21" fmla="*/ 29 h 209"/>
                  <a:gd name="T22" fmla="*/ 5 w 183"/>
                  <a:gd name="T23" fmla="*/ 28 h 209"/>
                  <a:gd name="T24" fmla="*/ 5 w 183"/>
                  <a:gd name="T25" fmla="*/ 29 h 209"/>
                  <a:gd name="T26" fmla="*/ 3 w 183"/>
                  <a:gd name="T27" fmla="*/ 41 h 209"/>
                  <a:gd name="T28" fmla="*/ 3 w 183"/>
                  <a:gd name="T29" fmla="*/ 72 h 209"/>
                  <a:gd name="T30" fmla="*/ 4 w 183"/>
                  <a:gd name="T31" fmla="*/ 88 h 209"/>
                  <a:gd name="T32" fmla="*/ 13 w 183"/>
                  <a:gd name="T33" fmla="*/ 95 h 209"/>
                  <a:gd name="T34" fmla="*/ 16 w 183"/>
                  <a:gd name="T35" fmla="*/ 103 h 209"/>
                  <a:gd name="T36" fmla="*/ 18 w 183"/>
                  <a:gd name="T37" fmla="*/ 128 h 209"/>
                  <a:gd name="T38" fmla="*/ 23 w 183"/>
                  <a:gd name="T39" fmla="*/ 144 h 209"/>
                  <a:gd name="T40" fmla="*/ 32 w 183"/>
                  <a:gd name="T41" fmla="*/ 145 h 209"/>
                  <a:gd name="T42" fmla="*/ 36 w 183"/>
                  <a:gd name="T43" fmla="*/ 155 h 209"/>
                  <a:gd name="T44" fmla="*/ 41 w 183"/>
                  <a:gd name="T45" fmla="*/ 160 h 209"/>
                  <a:gd name="T46" fmla="*/ 40 w 183"/>
                  <a:gd name="T47" fmla="*/ 165 h 209"/>
                  <a:gd name="T48" fmla="*/ 47 w 183"/>
                  <a:gd name="T49" fmla="*/ 173 h 209"/>
                  <a:gd name="T50" fmla="*/ 58 w 183"/>
                  <a:gd name="T51" fmla="*/ 197 h 209"/>
                  <a:gd name="T52" fmla="*/ 82 w 183"/>
                  <a:gd name="T53" fmla="*/ 201 h 209"/>
                  <a:gd name="T54" fmla="*/ 81 w 183"/>
                  <a:gd name="T55" fmla="*/ 204 h 209"/>
                  <a:gd name="T56" fmla="*/ 96 w 183"/>
                  <a:gd name="T57" fmla="*/ 202 h 209"/>
                  <a:gd name="T58" fmla="*/ 104 w 183"/>
                  <a:gd name="T59" fmla="*/ 209 h 209"/>
                  <a:gd name="T60" fmla="*/ 181 w 183"/>
                  <a:gd name="T61" fmla="*/ 138 h 209"/>
                  <a:gd name="T62" fmla="*/ 183 w 183"/>
                  <a:gd name="T63" fmla="*/ 132 h 209"/>
                  <a:gd name="T64" fmla="*/ 177 w 183"/>
                  <a:gd name="T65" fmla="*/ 107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3" h="209">
                    <a:moveTo>
                      <a:pt x="177" y="107"/>
                    </a:moveTo>
                    <a:cubicBezTo>
                      <a:pt x="176" y="106"/>
                      <a:pt x="176" y="104"/>
                      <a:pt x="176" y="102"/>
                    </a:cubicBezTo>
                    <a:cubicBezTo>
                      <a:pt x="174" y="90"/>
                      <a:pt x="173" y="75"/>
                      <a:pt x="173" y="63"/>
                    </a:cubicBezTo>
                    <a:cubicBezTo>
                      <a:pt x="173" y="50"/>
                      <a:pt x="161" y="41"/>
                      <a:pt x="155" y="46"/>
                    </a:cubicBezTo>
                    <a:cubicBezTo>
                      <a:pt x="155" y="46"/>
                      <a:pt x="144" y="51"/>
                      <a:pt x="139" y="64"/>
                    </a:cubicBezTo>
                    <a:cubicBezTo>
                      <a:pt x="135" y="77"/>
                      <a:pt x="119" y="75"/>
                      <a:pt x="117" y="72"/>
                    </a:cubicBezTo>
                    <a:cubicBezTo>
                      <a:pt x="114" y="69"/>
                      <a:pt x="111" y="57"/>
                      <a:pt x="109" y="55"/>
                    </a:cubicBezTo>
                    <a:cubicBezTo>
                      <a:pt x="109" y="55"/>
                      <a:pt x="108" y="51"/>
                      <a:pt x="102" y="49"/>
                    </a:cubicBezTo>
                    <a:cubicBezTo>
                      <a:pt x="95" y="46"/>
                      <a:pt x="81" y="35"/>
                      <a:pt x="82" y="14"/>
                    </a:cubicBezTo>
                    <a:cubicBezTo>
                      <a:pt x="82" y="14"/>
                      <a:pt x="70" y="0"/>
                      <a:pt x="53" y="10"/>
                    </a:cubicBezTo>
                    <a:cubicBezTo>
                      <a:pt x="36" y="21"/>
                      <a:pt x="30" y="29"/>
                      <a:pt x="17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9"/>
                      <a:pt x="5" y="29"/>
                    </a:cubicBezTo>
                    <a:cubicBezTo>
                      <a:pt x="4" y="32"/>
                      <a:pt x="3" y="38"/>
                      <a:pt x="3" y="41"/>
                    </a:cubicBezTo>
                    <a:cubicBezTo>
                      <a:pt x="3" y="45"/>
                      <a:pt x="5" y="67"/>
                      <a:pt x="3" y="72"/>
                    </a:cubicBezTo>
                    <a:cubicBezTo>
                      <a:pt x="1" y="76"/>
                      <a:pt x="0" y="85"/>
                      <a:pt x="4" y="88"/>
                    </a:cubicBezTo>
                    <a:cubicBezTo>
                      <a:pt x="8" y="90"/>
                      <a:pt x="13" y="93"/>
                      <a:pt x="13" y="95"/>
                    </a:cubicBezTo>
                    <a:cubicBezTo>
                      <a:pt x="13" y="97"/>
                      <a:pt x="15" y="99"/>
                      <a:pt x="16" y="103"/>
                    </a:cubicBezTo>
                    <a:cubicBezTo>
                      <a:pt x="17" y="108"/>
                      <a:pt x="18" y="125"/>
                      <a:pt x="18" y="128"/>
                    </a:cubicBezTo>
                    <a:cubicBezTo>
                      <a:pt x="17" y="130"/>
                      <a:pt x="16" y="142"/>
                      <a:pt x="23" y="144"/>
                    </a:cubicBezTo>
                    <a:cubicBezTo>
                      <a:pt x="29" y="145"/>
                      <a:pt x="30" y="145"/>
                      <a:pt x="32" y="145"/>
                    </a:cubicBezTo>
                    <a:cubicBezTo>
                      <a:pt x="33" y="144"/>
                      <a:pt x="36" y="155"/>
                      <a:pt x="36" y="155"/>
                    </a:cubicBezTo>
                    <a:cubicBezTo>
                      <a:pt x="36" y="155"/>
                      <a:pt x="37" y="158"/>
                      <a:pt x="41" y="160"/>
                    </a:cubicBezTo>
                    <a:cubicBezTo>
                      <a:pt x="41" y="160"/>
                      <a:pt x="40" y="162"/>
                      <a:pt x="40" y="165"/>
                    </a:cubicBezTo>
                    <a:cubicBezTo>
                      <a:pt x="41" y="166"/>
                      <a:pt x="41" y="172"/>
                      <a:pt x="47" y="173"/>
                    </a:cubicBezTo>
                    <a:cubicBezTo>
                      <a:pt x="47" y="173"/>
                      <a:pt x="47" y="197"/>
                      <a:pt x="58" y="197"/>
                    </a:cubicBezTo>
                    <a:cubicBezTo>
                      <a:pt x="58" y="197"/>
                      <a:pt x="72" y="199"/>
                      <a:pt x="82" y="201"/>
                    </a:cubicBezTo>
                    <a:cubicBezTo>
                      <a:pt x="82" y="201"/>
                      <a:pt x="81" y="202"/>
                      <a:pt x="81" y="204"/>
                    </a:cubicBezTo>
                    <a:cubicBezTo>
                      <a:pt x="90" y="201"/>
                      <a:pt x="96" y="202"/>
                      <a:pt x="96" y="202"/>
                    </a:cubicBezTo>
                    <a:cubicBezTo>
                      <a:pt x="101" y="204"/>
                      <a:pt x="104" y="209"/>
                      <a:pt x="104" y="209"/>
                    </a:cubicBezTo>
                    <a:cubicBezTo>
                      <a:pt x="109" y="203"/>
                      <a:pt x="176" y="143"/>
                      <a:pt x="181" y="138"/>
                    </a:cubicBezTo>
                    <a:cubicBezTo>
                      <a:pt x="182" y="136"/>
                      <a:pt x="183" y="134"/>
                      <a:pt x="183" y="132"/>
                    </a:cubicBezTo>
                    <a:cubicBezTo>
                      <a:pt x="181" y="125"/>
                      <a:pt x="178" y="115"/>
                      <a:pt x="177" y="10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114">
                <a:extLst>
                  <a:ext uri="{FF2B5EF4-FFF2-40B4-BE49-F238E27FC236}">
                    <a16:creationId xmlns:a16="http://schemas.microsoft.com/office/drawing/2014/main" id="{64C4DD6B-6746-450E-9E89-ECD432CF4F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2088" y="1524000"/>
                <a:ext cx="169863" cy="341313"/>
              </a:xfrm>
              <a:custGeom>
                <a:avLst/>
                <a:gdLst>
                  <a:gd name="T0" fmla="*/ 43 w 45"/>
                  <a:gd name="T1" fmla="*/ 32 h 91"/>
                  <a:gd name="T2" fmla="*/ 32 w 45"/>
                  <a:gd name="T3" fmla="*/ 12 h 91"/>
                  <a:gd name="T4" fmla="*/ 8 w 45"/>
                  <a:gd name="T5" fmla="*/ 0 h 91"/>
                  <a:gd name="T6" fmla="*/ 7 w 45"/>
                  <a:gd name="T7" fmla="*/ 1 h 91"/>
                  <a:gd name="T8" fmla="*/ 7 w 45"/>
                  <a:gd name="T9" fmla="*/ 1 h 91"/>
                  <a:gd name="T10" fmla="*/ 19 w 45"/>
                  <a:gd name="T11" fmla="*/ 7 h 91"/>
                  <a:gd name="T12" fmla="*/ 32 w 45"/>
                  <a:gd name="T13" fmla="*/ 39 h 91"/>
                  <a:gd name="T14" fmla="*/ 18 w 45"/>
                  <a:gd name="T15" fmla="*/ 59 h 91"/>
                  <a:gd name="T16" fmla="*/ 3 w 45"/>
                  <a:gd name="T17" fmla="*/ 69 h 91"/>
                  <a:gd name="T18" fmla="*/ 0 w 45"/>
                  <a:gd name="T19" fmla="*/ 70 h 91"/>
                  <a:gd name="T20" fmla="*/ 3 w 45"/>
                  <a:gd name="T21" fmla="*/ 76 h 91"/>
                  <a:gd name="T22" fmla="*/ 35 w 45"/>
                  <a:gd name="T23" fmla="*/ 91 h 91"/>
                  <a:gd name="T24" fmla="*/ 42 w 45"/>
                  <a:gd name="T25" fmla="*/ 80 h 91"/>
                  <a:gd name="T26" fmla="*/ 43 w 45"/>
                  <a:gd name="T27" fmla="*/ 3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91">
                    <a:moveTo>
                      <a:pt x="43" y="32"/>
                    </a:moveTo>
                    <a:cubicBezTo>
                      <a:pt x="42" y="24"/>
                      <a:pt x="32" y="12"/>
                      <a:pt x="32" y="12"/>
                    </a:cubicBezTo>
                    <a:cubicBezTo>
                      <a:pt x="25" y="3"/>
                      <a:pt x="15" y="1"/>
                      <a:pt x="8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14" y="3"/>
                      <a:pt x="19" y="7"/>
                    </a:cubicBezTo>
                    <a:cubicBezTo>
                      <a:pt x="24" y="11"/>
                      <a:pt x="32" y="33"/>
                      <a:pt x="32" y="39"/>
                    </a:cubicBezTo>
                    <a:cubicBezTo>
                      <a:pt x="32" y="45"/>
                      <a:pt x="25" y="48"/>
                      <a:pt x="18" y="59"/>
                    </a:cubicBezTo>
                    <a:cubicBezTo>
                      <a:pt x="14" y="65"/>
                      <a:pt x="7" y="68"/>
                      <a:pt x="3" y="69"/>
                    </a:cubicBezTo>
                    <a:cubicBezTo>
                      <a:pt x="1" y="69"/>
                      <a:pt x="0" y="70"/>
                      <a:pt x="0" y="70"/>
                    </a:cubicBezTo>
                    <a:cubicBezTo>
                      <a:pt x="0" y="72"/>
                      <a:pt x="1" y="75"/>
                      <a:pt x="3" y="76"/>
                    </a:cubicBezTo>
                    <a:cubicBezTo>
                      <a:pt x="5" y="79"/>
                      <a:pt x="35" y="91"/>
                      <a:pt x="35" y="91"/>
                    </a:cubicBezTo>
                    <a:cubicBezTo>
                      <a:pt x="35" y="91"/>
                      <a:pt x="40" y="86"/>
                      <a:pt x="42" y="80"/>
                    </a:cubicBezTo>
                    <a:cubicBezTo>
                      <a:pt x="44" y="73"/>
                      <a:pt x="45" y="40"/>
                      <a:pt x="43" y="32"/>
                    </a:cubicBezTo>
                    <a:close/>
                  </a:path>
                </a:pathLst>
              </a:custGeom>
              <a:solidFill>
                <a:srgbClr val="D4E7F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115">
                <a:extLst>
                  <a:ext uri="{FF2B5EF4-FFF2-40B4-BE49-F238E27FC236}">
                    <a16:creationId xmlns:a16="http://schemas.microsoft.com/office/drawing/2014/main" id="{E7C46FEB-99F5-4997-9888-8331D82ACA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1388" y="1389063"/>
                <a:ext cx="641350" cy="398463"/>
              </a:xfrm>
              <a:custGeom>
                <a:avLst/>
                <a:gdLst>
                  <a:gd name="T0" fmla="*/ 158 w 171"/>
                  <a:gd name="T1" fmla="*/ 43 h 106"/>
                  <a:gd name="T2" fmla="*/ 146 w 171"/>
                  <a:gd name="T3" fmla="*/ 37 h 106"/>
                  <a:gd name="T4" fmla="*/ 146 w 171"/>
                  <a:gd name="T5" fmla="*/ 37 h 106"/>
                  <a:gd name="T6" fmla="*/ 122 w 171"/>
                  <a:gd name="T7" fmla="*/ 34 h 106"/>
                  <a:gd name="T8" fmla="*/ 114 w 171"/>
                  <a:gd name="T9" fmla="*/ 25 h 106"/>
                  <a:gd name="T10" fmla="*/ 91 w 171"/>
                  <a:gd name="T11" fmla="*/ 8 h 106"/>
                  <a:gd name="T12" fmla="*/ 64 w 171"/>
                  <a:gd name="T13" fmla="*/ 4 h 106"/>
                  <a:gd name="T14" fmla="*/ 38 w 171"/>
                  <a:gd name="T15" fmla="*/ 4 h 106"/>
                  <a:gd name="T16" fmla="*/ 20 w 171"/>
                  <a:gd name="T17" fmla="*/ 6 h 106"/>
                  <a:gd name="T18" fmla="*/ 12 w 171"/>
                  <a:gd name="T19" fmla="*/ 10 h 106"/>
                  <a:gd name="T20" fmla="*/ 11 w 171"/>
                  <a:gd name="T21" fmla="*/ 16 h 106"/>
                  <a:gd name="T22" fmla="*/ 31 w 171"/>
                  <a:gd name="T23" fmla="*/ 22 h 106"/>
                  <a:gd name="T24" fmla="*/ 14 w 171"/>
                  <a:gd name="T25" fmla="*/ 25 h 106"/>
                  <a:gd name="T26" fmla="*/ 9 w 171"/>
                  <a:gd name="T27" fmla="*/ 24 h 106"/>
                  <a:gd name="T28" fmla="*/ 9 w 171"/>
                  <a:gd name="T29" fmla="*/ 25 h 106"/>
                  <a:gd name="T30" fmla="*/ 0 w 171"/>
                  <a:gd name="T31" fmla="*/ 38 h 106"/>
                  <a:gd name="T32" fmla="*/ 20 w 171"/>
                  <a:gd name="T33" fmla="*/ 48 h 106"/>
                  <a:gd name="T34" fmla="*/ 23 w 171"/>
                  <a:gd name="T35" fmla="*/ 69 h 106"/>
                  <a:gd name="T36" fmla="*/ 29 w 171"/>
                  <a:gd name="T37" fmla="*/ 86 h 106"/>
                  <a:gd name="T38" fmla="*/ 33 w 171"/>
                  <a:gd name="T39" fmla="*/ 91 h 106"/>
                  <a:gd name="T40" fmla="*/ 40 w 171"/>
                  <a:gd name="T41" fmla="*/ 104 h 106"/>
                  <a:gd name="T42" fmla="*/ 84 w 171"/>
                  <a:gd name="T43" fmla="*/ 104 h 106"/>
                  <a:gd name="T44" fmla="*/ 112 w 171"/>
                  <a:gd name="T45" fmla="*/ 97 h 106"/>
                  <a:gd name="T46" fmla="*/ 142 w 171"/>
                  <a:gd name="T47" fmla="*/ 105 h 106"/>
                  <a:gd name="T48" fmla="*/ 157 w 171"/>
                  <a:gd name="T49" fmla="*/ 95 h 106"/>
                  <a:gd name="T50" fmla="*/ 171 w 171"/>
                  <a:gd name="T51" fmla="*/ 75 h 106"/>
                  <a:gd name="T52" fmla="*/ 158 w 171"/>
                  <a:gd name="T53" fmla="*/ 4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1" h="106">
                    <a:moveTo>
                      <a:pt x="158" y="43"/>
                    </a:moveTo>
                    <a:cubicBezTo>
                      <a:pt x="153" y="39"/>
                      <a:pt x="146" y="37"/>
                      <a:pt x="146" y="37"/>
                    </a:cubicBezTo>
                    <a:cubicBezTo>
                      <a:pt x="146" y="37"/>
                      <a:pt x="146" y="37"/>
                      <a:pt x="146" y="37"/>
                    </a:cubicBezTo>
                    <a:cubicBezTo>
                      <a:pt x="122" y="34"/>
                      <a:pt x="122" y="34"/>
                      <a:pt x="122" y="34"/>
                    </a:cubicBezTo>
                    <a:cubicBezTo>
                      <a:pt x="122" y="34"/>
                      <a:pt x="118" y="29"/>
                      <a:pt x="114" y="25"/>
                    </a:cubicBezTo>
                    <a:cubicBezTo>
                      <a:pt x="109" y="21"/>
                      <a:pt x="106" y="17"/>
                      <a:pt x="91" y="8"/>
                    </a:cubicBezTo>
                    <a:cubicBezTo>
                      <a:pt x="76" y="0"/>
                      <a:pt x="75" y="2"/>
                      <a:pt x="64" y="4"/>
                    </a:cubicBezTo>
                    <a:cubicBezTo>
                      <a:pt x="54" y="5"/>
                      <a:pt x="41" y="3"/>
                      <a:pt x="38" y="4"/>
                    </a:cubicBezTo>
                    <a:cubicBezTo>
                      <a:pt x="34" y="4"/>
                      <a:pt x="27" y="6"/>
                      <a:pt x="20" y="6"/>
                    </a:cubicBezTo>
                    <a:cubicBezTo>
                      <a:pt x="14" y="5"/>
                      <a:pt x="11" y="6"/>
                      <a:pt x="12" y="10"/>
                    </a:cubicBezTo>
                    <a:cubicBezTo>
                      <a:pt x="12" y="12"/>
                      <a:pt x="12" y="14"/>
                      <a:pt x="11" y="16"/>
                    </a:cubicBezTo>
                    <a:cubicBezTo>
                      <a:pt x="19" y="19"/>
                      <a:pt x="29" y="22"/>
                      <a:pt x="31" y="22"/>
                    </a:cubicBezTo>
                    <a:cubicBezTo>
                      <a:pt x="33" y="22"/>
                      <a:pt x="18" y="24"/>
                      <a:pt x="14" y="25"/>
                    </a:cubicBezTo>
                    <a:cubicBezTo>
                      <a:pt x="13" y="25"/>
                      <a:pt x="11" y="25"/>
                      <a:pt x="9" y="24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0" y="30"/>
                      <a:pt x="0" y="38"/>
                      <a:pt x="0" y="38"/>
                    </a:cubicBezTo>
                    <a:cubicBezTo>
                      <a:pt x="0" y="50"/>
                      <a:pt x="20" y="48"/>
                      <a:pt x="20" y="48"/>
                    </a:cubicBezTo>
                    <a:cubicBezTo>
                      <a:pt x="15" y="57"/>
                      <a:pt x="23" y="69"/>
                      <a:pt x="23" y="69"/>
                    </a:cubicBezTo>
                    <a:cubicBezTo>
                      <a:pt x="16" y="78"/>
                      <a:pt x="26" y="85"/>
                      <a:pt x="29" y="86"/>
                    </a:cubicBezTo>
                    <a:cubicBezTo>
                      <a:pt x="32" y="86"/>
                      <a:pt x="33" y="91"/>
                      <a:pt x="33" y="91"/>
                    </a:cubicBezTo>
                    <a:cubicBezTo>
                      <a:pt x="31" y="94"/>
                      <a:pt x="34" y="101"/>
                      <a:pt x="40" y="104"/>
                    </a:cubicBezTo>
                    <a:cubicBezTo>
                      <a:pt x="45" y="106"/>
                      <a:pt x="75" y="106"/>
                      <a:pt x="84" y="104"/>
                    </a:cubicBezTo>
                    <a:cubicBezTo>
                      <a:pt x="92" y="102"/>
                      <a:pt x="109" y="96"/>
                      <a:pt x="112" y="97"/>
                    </a:cubicBezTo>
                    <a:cubicBezTo>
                      <a:pt x="113" y="97"/>
                      <a:pt x="129" y="102"/>
                      <a:pt x="142" y="105"/>
                    </a:cubicBezTo>
                    <a:cubicBezTo>
                      <a:pt x="146" y="104"/>
                      <a:pt x="153" y="101"/>
                      <a:pt x="157" y="95"/>
                    </a:cubicBezTo>
                    <a:cubicBezTo>
                      <a:pt x="164" y="84"/>
                      <a:pt x="171" y="81"/>
                      <a:pt x="171" y="75"/>
                    </a:cubicBezTo>
                    <a:cubicBezTo>
                      <a:pt x="171" y="69"/>
                      <a:pt x="163" y="47"/>
                      <a:pt x="158" y="43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116">
                <a:extLst>
                  <a:ext uri="{FF2B5EF4-FFF2-40B4-BE49-F238E27FC236}">
                    <a16:creationId xmlns:a16="http://schemas.microsoft.com/office/drawing/2014/main" id="{B78D8735-23A7-4680-94A0-CE31A1F270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2625" y="1363663"/>
                <a:ext cx="382588" cy="119063"/>
              </a:xfrm>
              <a:custGeom>
                <a:avLst/>
                <a:gdLst>
                  <a:gd name="T0" fmla="*/ 100 w 102"/>
                  <a:gd name="T1" fmla="*/ 29 h 32"/>
                  <a:gd name="T2" fmla="*/ 80 w 102"/>
                  <a:gd name="T3" fmla="*/ 23 h 32"/>
                  <a:gd name="T4" fmla="*/ 77 w 102"/>
                  <a:gd name="T5" fmla="*/ 22 h 32"/>
                  <a:gd name="T6" fmla="*/ 13 w 102"/>
                  <a:gd name="T7" fmla="*/ 3 h 32"/>
                  <a:gd name="T8" fmla="*/ 2 w 102"/>
                  <a:gd name="T9" fmla="*/ 3 h 32"/>
                  <a:gd name="T10" fmla="*/ 16 w 102"/>
                  <a:gd name="T11" fmla="*/ 12 h 32"/>
                  <a:gd name="T12" fmla="*/ 57 w 102"/>
                  <a:gd name="T13" fmla="*/ 25 h 32"/>
                  <a:gd name="T14" fmla="*/ 78 w 102"/>
                  <a:gd name="T15" fmla="*/ 31 h 32"/>
                  <a:gd name="T16" fmla="*/ 83 w 102"/>
                  <a:gd name="T17" fmla="*/ 32 h 32"/>
                  <a:gd name="T18" fmla="*/ 100 w 102"/>
                  <a:gd name="T19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32">
                    <a:moveTo>
                      <a:pt x="100" y="29"/>
                    </a:moveTo>
                    <a:cubicBezTo>
                      <a:pt x="98" y="29"/>
                      <a:pt x="88" y="26"/>
                      <a:pt x="80" y="23"/>
                    </a:cubicBezTo>
                    <a:cubicBezTo>
                      <a:pt x="79" y="23"/>
                      <a:pt x="78" y="22"/>
                      <a:pt x="77" y="22"/>
                    </a:cubicBezTo>
                    <a:cubicBezTo>
                      <a:pt x="69" y="19"/>
                      <a:pt x="13" y="3"/>
                      <a:pt x="13" y="3"/>
                    </a:cubicBezTo>
                    <a:cubicBezTo>
                      <a:pt x="13" y="3"/>
                      <a:pt x="0" y="0"/>
                      <a:pt x="2" y="3"/>
                    </a:cubicBezTo>
                    <a:cubicBezTo>
                      <a:pt x="4" y="5"/>
                      <a:pt x="16" y="12"/>
                      <a:pt x="16" y="12"/>
                    </a:cubicBezTo>
                    <a:cubicBezTo>
                      <a:pt x="29" y="21"/>
                      <a:pt x="51" y="25"/>
                      <a:pt x="57" y="25"/>
                    </a:cubicBezTo>
                    <a:cubicBezTo>
                      <a:pt x="61" y="26"/>
                      <a:pt x="72" y="29"/>
                      <a:pt x="78" y="31"/>
                    </a:cubicBezTo>
                    <a:cubicBezTo>
                      <a:pt x="80" y="32"/>
                      <a:pt x="82" y="32"/>
                      <a:pt x="83" y="32"/>
                    </a:cubicBezTo>
                    <a:cubicBezTo>
                      <a:pt x="87" y="31"/>
                      <a:pt x="102" y="29"/>
                      <a:pt x="100" y="29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117">
                <a:extLst>
                  <a:ext uri="{FF2B5EF4-FFF2-40B4-BE49-F238E27FC236}">
                    <a16:creationId xmlns:a16="http://schemas.microsoft.com/office/drawing/2014/main" id="{C4697210-A8AB-496E-873A-44DCA96B04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2688" y="2968625"/>
                <a:ext cx="157163" cy="236538"/>
              </a:xfrm>
              <a:custGeom>
                <a:avLst/>
                <a:gdLst>
                  <a:gd name="T0" fmla="*/ 8 w 42"/>
                  <a:gd name="T1" fmla="*/ 63 h 63"/>
                  <a:gd name="T2" fmla="*/ 0 w 42"/>
                  <a:gd name="T3" fmla="*/ 15 h 63"/>
                  <a:gd name="T4" fmla="*/ 3 w 42"/>
                  <a:gd name="T5" fmla="*/ 1 h 63"/>
                  <a:gd name="T6" fmla="*/ 23 w 42"/>
                  <a:gd name="T7" fmla="*/ 0 h 63"/>
                  <a:gd name="T8" fmla="*/ 34 w 42"/>
                  <a:gd name="T9" fmla="*/ 1 h 63"/>
                  <a:gd name="T10" fmla="*/ 42 w 42"/>
                  <a:gd name="T11" fmla="*/ 39 h 63"/>
                  <a:gd name="T12" fmla="*/ 41 w 42"/>
                  <a:gd name="T13" fmla="*/ 49 h 63"/>
                  <a:gd name="T14" fmla="*/ 8 w 42"/>
                  <a:gd name="T1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63">
                    <a:moveTo>
                      <a:pt x="8" y="63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13" y="3"/>
                      <a:pt x="23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5" y="31"/>
                      <a:pt x="42" y="39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1" y="49"/>
                      <a:pt x="23" y="61"/>
                      <a:pt x="8" y="63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118">
                <a:extLst>
                  <a:ext uri="{FF2B5EF4-FFF2-40B4-BE49-F238E27FC236}">
                    <a16:creationId xmlns:a16="http://schemas.microsoft.com/office/drawing/2014/main" id="{12AB34D0-2BC1-4C14-BC9C-CEEE56747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9538" y="1235079"/>
                <a:ext cx="2501790" cy="2914992"/>
              </a:xfrm>
              <a:custGeom>
                <a:avLst/>
                <a:gdLst>
                  <a:gd name="T0" fmla="*/ 600 w 672"/>
                  <a:gd name="T1" fmla="*/ 69 h 770"/>
                  <a:gd name="T2" fmla="*/ 562 w 672"/>
                  <a:gd name="T3" fmla="*/ 37 h 770"/>
                  <a:gd name="T4" fmla="*/ 525 w 672"/>
                  <a:gd name="T5" fmla="*/ 0 h 770"/>
                  <a:gd name="T6" fmla="*/ 532 w 672"/>
                  <a:gd name="T7" fmla="*/ 21 h 770"/>
                  <a:gd name="T8" fmla="*/ 469 w 672"/>
                  <a:gd name="T9" fmla="*/ 110 h 770"/>
                  <a:gd name="T10" fmla="*/ 440 w 672"/>
                  <a:gd name="T11" fmla="*/ 157 h 770"/>
                  <a:gd name="T12" fmla="*/ 419 w 672"/>
                  <a:gd name="T13" fmla="*/ 188 h 770"/>
                  <a:gd name="T14" fmla="*/ 401 w 672"/>
                  <a:gd name="T15" fmla="*/ 143 h 770"/>
                  <a:gd name="T16" fmla="*/ 406 w 672"/>
                  <a:gd name="T17" fmla="*/ 100 h 770"/>
                  <a:gd name="T18" fmla="*/ 407 w 672"/>
                  <a:gd name="T19" fmla="*/ 81 h 770"/>
                  <a:gd name="T20" fmla="*/ 407 w 672"/>
                  <a:gd name="T21" fmla="*/ 66 h 770"/>
                  <a:gd name="T22" fmla="*/ 408 w 672"/>
                  <a:gd name="T23" fmla="*/ 62 h 770"/>
                  <a:gd name="T24" fmla="*/ 373 w 672"/>
                  <a:gd name="T25" fmla="*/ 34 h 770"/>
                  <a:gd name="T26" fmla="*/ 365 w 672"/>
                  <a:gd name="T27" fmla="*/ 25 h 770"/>
                  <a:gd name="T28" fmla="*/ 317 w 672"/>
                  <a:gd name="T29" fmla="*/ 49 h 770"/>
                  <a:gd name="T30" fmla="*/ 299 w 672"/>
                  <a:gd name="T31" fmla="*/ 69 h 770"/>
                  <a:gd name="T32" fmla="*/ 273 w 672"/>
                  <a:gd name="T33" fmla="*/ 87 h 770"/>
                  <a:gd name="T34" fmla="*/ 208 w 672"/>
                  <a:gd name="T35" fmla="*/ 83 h 770"/>
                  <a:gd name="T36" fmla="*/ 141 w 672"/>
                  <a:gd name="T37" fmla="*/ 81 h 770"/>
                  <a:gd name="T38" fmla="*/ 51 w 672"/>
                  <a:gd name="T39" fmla="*/ 76 h 770"/>
                  <a:gd name="T40" fmla="*/ 54 w 672"/>
                  <a:gd name="T41" fmla="*/ 89 h 770"/>
                  <a:gd name="T42" fmla="*/ 64 w 672"/>
                  <a:gd name="T43" fmla="*/ 157 h 770"/>
                  <a:gd name="T44" fmla="*/ 25 w 672"/>
                  <a:gd name="T45" fmla="*/ 153 h 770"/>
                  <a:gd name="T46" fmla="*/ 18 w 672"/>
                  <a:gd name="T47" fmla="*/ 147 h 770"/>
                  <a:gd name="T48" fmla="*/ 0 w 672"/>
                  <a:gd name="T49" fmla="*/ 169 h 770"/>
                  <a:gd name="T50" fmla="*/ 40 w 672"/>
                  <a:gd name="T51" fmla="*/ 189 h 770"/>
                  <a:gd name="T52" fmla="*/ 183 w 672"/>
                  <a:gd name="T53" fmla="*/ 208 h 770"/>
                  <a:gd name="T54" fmla="*/ 268 w 672"/>
                  <a:gd name="T55" fmla="*/ 199 h 770"/>
                  <a:gd name="T56" fmla="*/ 286 w 672"/>
                  <a:gd name="T57" fmla="*/ 229 h 770"/>
                  <a:gd name="T58" fmla="*/ 256 w 672"/>
                  <a:gd name="T59" fmla="*/ 341 h 770"/>
                  <a:gd name="T60" fmla="*/ 372 w 672"/>
                  <a:gd name="T61" fmla="*/ 331 h 770"/>
                  <a:gd name="T62" fmla="*/ 498 w 672"/>
                  <a:gd name="T63" fmla="*/ 376 h 770"/>
                  <a:gd name="T64" fmla="*/ 383 w 672"/>
                  <a:gd name="T65" fmla="*/ 399 h 770"/>
                  <a:gd name="T66" fmla="*/ 354 w 672"/>
                  <a:gd name="T67" fmla="*/ 450 h 770"/>
                  <a:gd name="T68" fmla="*/ 310 w 672"/>
                  <a:gd name="T69" fmla="*/ 462 h 770"/>
                  <a:gd name="T70" fmla="*/ 258 w 672"/>
                  <a:gd name="T71" fmla="*/ 446 h 770"/>
                  <a:gd name="T72" fmla="*/ 241 w 672"/>
                  <a:gd name="T73" fmla="*/ 438 h 770"/>
                  <a:gd name="T74" fmla="*/ 219 w 672"/>
                  <a:gd name="T75" fmla="*/ 643 h 770"/>
                  <a:gd name="T76" fmla="*/ 266 w 672"/>
                  <a:gd name="T77" fmla="*/ 617 h 770"/>
                  <a:gd name="T78" fmla="*/ 292 w 672"/>
                  <a:gd name="T79" fmla="*/ 618 h 770"/>
                  <a:gd name="T80" fmla="*/ 321 w 672"/>
                  <a:gd name="T81" fmla="*/ 516 h 770"/>
                  <a:gd name="T82" fmla="*/ 330 w 672"/>
                  <a:gd name="T83" fmla="*/ 596 h 770"/>
                  <a:gd name="T84" fmla="*/ 331 w 672"/>
                  <a:gd name="T85" fmla="*/ 607 h 770"/>
                  <a:gd name="T86" fmla="*/ 385 w 672"/>
                  <a:gd name="T87" fmla="*/ 766 h 770"/>
                  <a:gd name="T88" fmla="*/ 578 w 672"/>
                  <a:gd name="T89" fmla="*/ 757 h 770"/>
                  <a:gd name="T90" fmla="*/ 602 w 672"/>
                  <a:gd name="T91" fmla="*/ 626 h 770"/>
                  <a:gd name="T92" fmla="*/ 597 w 672"/>
                  <a:gd name="T93" fmla="*/ 467 h 770"/>
                  <a:gd name="T94" fmla="*/ 607 w 672"/>
                  <a:gd name="T95" fmla="*/ 394 h 770"/>
                  <a:gd name="T96" fmla="*/ 650 w 672"/>
                  <a:gd name="T97" fmla="*/ 266 h 770"/>
                  <a:gd name="T98" fmla="*/ 648 w 672"/>
                  <a:gd name="T99" fmla="*/ 116 h 770"/>
                  <a:gd name="connsiteX0" fmla="*/ 9643 w 9924"/>
                  <a:gd name="connsiteY0" fmla="*/ 1506 h 9971"/>
                  <a:gd name="connsiteX1" fmla="*/ 8929 w 9924"/>
                  <a:gd name="connsiteY1" fmla="*/ 896 h 9971"/>
                  <a:gd name="connsiteX2" fmla="*/ 8423 w 9924"/>
                  <a:gd name="connsiteY2" fmla="*/ 571 h 9971"/>
                  <a:gd name="connsiteX3" fmla="*/ 8363 w 9924"/>
                  <a:gd name="connsiteY3" fmla="*/ 481 h 9971"/>
                  <a:gd name="connsiteX4" fmla="*/ 8155 w 9924"/>
                  <a:gd name="connsiteY4" fmla="*/ 130 h 9971"/>
                  <a:gd name="connsiteX5" fmla="*/ 7813 w 9924"/>
                  <a:gd name="connsiteY5" fmla="*/ 0 h 9971"/>
                  <a:gd name="connsiteX6" fmla="*/ 7768 w 9924"/>
                  <a:gd name="connsiteY6" fmla="*/ 13 h 9971"/>
                  <a:gd name="connsiteX7" fmla="*/ 7917 w 9924"/>
                  <a:gd name="connsiteY7" fmla="*/ 273 h 9971"/>
                  <a:gd name="connsiteX8" fmla="*/ 7485 w 9924"/>
                  <a:gd name="connsiteY8" fmla="*/ 753 h 9971"/>
                  <a:gd name="connsiteX9" fmla="*/ 6979 w 9924"/>
                  <a:gd name="connsiteY9" fmla="*/ 1429 h 9971"/>
                  <a:gd name="connsiteX10" fmla="*/ 6905 w 9924"/>
                  <a:gd name="connsiteY10" fmla="*/ 1519 h 9971"/>
                  <a:gd name="connsiteX11" fmla="*/ 6548 w 9924"/>
                  <a:gd name="connsiteY11" fmla="*/ 2039 h 9971"/>
                  <a:gd name="connsiteX12" fmla="*/ 6339 w 9924"/>
                  <a:gd name="connsiteY12" fmla="*/ 2312 h 9971"/>
                  <a:gd name="connsiteX13" fmla="*/ 6235 w 9924"/>
                  <a:gd name="connsiteY13" fmla="*/ 2442 h 9971"/>
                  <a:gd name="connsiteX14" fmla="*/ 5729 w 9924"/>
                  <a:gd name="connsiteY14" fmla="*/ 3221 h 9971"/>
                  <a:gd name="connsiteX15" fmla="*/ 5967 w 9924"/>
                  <a:gd name="connsiteY15" fmla="*/ 1857 h 9971"/>
                  <a:gd name="connsiteX16" fmla="*/ 5982 w 9924"/>
                  <a:gd name="connsiteY16" fmla="*/ 1610 h 9971"/>
                  <a:gd name="connsiteX17" fmla="*/ 6042 w 9924"/>
                  <a:gd name="connsiteY17" fmla="*/ 1299 h 9971"/>
                  <a:gd name="connsiteX18" fmla="*/ 6071 w 9924"/>
                  <a:gd name="connsiteY18" fmla="*/ 1182 h 9971"/>
                  <a:gd name="connsiteX19" fmla="*/ 6057 w 9924"/>
                  <a:gd name="connsiteY19" fmla="*/ 1052 h 9971"/>
                  <a:gd name="connsiteX20" fmla="*/ 6057 w 9924"/>
                  <a:gd name="connsiteY20" fmla="*/ 948 h 9971"/>
                  <a:gd name="connsiteX21" fmla="*/ 6057 w 9924"/>
                  <a:gd name="connsiteY21" fmla="*/ 857 h 9971"/>
                  <a:gd name="connsiteX22" fmla="*/ 6057 w 9924"/>
                  <a:gd name="connsiteY22" fmla="*/ 844 h 9971"/>
                  <a:gd name="connsiteX23" fmla="*/ 6071 w 9924"/>
                  <a:gd name="connsiteY23" fmla="*/ 805 h 9971"/>
                  <a:gd name="connsiteX24" fmla="*/ 5714 w 9924"/>
                  <a:gd name="connsiteY24" fmla="*/ 753 h 9971"/>
                  <a:gd name="connsiteX25" fmla="*/ 5551 w 9924"/>
                  <a:gd name="connsiteY25" fmla="*/ 442 h 9971"/>
                  <a:gd name="connsiteX26" fmla="*/ 5446 w 9924"/>
                  <a:gd name="connsiteY26" fmla="*/ 338 h 9971"/>
                  <a:gd name="connsiteX27" fmla="*/ 5432 w 9924"/>
                  <a:gd name="connsiteY27" fmla="*/ 325 h 9971"/>
                  <a:gd name="connsiteX28" fmla="*/ 5015 w 9924"/>
                  <a:gd name="connsiteY28" fmla="*/ 416 h 9971"/>
                  <a:gd name="connsiteX29" fmla="*/ 4717 w 9924"/>
                  <a:gd name="connsiteY29" fmla="*/ 636 h 9971"/>
                  <a:gd name="connsiteX30" fmla="*/ 4643 w 9924"/>
                  <a:gd name="connsiteY30" fmla="*/ 909 h 9971"/>
                  <a:gd name="connsiteX31" fmla="*/ 4449 w 9924"/>
                  <a:gd name="connsiteY31" fmla="*/ 896 h 9971"/>
                  <a:gd name="connsiteX32" fmla="*/ 4286 w 9924"/>
                  <a:gd name="connsiteY32" fmla="*/ 1013 h 9971"/>
                  <a:gd name="connsiteX33" fmla="*/ 4063 w 9924"/>
                  <a:gd name="connsiteY33" fmla="*/ 1130 h 9971"/>
                  <a:gd name="connsiteX34" fmla="*/ 3616 w 9924"/>
                  <a:gd name="connsiteY34" fmla="*/ 1065 h 9971"/>
                  <a:gd name="connsiteX35" fmla="*/ 3095 w 9924"/>
                  <a:gd name="connsiteY35" fmla="*/ 1078 h 9971"/>
                  <a:gd name="connsiteX36" fmla="*/ 2768 w 9924"/>
                  <a:gd name="connsiteY36" fmla="*/ 1091 h 9971"/>
                  <a:gd name="connsiteX37" fmla="*/ 2098 w 9924"/>
                  <a:gd name="connsiteY37" fmla="*/ 1052 h 9971"/>
                  <a:gd name="connsiteX38" fmla="*/ 1295 w 9924"/>
                  <a:gd name="connsiteY38" fmla="*/ 1065 h 9971"/>
                  <a:gd name="connsiteX39" fmla="*/ 759 w 9924"/>
                  <a:gd name="connsiteY39" fmla="*/ 987 h 9971"/>
                  <a:gd name="connsiteX40" fmla="*/ 446 w 9924"/>
                  <a:gd name="connsiteY40" fmla="*/ 1000 h 9971"/>
                  <a:gd name="connsiteX41" fmla="*/ 804 w 9924"/>
                  <a:gd name="connsiteY41" fmla="*/ 1156 h 9971"/>
                  <a:gd name="connsiteX42" fmla="*/ 967 w 9924"/>
                  <a:gd name="connsiteY42" fmla="*/ 1416 h 9971"/>
                  <a:gd name="connsiteX43" fmla="*/ 952 w 9924"/>
                  <a:gd name="connsiteY43" fmla="*/ 2039 h 9971"/>
                  <a:gd name="connsiteX44" fmla="*/ 848 w 9924"/>
                  <a:gd name="connsiteY44" fmla="*/ 2182 h 9971"/>
                  <a:gd name="connsiteX45" fmla="*/ 372 w 9924"/>
                  <a:gd name="connsiteY45" fmla="*/ 1987 h 9971"/>
                  <a:gd name="connsiteX46" fmla="*/ 327 w 9924"/>
                  <a:gd name="connsiteY46" fmla="*/ 1909 h 9971"/>
                  <a:gd name="connsiteX47" fmla="*/ 268 w 9924"/>
                  <a:gd name="connsiteY47" fmla="*/ 1909 h 9971"/>
                  <a:gd name="connsiteX48" fmla="*/ 74 w 9924"/>
                  <a:gd name="connsiteY48" fmla="*/ 1857 h 9971"/>
                  <a:gd name="connsiteX49" fmla="*/ 0 w 9924"/>
                  <a:gd name="connsiteY49" fmla="*/ 2195 h 9971"/>
                  <a:gd name="connsiteX50" fmla="*/ 164 w 9924"/>
                  <a:gd name="connsiteY50" fmla="*/ 2221 h 9971"/>
                  <a:gd name="connsiteX51" fmla="*/ 595 w 9924"/>
                  <a:gd name="connsiteY51" fmla="*/ 2455 h 9971"/>
                  <a:gd name="connsiteX52" fmla="*/ 2217 w 9924"/>
                  <a:gd name="connsiteY52" fmla="*/ 2675 h 9971"/>
                  <a:gd name="connsiteX53" fmla="*/ 2723 w 9924"/>
                  <a:gd name="connsiteY53" fmla="*/ 2701 h 9971"/>
                  <a:gd name="connsiteX54" fmla="*/ 3542 w 9924"/>
                  <a:gd name="connsiteY54" fmla="*/ 2571 h 9971"/>
                  <a:gd name="connsiteX55" fmla="*/ 3988 w 9924"/>
                  <a:gd name="connsiteY55" fmla="*/ 2584 h 9971"/>
                  <a:gd name="connsiteX56" fmla="*/ 4420 w 9924"/>
                  <a:gd name="connsiteY56" fmla="*/ 2558 h 9971"/>
                  <a:gd name="connsiteX57" fmla="*/ 4256 w 9924"/>
                  <a:gd name="connsiteY57" fmla="*/ 2974 h 9971"/>
                  <a:gd name="connsiteX58" fmla="*/ 3899 w 9924"/>
                  <a:gd name="connsiteY58" fmla="*/ 4039 h 9971"/>
                  <a:gd name="connsiteX59" fmla="*/ 3810 w 9924"/>
                  <a:gd name="connsiteY59" fmla="*/ 4429 h 9971"/>
                  <a:gd name="connsiteX60" fmla="*/ 4063 w 9924"/>
                  <a:gd name="connsiteY60" fmla="*/ 4403 h 9971"/>
                  <a:gd name="connsiteX61" fmla="*/ 5536 w 9924"/>
                  <a:gd name="connsiteY61" fmla="*/ 4299 h 9971"/>
                  <a:gd name="connsiteX62" fmla="*/ 6473 w 9924"/>
                  <a:gd name="connsiteY62" fmla="*/ 4649 h 9971"/>
                  <a:gd name="connsiteX63" fmla="*/ 7411 w 9924"/>
                  <a:gd name="connsiteY63" fmla="*/ 4883 h 9971"/>
                  <a:gd name="connsiteX64" fmla="*/ 7054 w 9924"/>
                  <a:gd name="connsiteY64" fmla="*/ 5026 h 9971"/>
                  <a:gd name="connsiteX65" fmla="*/ 5699 w 9924"/>
                  <a:gd name="connsiteY65" fmla="*/ 5182 h 9971"/>
                  <a:gd name="connsiteX66" fmla="*/ 5149 w 9924"/>
                  <a:gd name="connsiteY66" fmla="*/ 5143 h 9971"/>
                  <a:gd name="connsiteX67" fmla="*/ 5268 w 9924"/>
                  <a:gd name="connsiteY67" fmla="*/ 5844 h 9971"/>
                  <a:gd name="connsiteX68" fmla="*/ 5193 w 9924"/>
                  <a:gd name="connsiteY68" fmla="*/ 6039 h 9971"/>
                  <a:gd name="connsiteX69" fmla="*/ 4613 w 9924"/>
                  <a:gd name="connsiteY69" fmla="*/ 6000 h 9971"/>
                  <a:gd name="connsiteX70" fmla="*/ 4301 w 9924"/>
                  <a:gd name="connsiteY70" fmla="*/ 6013 h 9971"/>
                  <a:gd name="connsiteX71" fmla="*/ 3839 w 9924"/>
                  <a:gd name="connsiteY71" fmla="*/ 5792 h 9971"/>
                  <a:gd name="connsiteX72" fmla="*/ 3586 w 9924"/>
                  <a:gd name="connsiteY72" fmla="*/ 5649 h 9971"/>
                  <a:gd name="connsiteX73" fmla="*/ 3586 w 9924"/>
                  <a:gd name="connsiteY73" fmla="*/ 5688 h 9971"/>
                  <a:gd name="connsiteX74" fmla="*/ 3274 w 9924"/>
                  <a:gd name="connsiteY74" fmla="*/ 7766 h 9971"/>
                  <a:gd name="connsiteX75" fmla="*/ 3259 w 9924"/>
                  <a:gd name="connsiteY75" fmla="*/ 8351 h 9971"/>
                  <a:gd name="connsiteX76" fmla="*/ 3438 w 9924"/>
                  <a:gd name="connsiteY76" fmla="*/ 8195 h 9971"/>
                  <a:gd name="connsiteX77" fmla="*/ 3958 w 9924"/>
                  <a:gd name="connsiteY77" fmla="*/ 8013 h 9971"/>
                  <a:gd name="connsiteX78" fmla="*/ 4018 w 9924"/>
                  <a:gd name="connsiteY78" fmla="*/ 7766 h 9971"/>
                  <a:gd name="connsiteX79" fmla="*/ 4345 w 9924"/>
                  <a:gd name="connsiteY79" fmla="*/ 8026 h 9971"/>
                  <a:gd name="connsiteX80" fmla="*/ 4509 w 9924"/>
                  <a:gd name="connsiteY80" fmla="*/ 7260 h 9971"/>
                  <a:gd name="connsiteX81" fmla="*/ 4777 w 9924"/>
                  <a:gd name="connsiteY81" fmla="*/ 6701 h 9971"/>
                  <a:gd name="connsiteX82" fmla="*/ 4836 w 9924"/>
                  <a:gd name="connsiteY82" fmla="*/ 6766 h 9971"/>
                  <a:gd name="connsiteX83" fmla="*/ 4865 w 9924"/>
                  <a:gd name="connsiteY83" fmla="*/ 7616 h 9971"/>
                  <a:gd name="connsiteX84" fmla="*/ 4911 w 9924"/>
                  <a:gd name="connsiteY84" fmla="*/ 7740 h 9971"/>
                  <a:gd name="connsiteX85" fmla="*/ 4911 w 9924"/>
                  <a:gd name="connsiteY85" fmla="*/ 7831 h 9971"/>
                  <a:gd name="connsiteX86" fmla="*/ 4926 w 9924"/>
                  <a:gd name="connsiteY86" fmla="*/ 7883 h 9971"/>
                  <a:gd name="connsiteX87" fmla="*/ 5179 w 9924"/>
                  <a:gd name="connsiteY87" fmla="*/ 9481 h 9971"/>
                  <a:gd name="connsiteX88" fmla="*/ 5729 w 9924"/>
                  <a:gd name="connsiteY88" fmla="*/ 9948 h 9971"/>
                  <a:gd name="connsiteX89" fmla="*/ 8601 w 9924"/>
                  <a:gd name="connsiteY89" fmla="*/ 9792 h 9971"/>
                  <a:gd name="connsiteX90" fmla="*/ 8601 w 9924"/>
                  <a:gd name="connsiteY90" fmla="*/ 9831 h 9971"/>
                  <a:gd name="connsiteX91" fmla="*/ 9018 w 9924"/>
                  <a:gd name="connsiteY91" fmla="*/ 9636 h 9971"/>
                  <a:gd name="connsiteX92" fmla="*/ 8958 w 9924"/>
                  <a:gd name="connsiteY92" fmla="*/ 8130 h 9971"/>
                  <a:gd name="connsiteX93" fmla="*/ 8839 w 9924"/>
                  <a:gd name="connsiteY93" fmla="*/ 6909 h 9971"/>
                  <a:gd name="connsiteX94" fmla="*/ 8884 w 9924"/>
                  <a:gd name="connsiteY94" fmla="*/ 6065 h 9971"/>
                  <a:gd name="connsiteX95" fmla="*/ 9003 w 9924"/>
                  <a:gd name="connsiteY95" fmla="*/ 5364 h 9971"/>
                  <a:gd name="connsiteX96" fmla="*/ 9033 w 9924"/>
                  <a:gd name="connsiteY96" fmla="*/ 5117 h 9971"/>
                  <a:gd name="connsiteX97" fmla="*/ 9360 w 9924"/>
                  <a:gd name="connsiteY97" fmla="*/ 4416 h 9971"/>
                  <a:gd name="connsiteX98" fmla="*/ 9673 w 9924"/>
                  <a:gd name="connsiteY98" fmla="*/ 3455 h 9971"/>
                  <a:gd name="connsiteX99" fmla="*/ 9896 w 9924"/>
                  <a:gd name="connsiteY99" fmla="*/ 2403 h 9971"/>
                  <a:gd name="connsiteX100" fmla="*/ 9643 w 9924"/>
                  <a:gd name="connsiteY100" fmla="*/ 1506 h 9971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49 w 10000"/>
                  <a:gd name="connsiteY84" fmla="*/ 7854 h 10000"/>
                  <a:gd name="connsiteX85" fmla="*/ 4964 w 10000"/>
                  <a:gd name="connsiteY85" fmla="*/ 7906 h 10000"/>
                  <a:gd name="connsiteX86" fmla="*/ 5219 w 10000"/>
                  <a:gd name="connsiteY86" fmla="*/ 9509 h 10000"/>
                  <a:gd name="connsiteX87" fmla="*/ 5773 w 10000"/>
                  <a:gd name="connsiteY87" fmla="*/ 9977 h 10000"/>
                  <a:gd name="connsiteX88" fmla="*/ 8667 w 10000"/>
                  <a:gd name="connsiteY88" fmla="*/ 9820 h 10000"/>
                  <a:gd name="connsiteX89" fmla="*/ 8667 w 10000"/>
                  <a:gd name="connsiteY89" fmla="*/ 9860 h 10000"/>
                  <a:gd name="connsiteX90" fmla="*/ 9087 w 10000"/>
                  <a:gd name="connsiteY90" fmla="*/ 9664 h 10000"/>
                  <a:gd name="connsiteX91" fmla="*/ 9027 w 10000"/>
                  <a:gd name="connsiteY91" fmla="*/ 8154 h 10000"/>
                  <a:gd name="connsiteX92" fmla="*/ 8907 w 10000"/>
                  <a:gd name="connsiteY92" fmla="*/ 6929 h 10000"/>
                  <a:gd name="connsiteX93" fmla="*/ 8952 w 10000"/>
                  <a:gd name="connsiteY93" fmla="*/ 6083 h 10000"/>
                  <a:gd name="connsiteX94" fmla="*/ 9072 w 10000"/>
                  <a:gd name="connsiteY94" fmla="*/ 5380 h 10000"/>
                  <a:gd name="connsiteX95" fmla="*/ 9102 w 10000"/>
                  <a:gd name="connsiteY95" fmla="*/ 5132 h 10000"/>
                  <a:gd name="connsiteX96" fmla="*/ 9432 w 10000"/>
                  <a:gd name="connsiteY96" fmla="*/ 4429 h 10000"/>
                  <a:gd name="connsiteX97" fmla="*/ 9747 w 10000"/>
                  <a:gd name="connsiteY97" fmla="*/ 3465 h 10000"/>
                  <a:gd name="connsiteX98" fmla="*/ 9972 w 10000"/>
                  <a:gd name="connsiteY98" fmla="*/ 2410 h 10000"/>
                  <a:gd name="connsiteX99" fmla="*/ 9717 w 10000"/>
                  <a:gd name="connsiteY99" fmla="*/ 1510 h 10000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64 w 10000"/>
                  <a:gd name="connsiteY84" fmla="*/ 7906 h 10000"/>
                  <a:gd name="connsiteX85" fmla="*/ 5219 w 10000"/>
                  <a:gd name="connsiteY85" fmla="*/ 9509 h 10000"/>
                  <a:gd name="connsiteX86" fmla="*/ 5773 w 10000"/>
                  <a:gd name="connsiteY86" fmla="*/ 9977 h 10000"/>
                  <a:gd name="connsiteX87" fmla="*/ 8667 w 10000"/>
                  <a:gd name="connsiteY87" fmla="*/ 9820 h 10000"/>
                  <a:gd name="connsiteX88" fmla="*/ 8667 w 10000"/>
                  <a:gd name="connsiteY88" fmla="*/ 9860 h 10000"/>
                  <a:gd name="connsiteX89" fmla="*/ 9087 w 10000"/>
                  <a:gd name="connsiteY89" fmla="*/ 9664 h 10000"/>
                  <a:gd name="connsiteX90" fmla="*/ 9027 w 10000"/>
                  <a:gd name="connsiteY90" fmla="*/ 8154 h 10000"/>
                  <a:gd name="connsiteX91" fmla="*/ 8907 w 10000"/>
                  <a:gd name="connsiteY91" fmla="*/ 6929 h 10000"/>
                  <a:gd name="connsiteX92" fmla="*/ 8952 w 10000"/>
                  <a:gd name="connsiteY92" fmla="*/ 6083 h 10000"/>
                  <a:gd name="connsiteX93" fmla="*/ 9072 w 10000"/>
                  <a:gd name="connsiteY93" fmla="*/ 5380 h 10000"/>
                  <a:gd name="connsiteX94" fmla="*/ 9102 w 10000"/>
                  <a:gd name="connsiteY94" fmla="*/ 5132 h 10000"/>
                  <a:gd name="connsiteX95" fmla="*/ 9432 w 10000"/>
                  <a:gd name="connsiteY95" fmla="*/ 4429 h 10000"/>
                  <a:gd name="connsiteX96" fmla="*/ 9747 w 10000"/>
                  <a:gd name="connsiteY96" fmla="*/ 3465 h 10000"/>
                  <a:gd name="connsiteX97" fmla="*/ 9972 w 10000"/>
                  <a:gd name="connsiteY97" fmla="*/ 2410 h 10000"/>
                  <a:gd name="connsiteX98" fmla="*/ 9717 w 10000"/>
                  <a:gd name="connsiteY98" fmla="*/ 1510 h 10000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35 w 10000"/>
                  <a:gd name="connsiteY84" fmla="*/ 8047 h 10000"/>
                  <a:gd name="connsiteX85" fmla="*/ 5219 w 10000"/>
                  <a:gd name="connsiteY85" fmla="*/ 9509 h 10000"/>
                  <a:gd name="connsiteX86" fmla="*/ 5773 w 10000"/>
                  <a:gd name="connsiteY86" fmla="*/ 9977 h 10000"/>
                  <a:gd name="connsiteX87" fmla="*/ 8667 w 10000"/>
                  <a:gd name="connsiteY87" fmla="*/ 9820 h 10000"/>
                  <a:gd name="connsiteX88" fmla="*/ 8667 w 10000"/>
                  <a:gd name="connsiteY88" fmla="*/ 9860 h 10000"/>
                  <a:gd name="connsiteX89" fmla="*/ 9087 w 10000"/>
                  <a:gd name="connsiteY89" fmla="*/ 9664 h 10000"/>
                  <a:gd name="connsiteX90" fmla="*/ 9027 w 10000"/>
                  <a:gd name="connsiteY90" fmla="*/ 8154 h 10000"/>
                  <a:gd name="connsiteX91" fmla="*/ 8907 w 10000"/>
                  <a:gd name="connsiteY91" fmla="*/ 6929 h 10000"/>
                  <a:gd name="connsiteX92" fmla="*/ 8952 w 10000"/>
                  <a:gd name="connsiteY92" fmla="*/ 6083 h 10000"/>
                  <a:gd name="connsiteX93" fmla="*/ 9072 w 10000"/>
                  <a:gd name="connsiteY93" fmla="*/ 5380 h 10000"/>
                  <a:gd name="connsiteX94" fmla="*/ 9102 w 10000"/>
                  <a:gd name="connsiteY94" fmla="*/ 5132 h 10000"/>
                  <a:gd name="connsiteX95" fmla="*/ 9432 w 10000"/>
                  <a:gd name="connsiteY95" fmla="*/ 4429 h 10000"/>
                  <a:gd name="connsiteX96" fmla="*/ 9747 w 10000"/>
                  <a:gd name="connsiteY96" fmla="*/ 3465 h 10000"/>
                  <a:gd name="connsiteX97" fmla="*/ 9972 w 10000"/>
                  <a:gd name="connsiteY97" fmla="*/ 2410 h 10000"/>
                  <a:gd name="connsiteX98" fmla="*/ 9717 w 10000"/>
                  <a:gd name="connsiteY98" fmla="*/ 1510 h 10000"/>
                  <a:gd name="connsiteX0" fmla="*/ 9717 w 10000"/>
                  <a:gd name="connsiteY0" fmla="*/ 1510 h 10003"/>
                  <a:gd name="connsiteX1" fmla="*/ 8997 w 10000"/>
                  <a:gd name="connsiteY1" fmla="*/ 899 h 10003"/>
                  <a:gd name="connsiteX2" fmla="*/ 8488 w 10000"/>
                  <a:gd name="connsiteY2" fmla="*/ 573 h 10003"/>
                  <a:gd name="connsiteX3" fmla="*/ 8427 w 10000"/>
                  <a:gd name="connsiteY3" fmla="*/ 482 h 10003"/>
                  <a:gd name="connsiteX4" fmla="*/ 8217 w 10000"/>
                  <a:gd name="connsiteY4" fmla="*/ 130 h 10003"/>
                  <a:gd name="connsiteX5" fmla="*/ 7873 w 10000"/>
                  <a:gd name="connsiteY5" fmla="*/ 0 h 10003"/>
                  <a:gd name="connsiteX6" fmla="*/ 7827 w 10000"/>
                  <a:gd name="connsiteY6" fmla="*/ 13 h 10003"/>
                  <a:gd name="connsiteX7" fmla="*/ 7978 w 10000"/>
                  <a:gd name="connsiteY7" fmla="*/ 274 h 10003"/>
                  <a:gd name="connsiteX8" fmla="*/ 7542 w 10000"/>
                  <a:gd name="connsiteY8" fmla="*/ 755 h 10003"/>
                  <a:gd name="connsiteX9" fmla="*/ 7032 w 10000"/>
                  <a:gd name="connsiteY9" fmla="*/ 1433 h 10003"/>
                  <a:gd name="connsiteX10" fmla="*/ 6958 w 10000"/>
                  <a:gd name="connsiteY10" fmla="*/ 1523 h 10003"/>
                  <a:gd name="connsiteX11" fmla="*/ 6598 w 10000"/>
                  <a:gd name="connsiteY11" fmla="*/ 2045 h 10003"/>
                  <a:gd name="connsiteX12" fmla="*/ 6388 w 10000"/>
                  <a:gd name="connsiteY12" fmla="*/ 2319 h 10003"/>
                  <a:gd name="connsiteX13" fmla="*/ 6283 w 10000"/>
                  <a:gd name="connsiteY13" fmla="*/ 2449 h 10003"/>
                  <a:gd name="connsiteX14" fmla="*/ 5773 w 10000"/>
                  <a:gd name="connsiteY14" fmla="*/ 3230 h 10003"/>
                  <a:gd name="connsiteX15" fmla="*/ 6013 w 10000"/>
                  <a:gd name="connsiteY15" fmla="*/ 1862 h 10003"/>
                  <a:gd name="connsiteX16" fmla="*/ 6028 w 10000"/>
                  <a:gd name="connsiteY16" fmla="*/ 1615 h 10003"/>
                  <a:gd name="connsiteX17" fmla="*/ 6088 w 10000"/>
                  <a:gd name="connsiteY17" fmla="*/ 1303 h 10003"/>
                  <a:gd name="connsiteX18" fmla="*/ 6117 w 10000"/>
                  <a:gd name="connsiteY18" fmla="*/ 1185 h 10003"/>
                  <a:gd name="connsiteX19" fmla="*/ 6103 w 10000"/>
                  <a:gd name="connsiteY19" fmla="*/ 1055 h 10003"/>
                  <a:gd name="connsiteX20" fmla="*/ 6103 w 10000"/>
                  <a:gd name="connsiteY20" fmla="*/ 951 h 10003"/>
                  <a:gd name="connsiteX21" fmla="*/ 6103 w 10000"/>
                  <a:gd name="connsiteY21" fmla="*/ 859 h 10003"/>
                  <a:gd name="connsiteX22" fmla="*/ 6103 w 10000"/>
                  <a:gd name="connsiteY22" fmla="*/ 846 h 10003"/>
                  <a:gd name="connsiteX23" fmla="*/ 6117 w 10000"/>
                  <a:gd name="connsiteY23" fmla="*/ 807 h 10003"/>
                  <a:gd name="connsiteX24" fmla="*/ 5758 w 10000"/>
                  <a:gd name="connsiteY24" fmla="*/ 755 h 10003"/>
                  <a:gd name="connsiteX25" fmla="*/ 5594 w 10000"/>
                  <a:gd name="connsiteY25" fmla="*/ 443 h 10003"/>
                  <a:gd name="connsiteX26" fmla="*/ 5488 w 10000"/>
                  <a:gd name="connsiteY26" fmla="*/ 339 h 10003"/>
                  <a:gd name="connsiteX27" fmla="*/ 5474 w 10000"/>
                  <a:gd name="connsiteY27" fmla="*/ 326 h 10003"/>
                  <a:gd name="connsiteX28" fmla="*/ 5053 w 10000"/>
                  <a:gd name="connsiteY28" fmla="*/ 417 h 10003"/>
                  <a:gd name="connsiteX29" fmla="*/ 4753 w 10000"/>
                  <a:gd name="connsiteY29" fmla="*/ 638 h 10003"/>
                  <a:gd name="connsiteX30" fmla="*/ 4679 w 10000"/>
                  <a:gd name="connsiteY30" fmla="*/ 912 h 10003"/>
                  <a:gd name="connsiteX31" fmla="*/ 4483 w 10000"/>
                  <a:gd name="connsiteY31" fmla="*/ 899 h 10003"/>
                  <a:gd name="connsiteX32" fmla="*/ 4319 w 10000"/>
                  <a:gd name="connsiteY32" fmla="*/ 1016 h 10003"/>
                  <a:gd name="connsiteX33" fmla="*/ 4094 w 10000"/>
                  <a:gd name="connsiteY33" fmla="*/ 1133 h 10003"/>
                  <a:gd name="connsiteX34" fmla="*/ 3644 w 10000"/>
                  <a:gd name="connsiteY34" fmla="*/ 1068 h 10003"/>
                  <a:gd name="connsiteX35" fmla="*/ 3119 w 10000"/>
                  <a:gd name="connsiteY35" fmla="*/ 1081 h 10003"/>
                  <a:gd name="connsiteX36" fmla="*/ 2789 w 10000"/>
                  <a:gd name="connsiteY36" fmla="*/ 1094 h 10003"/>
                  <a:gd name="connsiteX37" fmla="*/ 2114 w 10000"/>
                  <a:gd name="connsiteY37" fmla="*/ 1055 h 10003"/>
                  <a:gd name="connsiteX38" fmla="*/ 1305 w 10000"/>
                  <a:gd name="connsiteY38" fmla="*/ 1068 h 10003"/>
                  <a:gd name="connsiteX39" fmla="*/ 765 w 10000"/>
                  <a:gd name="connsiteY39" fmla="*/ 990 h 10003"/>
                  <a:gd name="connsiteX40" fmla="*/ 449 w 10000"/>
                  <a:gd name="connsiteY40" fmla="*/ 1003 h 10003"/>
                  <a:gd name="connsiteX41" fmla="*/ 810 w 10000"/>
                  <a:gd name="connsiteY41" fmla="*/ 1159 h 10003"/>
                  <a:gd name="connsiteX42" fmla="*/ 974 w 10000"/>
                  <a:gd name="connsiteY42" fmla="*/ 1420 h 10003"/>
                  <a:gd name="connsiteX43" fmla="*/ 959 w 10000"/>
                  <a:gd name="connsiteY43" fmla="*/ 2045 h 10003"/>
                  <a:gd name="connsiteX44" fmla="*/ 854 w 10000"/>
                  <a:gd name="connsiteY44" fmla="*/ 2188 h 10003"/>
                  <a:gd name="connsiteX45" fmla="*/ 375 w 10000"/>
                  <a:gd name="connsiteY45" fmla="*/ 1993 h 10003"/>
                  <a:gd name="connsiteX46" fmla="*/ 330 w 10000"/>
                  <a:gd name="connsiteY46" fmla="*/ 1915 h 10003"/>
                  <a:gd name="connsiteX47" fmla="*/ 270 w 10000"/>
                  <a:gd name="connsiteY47" fmla="*/ 1915 h 10003"/>
                  <a:gd name="connsiteX48" fmla="*/ 75 w 10000"/>
                  <a:gd name="connsiteY48" fmla="*/ 1862 h 10003"/>
                  <a:gd name="connsiteX49" fmla="*/ 0 w 10000"/>
                  <a:gd name="connsiteY49" fmla="*/ 2201 h 10003"/>
                  <a:gd name="connsiteX50" fmla="*/ 165 w 10000"/>
                  <a:gd name="connsiteY50" fmla="*/ 2227 h 10003"/>
                  <a:gd name="connsiteX51" fmla="*/ 600 w 10000"/>
                  <a:gd name="connsiteY51" fmla="*/ 2462 h 10003"/>
                  <a:gd name="connsiteX52" fmla="*/ 2234 w 10000"/>
                  <a:gd name="connsiteY52" fmla="*/ 2683 h 10003"/>
                  <a:gd name="connsiteX53" fmla="*/ 2744 w 10000"/>
                  <a:gd name="connsiteY53" fmla="*/ 2709 h 10003"/>
                  <a:gd name="connsiteX54" fmla="*/ 3569 w 10000"/>
                  <a:gd name="connsiteY54" fmla="*/ 2578 h 10003"/>
                  <a:gd name="connsiteX55" fmla="*/ 4019 w 10000"/>
                  <a:gd name="connsiteY55" fmla="*/ 2592 h 10003"/>
                  <a:gd name="connsiteX56" fmla="*/ 4454 w 10000"/>
                  <a:gd name="connsiteY56" fmla="*/ 2565 h 10003"/>
                  <a:gd name="connsiteX57" fmla="*/ 4289 w 10000"/>
                  <a:gd name="connsiteY57" fmla="*/ 2983 h 10003"/>
                  <a:gd name="connsiteX58" fmla="*/ 3929 w 10000"/>
                  <a:gd name="connsiteY58" fmla="*/ 4051 h 10003"/>
                  <a:gd name="connsiteX59" fmla="*/ 3839 w 10000"/>
                  <a:gd name="connsiteY59" fmla="*/ 4442 h 10003"/>
                  <a:gd name="connsiteX60" fmla="*/ 4094 w 10000"/>
                  <a:gd name="connsiteY60" fmla="*/ 4416 h 10003"/>
                  <a:gd name="connsiteX61" fmla="*/ 5578 w 10000"/>
                  <a:gd name="connsiteY61" fmla="*/ 4312 h 10003"/>
                  <a:gd name="connsiteX62" fmla="*/ 6523 w 10000"/>
                  <a:gd name="connsiteY62" fmla="*/ 4663 h 10003"/>
                  <a:gd name="connsiteX63" fmla="*/ 7468 w 10000"/>
                  <a:gd name="connsiteY63" fmla="*/ 4897 h 10003"/>
                  <a:gd name="connsiteX64" fmla="*/ 7108 w 10000"/>
                  <a:gd name="connsiteY64" fmla="*/ 5041 h 10003"/>
                  <a:gd name="connsiteX65" fmla="*/ 5743 w 10000"/>
                  <a:gd name="connsiteY65" fmla="*/ 5197 h 10003"/>
                  <a:gd name="connsiteX66" fmla="*/ 5188 w 10000"/>
                  <a:gd name="connsiteY66" fmla="*/ 5158 h 10003"/>
                  <a:gd name="connsiteX67" fmla="*/ 5308 w 10000"/>
                  <a:gd name="connsiteY67" fmla="*/ 5861 h 10003"/>
                  <a:gd name="connsiteX68" fmla="*/ 5233 w 10000"/>
                  <a:gd name="connsiteY68" fmla="*/ 6057 h 10003"/>
                  <a:gd name="connsiteX69" fmla="*/ 4648 w 10000"/>
                  <a:gd name="connsiteY69" fmla="*/ 6017 h 10003"/>
                  <a:gd name="connsiteX70" fmla="*/ 4334 w 10000"/>
                  <a:gd name="connsiteY70" fmla="*/ 6030 h 10003"/>
                  <a:gd name="connsiteX71" fmla="*/ 3868 w 10000"/>
                  <a:gd name="connsiteY71" fmla="*/ 5809 h 10003"/>
                  <a:gd name="connsiteX72" fmla="*/ 3613 w 10000"/>
                  <a:gd name="connsiteY72" fmla="*/ 5665 h 10003"/>
                  <a:gd name="connsiteX73" fmla="*/ 3613 w 10000"/>
                  <a:gd name="connsiteY73" fmla="*/ 5705 h 10003"/>
                  <a:gd name="connsiteX74" fmla="*/ 3299 w 10000"/>
                  <a:gd name="connsiteY74" fmla="*/ 7789 h 10003"/>
                  <a:gd name="connsiteX75" fmla="*/ 3284 w 10000"/>
                  <a:gd name="connsiteY75" fmla="*/ 8375 h 10003"/>
                  <a:gd name="connsiteX76" fmla="*/ 3464 w 10000"/>
                  <a:gd name="connsiteY76" fmla="*/ 8219 h 10003"/>
                  <a:gd name="connsiteX77" fmla="*/ 3988 w 10000"/>
                  <a:gd name="connsiteY77" fmla="*/ 8036 h 10003"/>
                  <a:gd name="connsiteX78" fmla="*/ 4049 w 10000"/>
                  <a:gd name="connsiteY78" fmla="*/ 7789 h 10003"/>
                  <a:gd name="connsiteX79" fmla="*/ 4378 w 10000"/>
                  <a:gd name="connsiteY79" fmla="*/ 8049 h 10003"/>
                  <a:gd name="connsiteX80" fmla="*/ 4544 w 10000"/>
                  <a:gd name="connsiteY80" fmla="*/ 7281 h 10003"/>
                  <a:gd name="connsiteX81" fmla="*/ 4814 w 10000"/>
                  <a:gd name="connsiteY81" fmla="*/ 6720 h 10003"/>
                  <a:gd name="connsiteX82" fmla="*/ 4873 w 10000"/>
                  <a:gd name="connsiteY82" fmla="*/ 6786 h 10003"/>
                  <a:gd name="connsiteX83" fmla="*/ 4902 w 10000"/>
                  <a:gd name="connsiteY83" fmla="*/ 7638 h 10003"/>
                  <a:gd name="connsiteX84" fmla="*/ 4935 w 10000"/>
                  <a:gd name="connsiteY84" fmla="*/ 8047 h 10003"/>
                  <a:gd name="connsiteX85" fmla="*/ 5209 w 10000"/>
                  <a:gd name="connsiteY85" fmla="*/ 9542 h 10003"/>
                  <a:gd name="connsiteX86" fmla="*/ 5773 w 10000"/>
                  <a:gd name="connsiteY86" fmla="*/ 9977 h 10003"/>
                  <a:gd name="connsiteX87" fmla="*/ 8667 w 10000"/>
                  <a:gd name="connsiteY87" fmla="*/ 9820 h 10003"/>
                  <a:gd name="connsiteX88" fmla="*/ 8667 w 10000"/>
                  <a:gd name="connsiteY88" fmla="*/ 9860 h 10003"/>
                  <a:gd name="connsiteX89" fmla="*/ 9087 w 10000"/>
                  <a:gd name="connsiteY89" fmla="*/ 9664 h 10003"/>
                  <a:gd name="connsiteX90" fmla="*/ 9027 w 10000"/>
                  <a:gd name="connsiteY90" fmla="*/ 8154 h 10003"/>
                  <a:gd name="connsiteX91" fmla="*/ 8907 w 10000"/>
                  <a:gd name="connsiteY91" fmla="*/ 6929 h 10003"/>
                  <a:gd name="connsiteX92" fmla="*/ 8952 w 10000"/>
                  <a:gd name="connsiteY92" fmla="*/ 6083 h 10003"/>
                  <a:gd name="connsiteX93" fmla="*/ 9072 w 10000"/>
                  <a:gd name="connsiteY93" fmla="*/ 5380 h 10003"/>
                  <a:gd name="connsiteX94" fmla="*/ 9102 w 10000"/>
                  <a:gd name="connsiteY94" fmla="*/ 5132 h 10003"/>
                  <a:gd name="connsiteX95" fmla="*/ 9432 w 10000"/>
                  <a:gd name="connsiteY95" fmla="*/ 4429 h 10003"/>
                  <a:gd name="connsiteX96" fmla="*/ 9747 w 10000"/>
                  <a:gd name="connsiteY96" fmla="*/ 3465 h 10003"/>
                  <a:gd name="connsiteX97" fmla="*/ 9972 w 10000"/>
                  <a:gd name="connsiteY97" fmla="*/ 2410 h 10003"/>
                  <a:gd name="connsiteX98" fmla="*/ 9717 w 10000"/>
                  <a:gd name="connsiteY98" fmla="*/ 1510 h 10003"/>
                  <a:gd name="connsiteX0" fmla="*/ 9717 w 10000"/>
                  <a:gd name="connsiteY0" fmla="*/ 1510 h 10021"/>
                  <a:gd name="connsiteX1" fmla="*/ 8997 w 10000"/>
                  <a:gd name="connsiteY1" fmla="*/ 899 h 10021"/>
                  <a:gd name="connsiteX2" fmla="*/ 8488 w 10000"/>
                  <a:gd name="connsiteY2" fmla="*/ 573 h 10021"/>
                  <a:gd name="connsiteX3" fmla="*/ 8427 w 10000"/>
                  <a:gd name="connsiteY3" fmla="*/ 482 h 10021"/>
                  <a:gd name="connsiteX4" fmla="*/ 8217 w 10000"/>
                  <a:gd name="connsiteY4" fmla="*/ 130 h 10021"/>
                  <a:gd name="connsiteX5" fmla="*/ 7873 w 10000"/>
                  <a:gd name="connsiteY5" fmla="*/ 0 h 10021"/>
                  <a:gd name="connsiteX6" fmla="*/ 7827 w 10000"/>
                  <a:gd name="connsiteY6" fmla="*/ 13 h 10021"/>
                  <a:gd name="connsiteX7" fmla="*/ 7978 w 10000"/>
                  <a:gd name="connsiteY7" fmla="*/ 274 h 10021"/>
                  <a:gd name="connsiteX8" fmla="*/ 7542 w 10000"/>
                  <a:gd name="connsiteY8" fmla="*/ 755 h 10021"/>
                  <a:gd name="connsiteX9" fmla="*/ 7032 w 10000"/>
                  <a:gd name="connsiteY9" fmla="*/ 1433 h 10021"/>
                  <a:gd name="connsiteX10" fmla="*/ 6958 w 10000"/>
                  <a:gd name="connsiteY10" fmla="*/ 1523 h 10021"/>
                  <a:gd name="connsiteX11" fmla="*/ 6598 w 10000"/>
                  <a:gd name="connsiteY11" fmla="*/ 2045 h 10021"/>
                  <a:gd name="connsiteX12" fmla="*/ 6388 w 10000"/>
                  <a:gd name="connsiteY12" fmla="*/ 2319 h 10021"/>
                  <a:gd name="connsiteX13" fmla="*/ 6283 w 10000"/>
                  <a:gd name="connsiteY13" fmla="*/ 2449 h 10021"/>
                  <a:gd name="connsiteX14" fmla="*/ 5773 w 10000"/>
                  <a:gd name="connsiteY14" fmla="*/ 3230 h 10021"/>
                  <a:gd name="connsiteX15" fmla="*/ 6013 w 10000"/>
                  <a:gd name="connsiteY15" fmla="*/ 1862 h 10021"/>
                  <a:gd name="connsiteX16" fmla="*/ 6028 w 10000"/>
                  <a:gd name="connsiteY16" fmla="*/ 1615 h 10021"/>
                  <a:gd name="connsiteX17" fmla="*/ 6088 w 10000"/>
                  <a:gd name="connsiteY17" fmla="*/ 1303 h 10021"/>
                  <a:gd name="connsiteX18" fmla="*/ 6117 w 10000"/>
                  <a:gd name="connsiteY18" fmla="*/ 1185 h 10021"/>
                  <a:gd name="connsiteX19" fmla="*/ 6103 w 10000"/>
                  <a:gd name="connsiteY19" fmla="*/ 1055 h 10021"/>
                  <a:gd name="connsiteX20" fmla="*/ 6103 w 10000"/>
                  <a:gd name="connsiteY20" fmla="*/ 951 h 10021"/>
                  <a:gd name="connsiteX21" fmla="*/ 6103 w 10000"/>
                  <a:gd name="connsiteY21" fmla="*/ 859 h 10021"/>
                  <a:gd name="connsiteX22" fmla="*/ 6103 w 10000"/>
                  <a:gd name="connsiteY22" fmla="*/ 846 h 10021"/>
                  <a:gd name="connsiteX23" fmla="*/ 6117 w 10000"/>
                  <a:gd name="connsiteY23" fmla="*/ 807 h 10021"/>
                  <a:gd name="connsiteX24" fmla="*/ 5758 w 10000"/>
                  <a:gd name="connsiteY24" fmla="*/ 755 h 10021"/>
                  <a:gd name="connsiteX25" fmla="*/ 5594 w 10000"/>
                  <a:gd name="connsiteY25" fmla="*/ 443 h 10021"/>
                  <a:gd name="connsiteX26" fmla="*/ 5488 w 10000"/>
                  <a:gd name="connsiteY26" fmla="*/ 339 h 10021"/>
                  <a:gd name="connsiteX27" fmla="*/ 5474 w 10000"/>
                  <a:gd name="connsiteY27" fmla="*/ 326 h 10021"/>
                  <a:gd name="connsiteX28" fmla="*/ 5053 w 10000"/>
                  <a:gd name="connsiteY28" fmla="*/ 417 h 10021"/>
                  <a:gd name="connsiteX29" fmla="*/ 4753 w 10000"/>
                  <a:gd name="connsiteY29" fmla="*/ 638 h 10021"/>
                  <a:gd name="connsiteX30" fmla="*/ 4679 w 10000"/>
                  <a:gd name="connsiteY30" fmla="*/ 912 h 10021"/>
                  <a:gd name="connsiteX31" fmla="*/ 4483 w 10000"/>
                  <a:gd name="connsiteY31" fmla="*/ 899 h 10021"/>
                  <a:gd name="connsiteX32" fmla="*/ 4319 w 10000"/>
                  <a:gd name="connsiteY32" fmla="*/ 1016 h 10021"/>
                  <a:gd name="connsiteX33" fmla="*/ 4094 w 10000"/>
                  <a:gd name="connsiteY33" fmla="*/ 1133 h 10021"/>
                  <a:gd name="connsiteX34" fmla="*/ 3644 w 10000"/>
                  <a:gd name="connsiteY34" fmla="*/ 1068 h 10021"/>
                  <a:gd name="connsiteX35" fmla="*/ 3119 w 10000"/>
                  <a:gd name="connsiteY35" fmla="*/ 1081 h 10021"/>
                  <a:gd name="connsiteX36" fmla="*/ 2789 w 10000"/>
                  <a:gd name="connsiteY36" fmla="*/ 1094 h 10021"/>
                  <a:gd name="connsiteX37" fmla="*/ 2114 w 10000"/>
                  <a:gd name="connsiteY37" fmla="*/ 1055 h 10021"/>
                  <a:gd name="connsiteX38" fmla="*/ 1305 w 10000"/>
                  <a:gd name="connsiteY38" fmla="*/ 1068 h 10021"/>
                  <a:gd name="connsiteX39" fmla="*/ 765 w 10000"/>
                  <a:gd name="connsiteY39" fmla="*/ 990 h 10021"/>
                  <a:gd name="connsiteX40" fmla="*/ 449 w 10000"/>
                  <a:gd name="connsiteY40" fmla="*/ 1003 h 10021"/>
                  <a:gd name="connsiteX41" fmla="*/ 810 w 10000"/>
                  <a:gd name="connsiteY41" fmla="*/ 1159 h 10021"/>
                  <a:gd name="connsiteX42" fmla="*/ 974 w 10000"/>
                  <a:gd name="connsiteY42" fmla="*/ 1420 h 10021"/>
                  <a:gd name="connsiteX43" fmla="*/ 959 w 10000"/>
                  <a:gd name="connsiteY43" fmla="*/ 2045 h 10021"/>
                  <a:gd name="connsiteX44" fmla="*/ 854 w 10000"/>
                  <a:gd name="connsiteY44" fmla="*/ 2188 h 10021"/>
                  <a:gd name="connsiteX45" fmla="*/ 375 w 10000"/>
                  <a:gd name="connsiteY45" fmla="*/ 1993 h 10021"/>
                  <a:gd name="connsiteX46" fmla="*/ 330 w 10000"/>
                  <a:gd name="connsiteY46" fmla="*/ 1915 h 10021"/>
                  <a:gd name="connsiteX47" fmla="*/ 270 w 10000"/>
                  <a:gd name="connsiteY47" fmla="*/ 1915 h 10021"/>
                  <a:gd name="connsiteX48" fmla="*/ 75 w 10000"/>
                  <a:gd name="connsiteY48" fmla="*/ 1862 h 10021"/>
                  <a:gd name="connsiteX49" fmla="*/ 0 w 10000"/>
                  <a:gd name="connsiteY49" fmla="*/ 2201 h 10021"/>
                  <a:gd name="connsiteX50" fmla="*/ 165 w 10000"/>
                  <a:gd name="connsiteY50" fmla="*/ 2227 h 10021"/>
                  <a:gd name="connsiteX51" fmla="*/ 600 w 10000"/>
                  <a:gd name="connsiteY51" fmla="*/ 2462 h 10021"/>
                  <a:gd name="connsiteX52" fmla="*/ 2234 w 10000"/>
                  <a:gd name="connsiteY52" fmla="*/ 2683 h 10021"/>
                  <a:gd name="connsiteX53" fmla="*/ 2744 w 10000"/>
                  <a:gd name="connsiteY53" fmla="*/ 2709 h 10021"/>
                  <a:gd name="connsiteX54" fmla="*/ 3569 w 10000"/>
                  <a:gd name="connsiteY54" fmla="*/ 2578 h 10021"/>
                  <a:gd name="connsiteX55" fmla="*/ 4019 w 10000"/>
                  <a:gd name="connsiteY55" fmla="*/ 2592 h 10021"/>
                  <a:gd name="connsiteX56" fmla="*/ 4454 w 10000"/>
                  <a:gd name="connsiteY56" fmla="*/ 2565 h 10021"/>
                  <a:gd name="connsiteX57" fmla="*/ 4289 w 10000"/>
                  <a:gd name="connsiteY57" fmla="*/ 2983 h 10021"/>
                  <a:gd name="connsiteX58" fmla="*/ 3929 w 10000"/>
                  <a:gd name="connsiteY58" fmla="*/ 4051 h 10021"/>
                  <a:gd name="connsiteX59" fmla="*/ 3839 w 10000"/>
                  <a:gd name="connsiteY59" fmla="*/ 4442 h 10021"/>
                  <a:gd name="connsiteX60" fmla="*/ 4094 w 10000"/>
                  <a:gd name="connsiteY60" fmla="*/ 4416 h 10021"/>
                  <a:gd name="connsiteX61" fmla="*/ 5578 w 10000"/>
                  <a:gd name="connsiteY61" fmla="*/ 4312 h 10021"/>
                  <a:gd name="connsiteX62" fmla="*/ 6523 w 10000"/>
                  <a:gd name="connsiteY62" fmla="*/ 4663 h 10021"/>
                  <a:gd name="connsiteX63" fmla="*/ 7468 w 10000"/>
                  <a:gd name="connsiteY63" fmla="*/ 4897 h 10021"/>
                  <a:gd name="connsiteX64" fmla="*/ 7108 w 10000"/>
                  <a:gd name="connsiteY64" fmla="*/ 5041 h 10021"/>
                  <a:gd name="connsiteX65" fmla="*/ 5743 w 10000"/>
                  <a:gd name="connsiteY65" fmla="*/ 5197 h 10021"/>
                  <a:gd name="connsiteX66" fmla="*/ 5188 w 10000"/>
                  <a:gd name="connsiteY66" fmla="*/ 5158 h 10021"/>
                  <a:gd name="connsiteX67" fmla="*/ 5308 w 10000"/>
                  <a:gd name="connsiteY67" fmla="*/ 5861 h 10021"/>
                  <a:gd name="connsiteX68" fmla="*/ 5233 w 10000"/>
                  <a:gd name="connsiteY68" fmla="*/ 6057 h 10021"/>
                  <a:gd name="connsiteX69" fmla="*/ 4648 w 10000"/>
                  <a:gd name="connsiteY69" fmla="*/ 6017 h 10021"/>
                  <a:gd name="connsiteX70" fmla="*/ 4334 w 10000"/>
                  <a:gd name="connsiteY70" fmla="*/ 6030 h 10021"/>
                  <a:gd name="connsiteX71" fmla="*/ 3868 w 10000"/>
                  <a:gd name="connsiteY71" fmla="*/ 5809 h 10021"/>
                  <a:gd name="connsiteX72" fmla="*/ 3613 w 10000"/>
                  <a:gd name="connsiteY72" fmla="*/ 5665 h 10021"/>
                  <a:gd name="connsiteX73" fmla="*/ 3613 w 10000"/>
                  <a:gd name="connsiteY73" fmla="*/ 5705 h 10021"/>
                  <a:gd name="connsiteX74" fmla="*/ 3299 w 10000"/>
                  <a:gd name="connsiteY74" fmla="*/ 7789 h 10021"/>
                  <a:gd name="connsiteX75" fmla="*/ 3284 w 10000"/>
                  <a:gd name="connsiteY75" fmla="*/ 8375 h 10021"/>
                  <a:gd name="connsiteX76" fmla="*/ 3464 w 10000"/>
                  <a:gd name="connsiteY76" fmla="*/ 8219 h 10021"/>
                  <a:gd name="connsiteX77" fmla="*/ 3988 w 10000"/>
                  <a:gd name="connsiteY77" fmla="*/ 8036 h 10021"/>
                  <a:gd name="connsiteX78" fmla="*/ 4049 w 10000"/>
                  <a:gd name="connsiteY78" fmla="*/ 7789 h 10021"/>
                  <a:gd name="connsiteX79" fmla="*/ 4378 w 10000"/>
                  <a:gd name="connsiteY79" fmla="*/ 8049 h 10021"/>
                  <a:gd name="connsiteX80" fmla="*/ 4544 w 10000"/>
                  <a:gd name="connsiteY80" fmla="*/ 7281 h 10021"/>
                  <a:gd name="connsiteX81" fmla="*/ 4814 w 10000"/>
                  <a:gd name="connsiteY81" fmla="*/ 6720 h 10021"/>
                  <a:gd name="connsiteX82" fmla="*/ 4873 w 10000"/>
                  <a:gd name="connsiteY82" fmla="*/ 6786 h 10021"/>
                  <a:gd name="connsiteX83" fmla="*/ 4902 w 10000"/>
                  <a:gd name="connsiteY83" fmla="*/ 7638 h 10021"/>
                  <a:gd name="connsiteX84" fmla="*/ 4935 w 10000"/>
                  <a:gd name="connsiteY84" fmla="*/ 8047 h 10021"/>
                  <a:gd name="connsiteX85" fmla="*/ 5209 w 10000"/>
                  <a:gd name="connsiteY85" fmla="*/ 9542 h 10021"/>
                  <a:gd name="connsiteX86" fmla="*/ 5773 w 10000"/>
                  <a:gd name="connsiteY86" fmla="*/ 9977 h 10021"/>
                  <a:gd name="connsiteX87" fmla="*/ 8667 w 10000"/>
                  <a:gd name="connsiteY87" fmla="*/ 9820 h 10021"/>
                  <a:gd name="connsiteX88" fmla="*/ 8667 w 10000"/>
                  <a:gd name="connsiteY88" fmla="*/ 9860 h 10021"/>
                  <a:gd name="connsiteX89" fmla="*/ 9087 w 10000"/>
                  <a:gd name="connsiteY89" fmla="*/ 9664 h 10021"/>
                  <a:gd name="connsiteX90" fmla="*/ 9027 w 10000"/>
                  <a:gd name="connsiteY90" fmla="*/ 8154 h 10021"/>
                  <a:gd name="connsiteX91" fmla="*/ 8907 w 10000"/>
                  <a:gd name="connsiteY91" fmla="*/ 6929 h 10021"/>
                  <a:gd name="connsiteX92" fmla="*/ 8952 w 10000"/>
                  <a:gd name="connsiteY92" fmla="*/ 6083 h 10021"/>
                  <a:gd name="connsiteX93" fmla="*/ 9072 w 10000"/>
                  <a:gd name="connsiteY93" fmla="*/ 5380 h 10021"/>
                  <a:gd name="connsiteX94" fmla="*/ 9102 w 10000"/>
                  <a:gd name="connsiteY94" fmla="*/ 5132 h 10021"/>
                  <a:gd name="connsiteX95" fmla="*/ 9432 w 10000"/>
                  <a:gd name="connsiteY95" fmla="*/ 4429 h 10021"/>
                  <a:gd name="connsiteX96" fmla="*/ 9747 w 10000"/>
                  <a:gd name="connsiteY96" fmla="*/ 3465 h 10021"/>
                  <a:gd name="connsiteX97" fmla="*/ 9972 w 10000"/>
                  <a:gd name="connsiteY97" fmla="*/ 2410 h 10021"/>
                  <a:gd name="connsiteX98" fmla="*/ 9717 w 10000"/>
                  <a:gd name="connsiteY98" fmla="*/ 1510 h 10021"/>
                  <a:gd name="connsiteX0" fmla="*/ 9717 w 10000"/>
                  <a:gd name="connsiteY0" fmla="*/ 1510 h 10100"/>
                  <a:gd name="connsiteX1" fmla="*/ 8997 w 10000"/>
                  <a:gd name="connsiteY1" fmla="*/ 899 h 10100"/>
                  <a:gd name="connsiteX2" fmla="*/ 8488 w 10000"/>
                  <a:gd name="connsiteY2" fmla="*/ 573 h 10100"/>
                  <a:gd name="connsiteX3" fmla="*/ 8427 w 10000"/>
                  <a:gd name="connsiteY3" fmla="*/ 482 h 10100"/>
                  <a:gd name="connsiteX4" fmla="*/ 8217 w 10000"/>
                  <a:gd name="connsiteY4" fmla="*/ 130 h 10100"/>
                  <a:gd name="connsiteX5" fmla="*/ 7873 w 10000"/>
                  <a:gd name="connsiteY5" fmla="*/ 0 h 10100"/>
                  <a:gd name="connsiteX6" fmla="*/ 7827 w 10000"/>
                  <a:gd name="connsiteY6" fmla="*/ 13 h 10100"/>
                  <a:gd name="connsiteX7" fmla="*/ 7978 w 10000"/>
                  <a:gd name="connsiteY7" fmla="*/ 274 h 10100"/>
                  <a:gd name="connsiteX8" fmla="*/ 7542 w 10000"/>
                  <a:gd name="connsiteY8" fmla="*/ 755 h 10100"/>
                  <a:gd name="connsiteX9" fmla="*/ 7032 w 10000"/>
                  <a:gd name="connsiteY9" fmla="*/ 1433 h 10100"/>
                  <a:gd name="connsiteX10" fmla="*/ 6958 w 10000"/>
                  <a:gd name="connsiteY10" fmla="*/ 1523 h 10100"/>
                  <a:gd name="connsiteX11" fmla="*/ 6598 w 10000"/>
                  <a:gd name="connsiteY11" fmla="*/ 2045 h 10100"/>
                  <a:gd name="connsiteX12" fmla="*/ 6388 w 10000"/>
                  <a:gd name="connsiteY12" fmla="*/ 2319 h 10100"/>
                  <a:gd name="connsiteX13" fmla="*/ 6283 w 10000"/>
                  <a:gd name="connsiteY13" fmla="*/ 2449 h 10100"/>
                  <a:gd name="connsiteX14" fmla="*/ 5773 w 10000"/>
                  <a:gd name="connsiteY14" fmla="*/ 3230 h 10100"/>
                  <a:gd name="connsiteX15" fmla="*/ 6013 w 10000"/>
                  <a:gd name="connsiteY15" fmla="*/ 1862 h 10100"/>
                  <a:gd name="connsiteX16" fmla="*/ 6028 w 10000"/>
                  <a:gd name="connsiteY16" fmla="*/ 1615 h 10100"/>
                  <a:gd name="connsiteX17" fmla="*/ 6088 w 10000"/>
                  <a:gd name="connsiteY17" fmla="*/ 1303 h 10100"/>
                  <a:gd name="connsiteX18" fmla="*/ 6117 w 10000"/>
                  <a:gd name="connsiteY18" fmla="*/ 1185 h 10100"/>
                  <a:gd name="connsiteX19" fmla="*/ 6103 w 10000"/>
                  <a:gd name="connsiteY19" fmla="*/ 1055 h 10100"/>
                  <a:gd name="connsiteX20" fmla="*/ 6103 w 10000"/>
                  <a:gd name="connsiteY20" fmla="*/ 951 h 10100"/>
                  <a:gd name="connsiteX21" fmla="*/ 6103 w 10000"/>
                  <a:gd name="connsiteY21" fmla="*/ 859 h 10100"/>
                  <a:gd name="connsiteX22" fmla="*/ 6103 w 10000"/>
                  <a:gd name="connsiteY22" fmla="*/ 846 h 10100"/>
                  <a:gd name="connsiteX23" fmla="*/ 6117 w 10000"/>
                  <a:gd name="connsiteY23" fmla="*/ 807 h 10100"/>
                  <a:gd name="connsiteX24" fmla="*/ 5758 w 10000"/>
                  <a:gd name="connsiteY24" fmla="*/ 755 h 10100"/>
                  <a:gd name="connsiteX25" fmla="*/ 5594 w 10000"/>
                  <a:gd name="connsiteY25" fmla="*/ 443 h 10100"/>
                  <a:gd name="connsiteX26" fmla="*/ 5488 w 10000"/>
                  <a:gd name="connsiteY26" fmla="*/ 339 h 10100"/>
                  <a:gd name="connsiteX27" fmla="*/ 5474 w 10000"/>
                  <a:gd name="connsiteY27" fmla="*/ 326 h 10100"/>
                  <a:gd name="connsiteX28" fmla="*/ 5053 w 10000"/>
                  <a:gd name="connsiteY28" fmla="*/ 417 h 10100"/>
                  <a:gd name="connsiteX29" fmla="*/ 4753 w 10000"/>
                  <a:gd name="connsiteY29" fmla="*/ 638 h 10100"/>
                  <a:gd name="connsiteX30" fmla="*/ 4679 w 10000"/>
                  <a:gd name="connsiteY30" fmla="*/ 912 h 10100"/>
                  <a:gd name="connsiteX31" fmla="*/ 4483 w 10000"/>
                  <a:gd name="connsiteY31" fmla="*/ 899 h 10100"/>
                  <a:gd name="connsiteX32" fmla="*/ 4319 w 10000"/>
                  <a:gd name="connsiteY32" fmla="*/ 1016 h 10100"/>
                  <a:gd name="connsiteX33" fmla="*/ 4094 w 10000"/>
                  <a:gd name="connsiteY33" fmla="*/ 1133 h 10100"/>
                  <a:gd name="connsiteX34" fmla="*/ 3644 w 10000"/>
                  <a:gd name="connsiteY34" fmla="*/ 1068 h 10100"/>
                  <a:gd name="connsiteX35" fmla="*/ 3119 w 10000"/>
                  <a:gd name="connsiteY35" fmla="*/ 1081 h 10100"/>
                  <a:gd name="connsiteX36" fmla="*/ 2789 w 10000"/>
                  <a:gd name="connsiteY36" fmla="*/ 1094 h 10100"/>
                  <a:gd name="connsiteX37" fmla="*/ 2114 w 10000"/>
                  <a:gd name="connsiteY37" fmla="*/ 1055 h 10100"/>
                  <a:gd name="connsiteX38" fmla="*/ 1305 w 10000"/>
                  <a:gd name="connsiteY38" fmla="*/ 1068 h 10100"/>
                  <a:gd name="connsiteX39" fmla="*/ 765 w 10000"/>
                  <a:gd name="connsiteY39" fmla="*/ 990 h 10100"/>
                  <a:gd name="connsiteX40" fmla="*/ 449 w 10000"/>
                  <a:gd name="connsiteY40" fmla="*/ 1003 h 10100"/>
                  <a:gd name="connsiteX41" fmla="*/ 810 w 10000"/>
                  <a:gd name="connsiteY41" fmla="*/ 1159 h 10100"/>
                  <a:gd name="connsiteX42" fmla="*/ 974 w 10000"/>
                  <a:gd name="connsiteY42" fmla="*/ 1420 h 10100"/>
                  <a:gd name="connsiteX43" fmla="*/ 959 w 10000"/>
                  <a:gd name="connsiteY43" fmla="*/ 2045 h 10100"/>
                  <a:gd name="connsiteX44" fmla="*/ 854 w 10000"/>
                  <a:gd name="connsiteY44" fmla="*/ 2188 h 10100"/>
                  <a:gd name="connsiteX45" fmla="*/ 375 w 10000"/>
                  <a:gd name="connsiteY45" fmla="*/ 1993 h 10100"/>
                  <a:gd name="connsiteX46" fmla="*/ 330 w 10000"/>
                  <a:gd name="connsiteY46" fmla="*/ 1915 h 10100"/>
                  <a:gd name="connsiteX47" fmla="*/ 270 w 10000"/>
                  <a:gd name="connsiteY47" fmla="*/ 1915 h 10100"/>
                  <a:gd name="connsiteX48" fmla="*/ 75 w 10000"/>
                  <a:gd name="connsiteY48" fmla="*/ 1862 h 10100"/>
                  <a:gd name="connsiteX49" fmla="*/ 0 w 10000"/>
                  <a:gd name="connsiteY49" fmla="*/ 2201 h 10100"/>
                  <a:gd name="connsiteX50" fmla="*/ 165 w 10000"/>
                  <a:gd name="connsiteY50" fmla="*/ 2227 h 10100"/>
                  <a:gd name="connsiteX51" fmla="*/ 600 w 10000"/>
                  <a:gd name="connsiteY51" fmla="*/ 2462 h 10100"/>
                  <a:gd name="connsiteX52" fmla="*/ 2234 w 10000"/>
                  <a:gd name="connsiteY52" fmla="*/ 2683 h 10100"/>
                  <a:gd name="connsiteX53" fmla="*/ 2744 w 10000"/>
                  <a:gd name="connsiteY53" fmla="*/ 2709 h 10100"/>
                  <a:gd name="connsiteX54" fmla="*/ 3569 w 10000"/>
                  <a:gd name="connsiteY54" fmla="*/ 2578 h 10100"/>
                  <a:gd name="connsiteX55" fmla="*/ 4019 w 10000"/>
                  <a:gd name="connsiteY55" fmla="*/ 2592 h 10100"/>
                  <a:gd name="connsiteX56" fmla="*/ 4454 w 10000"/>
                  <a:gd name="connsiteY56" fmla="*/ 2565 h 10100"/>
                  <a:gd name="connsiteX57" fmla="*/ 4289 w 10000"/>
                  <a:gd name="connsiteY57" fmla="*/ 2983 h 10100"/>
                  <a:gd name="connsiteX58" fmla="*/ 3929 w 10000"/>
                  <a:gd name="connsiteY58" fmla="*/ 4051 h 10100"/>
                  <a:gd name="connsiteX59" fmla="*/ 3839 w 10000"/>
                  <a:gd name="connsiteY59" fmla="*/ 4442 h 10100"/>
                  <a:gd name="connsiteX60" fmla="*/ 4094 w 10000"/>
                  <a:gd name="connsiteY60" fmla="*/ 4416 h 10100"/>
                  <a:gd name="connsiteX61" fmla="*/ 5578 w 10000"/>
                  <a:gd name="connsiteY61" fmla="*/ 4312 h 10100"/>
                  <a:gd name="connsiteX62" fmla="*/ 6523 w 10000"/>
                  <a:gd name="connsiteY62" fmla="*/ 4663 h 10100"/>
                  <a:gd name="connsiteX63" fmla="*/ 7468 w 10000"/>
                  <a:gd name="connsiteY63" fmla="*/ 4897 h 10100"/>
                  <a:gd name="connsiteX64" fmla="*/ 7108 w 10000"/>
                  <a:gd name="connsiteY64" fmla="*/ 5041 h 10100"/>
                  <a:gd name="connsiteX65" fmla="*/ 5743 w 10000"/>
                  <a:gd name="connsiteY65" fmla="*/ 5197 h 10100"/>
                  <a:gd name="connsiteX66" fmla="*/ 5188 w 10000"/>
                  <a:gd name="connsiteY66" fmla="*/ 5158 h 10100"/>
                  <a:gd name="connsiteX67" fmla="*/ 5308 w 10000"/>
                  <a:gd name="connsiteY67" fmla="*/ 5861 h 10100"/>
                  <a:gd name="connsiteX68" fmla="*/ 5233 w 10000"/>
                  <a:gd name="connsiteY68" fmla="*/ 6057 h 10100"/>
                  <a:gd name="connsiteX69" fmla="*/ 4648 w 10000"/>
                  <a:gd name="connsiteY69" fmla="*/ 6017 h 10100"/>
                  <a:gd name="connsiteX70" fmla="*/ 4334 w 10000"/>
                  <a:gd name="connsiteY70" fmla="*/ 6030 h 10100"/>
                  <a:gd name="connsiteX71" fmla="*/ 3868 w 10000"/>
                  <a:gd name="connsiteY71" fmla="*/ 5809 h 10100"/>
                  <a:gd name="connsiteX72" fmla="*/ 3613 w 10000"/>
                  <a:gd name="connsiteY72" fmla="*/ 5665 h 10100"/>
                  <a:gd name="connsiteX73" fmla="*/ 3613 w 10000"/>
                  <a:gd name="connsiteY73" fmla="*/ 5705 h 10100"/>
                  <a:gd name="connsiteX74" fmla="*/ 3299 w 10000"/>
                  <a:gd name="connsiteY74" fmla="*/ 7789 h 10100"/>
                  <a:gd name="connsiteX75" fmla="*/ 3284 w 10000"/>
                  <a:gd name="connsiteY75" fmla="*/ 8375 h 10100"/>
                  <a:gd name="connsiteX76" fmla="*/ 3464 w 10000"/>
                  <a:gd name="connsiteY76" fmla="*/ 8219 h 10100"/>
                  <a:gd name="connsiteX77" fmla="*/ 3988 w 10000"/>
                  <a:gd name="connsiteY77" fmla="*/ 8036 h 10100"/>
                  <a:gd name="connsiteX78" fmla="*/ 4049 w 10000"/>
                  <a:gd name="connsiteY78" fmla="*/ 7789 h 10100"/>
                  <a:gd name="connsiteX79" fmla="*/ 4378 w 10000"/>
                  <a:gd name="connsiteY79" fmla="*/ 8049 h 10100"/>
                  <a:gd name="connsiteX80" fmla="*/ 4544 w 10000"/>
                  <a:gd name="connsiteY80" fmla="*/ 7281 h 10100"/>
                  <a:gd name="connsiteX81" fmla="*/ 4814 w 10000"/>
                  <a:gd name="connsiteY81" fmla="*/ 6720 h 10100"/>
                  <a:gd name="connsiteX82" fmla="*/ 4873 w 10000"/>
                  <a:gd name="connsiteY82" fmla="*/ 6786 h 10100"/>
                  <a:gd name="connsiteX83" fmla="*/ 4902 w 10000"/>
                  <a:gd name="connsiteY83" fmla="*/ 7638 h 10100"/>
                  <a:gd name="connsiteX84" fmla="*/ 4935 w 10000"/>
                  <a:gd name="connsiteY84" fmla="*/ 8047 h 10100"/>
                  <a:gd name="connsiteX85" fmla="*/ 5209 w 10000"/>
                  <a:gd name="connsiteY85" fmla="*/ 9542 h 10100"/>
                  <a:gd name="connsiteX86" fmla="*/ 5797 w 10000"/>
                  <a:gd name="connsiteY86" fmla="*/ 10083 h 10100"/>
                  <a:gd name="connsiteX87" fmla="*/ 8667 w 10000"/>
                  <a:gd name="connsiteY87" fmla="*/ 9820 h 10100"/>
                  <a:gd name="connsiteX88" fmla="*/ 8667 w 10000"/>
                  <a:gd name="connsiteY88" fmla="*/ 9860 h 10100"/>
                  <a:gd name="connsiteX89" fmla="*/ 9087 w 10000"/>
                  <a:gd name="connsiteY89" fmla="*/ 9664 h 10100"/>
                  <a:gd name="connsiteX90" fmla="*/ 9027 w 10000"/>
                  <a:gd name="connsiteY90" fmla="*/ 8154 h 10100"/>
                  <a:gd name="connsiteX91" fmla="*/ 8907 w 10000"/>
                  <a:gd name="connsiteY91" fmla="*/ 6929 h 10100"/>
                  <a:gd name="connsiteX92" fmla="*/ 8952 w 10000"/>
                  <a:gd name="connsiteY92" fmla="*/ 6083 h 10100"/>
                  <a:gd name="connsiteX93" fmla="*/ 9072 w 10000"/>
                  <a:gd name="connsiteY93" fmla="*/ 5380 h 10100"/>
                  <a:gd name="connsiteX94" fmla="*/ 9102 w 10000"/>
                  <a:gd name="connsiteY94" fmla="*/ 5132 h 10100"/>
                  <a:gd name="connsiteX95" fmla="*/ 9432 w 10000"/>
                  <a:gd name="connsiteY95" fmla="*/ 4429 h 10100"/>
                  <a:gd name="connsiteX96" fmla="*/ 9747 w 10000"/>
                  <a:gd name="connsiteY96" fmla="*/ 3465 h 10100"/>
                  <a:gd name="connsiteX97" fmla="*/ 9972 w 10000"/>
                  <a:gd name="connsiteY97" fmla="*/ 2410 h 10100"/>
                  <a:gd name="connsiteX98" fmla="*/ 9717 w 10000"/>
                  <a:gd name="connsiteY98" fmla="*/ 1510 h 10100"/>
                  <a:gd name="connsiteX0" fmla="*/ 9717 w 10000"/>
                  <a:gd name="connsiteY0" fmla="*/ 1510 h 10100"/>
                  <a:gd name="connsiteX1" fmla="*/ 8997 w 10000"/>
                  <a:gd name="connsiteY1" fmla="*/ 899 h 10100"/>
                  <a:gd name="connsiteX2" fmla="*/ 8488 w 10000"/>
                  <a:gd name="connsiteY2" fmla="*/ 573 h 10100"/>
                  <a:gd name="connsiteX3" fmla="*/ 8427 w 10000"/>
                  <a:gd name="connsiteY3" fmla="*/ 482 h 10100"/>
                  <a:gd name="connsiteX4" fmla="*/ 8217 w 10000"/>
                  <a:gd name="connsiteY4" fmla="*/ 130 h 10100"/>
                  <a:gd name="connsiteX5" fmla="*/ 7873 w 10000"/>
                  <a:gd name="connsiteY5" fmla="*/ 0 h 10100"/>
                  <a:gd name="connsiteX6" fmla="*/ 7827 w 10000"/>
                  <a:gd name="connsiteY6" fmla="*/ 13 h 10100"/>
                  <a:gd name="connsiteX7" fmla="*/ 7978 w 10000"/>
                  <a:gd name="connsiteY7" fmla="*/ 274 h 10100"/>
                  <a:gd name="connsiteX8" fmla="*/ 7542 w 10000"/>
                  <a:gd name="connsiteY8" fmla="*/ 755 h 10100"/>
                  <a:gd name="connsiteX9" fmla="*/ 7032 w 10000"/>
                  <a:gd name="connsiteY9" fmla="*/ 1433 h 10100"/>
                  <a:gd name="connsiteX10" fmla="*/ 6958 w 10000"/>
                  <a:gd name="connsiteY10" fmla="*/ 1523 h 10100"/>
                  <a:gd name="connsiteX11" fmla="*/ 6598 w 10000"/>
                  <a:gd name="connsiteY11" fmla="*/ 2045 h 10100"/>
                  <a:gd name="connsiteX12" fmla="*/ 6388 w 10000"/>
                  <a:gd name="connsiteY12" fmla="*/ 2319 h 10100"/>
                  <a:gd name="connsiteX13" fmla="*/ 6283 w 10000"/>
                  <a:gd name="connsiteY13" fmla="*/ 2449 h 10100"/>
                  <a:gd name="connsiteX14" fmla="*/ 5773 w 10000"/>
                  <a:gd name="connsiteY14" fmla="*/ 3230 h 10100"/>
                  <a:gd name="connsiteX15" fmla="*/ 6013 w 10000"/>
                  <a:gd name="connsiteY15" fmla="*/ 1862 h 10100"/>
                  <a:gd name="connsiteX16" fmla="*/ 6028 w 10000"/>
                  <a:gd name="connsiteY16" fmla="*/ 1615 h 10100"/>
                  <a:gd name="connsiteX17" fmla="*/ 6088 w 10000"/>
                  <a:gd name="connsiteY17" fmla="*/ 1303 h 10100"/>
                  <a:gd name="connsiteX18" fmla="*/ 6117 w 10000"/>
                  <a:gd name="connsiteY18" fmla="*/ 1185 h 10100"/>
                  <a:gd name="connsiteX19" fmla="*/ 6103 w 10000"/>
                  <a:gd name="connsiteY19" fmla="*/ 1055 h 10100"/>
                  <a:gd name="connsiteX20" fmla="*/ 6103 w 10000"/>
                  <a:gd name="connsiteY20" fmla="*/ 951 h 10100"/>
                  <a:gd name="connsiteX21" fmla="*/ 6103 w 10000"/>
                  <a:gd name="connsiteY21" fmla="*/ 859 h 10100"/>
                  <a:gd name="connsiteX22" fmla="*/ 6103 w 10000"/>
                  <a:gd name="connsiteY22" fmla="*/ 846 h 10100"/>
                  <a:gd name="connsiteX23" fmla="*/ 6117 w 10000"/>
                  <a:gd name="connsiteY23" fmla="*/ 807 h 10100"/>
                  <a:gd name="connsiteX24" fmla="*/ 5758 w 10000"/>
                  <a:gd name="connsiteY24" fmla="*/ 755 h 10100"/>
                  <a:gd name="connsiteX25" fmla="*/ 5594 w 10000"/>
                  <a:gd name="connsiteY25" fmla="*/ 443 h 10100"/>
                  <a:gd name="connsiteX26" fmla="*/ 5488 w 10000"/>
                  <a:gd name="connsiteY26" fmla="*/ 339 h 10100"/>
                  <a:gd name="connsiteX27" fmla="*/ 5474 w 10000"/>
                  <a:gd name="connsiteY27" fmla="*/ 326 h 10100"/>
                  <a:gd name="connsiteX28" fmla="*/ 5053 w 10000"/>
                  <a:gd name="connsiteY28" fmla="*/ 417 h 10100"/>
                  <a:gd name="connsiteX29" fmla="*/ 4753 w 10000"/>
                  <a:gd name="connsiteY29" fmla="*/ 638 h 10100"/>
                  <a:gd name="connsiteX30" fmla="*/ 4679 w 10000"/>
                  <a:gd name="connsiteY30" fmla="*/ 912 h 10100"/>
                  <a:gd name="connsiteX31" fmla="*/ 4483 w 10000"/>
                  <a:gd name="connsiteY31" fmla="*/ 899 h 10100"/>
                  <a:gd name="connsiteX32" fmla="*/ 4319 w 10000"/>
                  <a:gd name="connsiteY32" fmla="*/ 1016 h 10100"/>
                  <a:gd name="connsiteX33" fmla="*/ 4094 w 10000"/>
                  <a:gd name="connsiteY33" fmla="*/ 1133 h 10100"/>
                  <a:gd name="connsiteX34" fmla="*/ 3644 w 10000"/>
                  <a:gd name="connsiteY34" fmla="*/ 1068 h 10100"/>
                  <a:gd name="connsiteX35" fmla="*/ 3119 w 10000"/>
                  <a:gd name="connsiteY35" fmla="*/ 1081 h 10100"/>
                  <a:gd name="connsiteX36" fmla="*/ 2789 w 10000"/>
                  <a:gd name="connsiteY36" fmla="*/ 1094 h 10100"/>
                  <a:gd name="connsiteX37" fmla="*/ 2114 w 10000"/>
                  <a:gd name="connsiteY37" fmla="*/ 1055 h 10100"/>
                  <a:gd name="connsiteX38" fmla="*/ 1305 w 10000"/>
                  <a:gd name="connsiteY38" fmla="*/ 1068 h 10100"/>
                  <a:gd name="connsiteX39" fmla="*/ 765 w 10000"/>
                  <a:gd name="connsiteY39" fmla="*/ 990 h 10100"/>
                  <a:gd name="connsiteX40" fmla="*/ 449 w 10000"/>
                  <a:gd name="connsiteY40" fmla="*/ 1003 h 10100"/>
                  <a:gd name="connsiteX41" fmla="*/ 810 w 10000"/>
                  <a:gd name="connsiteY41" fmla="*/ 1159 h 10100"/>
                  <a:gd name="connsiteX42" fmla="*/ 974 w 10000"/>
                  <a:gd name="connsiteY42" fmla="*/ 1420 h 10100"/>
                  <a:gd name="connsiteX43" fmla="*/ 959 w 10000"/>
                  <a:gd name="connsiteY43" fmla="*/ 2045 h 10100"/>
                  <a:gd name="connsiteX44" fmla="*/ 854 w 10000"/>
                  <a:gd name="connsiteY44" fmla="*/ 2188 h 10100"/>
                  <a:gd name="connsiteX45" fmla="*/ 375 w 10000"/>
                  <a:gd name="connsiteY45" fmla="*/ 1993 h 10100"/>
                  <a:gd name="connsiteX46" fmla="*/ 330 w 10000"/>
                  <a:gd name="connsiteY46" fmla="*/ 1915 h 10100"/>
                  <a:gd name="connsiteX47" fmla="*/ 270 w 10000"/>
                  <a:gd name="connsiteY47" fmla="*/ 1915 h 10100"/>
                  <a:gd name="connsiteX48" fmla="*/ 75 w 10000"/>
                  <a:gd name="connsiteY48" fmla="*/ 1862 h 10100"/>
                  <a:gd name="connsiteX49" fmla="*/ 0 w 10000"/>
                  <a:gd name="connsiteY49" fmla="*/ 2201 h 10100"/>
                  <a:gd name="connsiteX50" fmla="*/ 165 w 10000"/>
                  <a:gd name="connsiteY50" fmla="*/ 2227 h 10100"/>
                  <a:gd name="connsiteX51" fmla="*/ 600 w 10000"/>
                  <a:gd name="connsiteY51" fmla="*/ 2462 h 10100"/>
                  <a:gd name="connsiteX52" fmla="*/ 2234 w 10000"/>
                  <a:gd name="connsiteY52" fmla="*/ 2683 h 10100"/>
                  <a:gd name="connsiteX53" fmla="*/ 2744 w 10000"/>
                  <a:gd name="connsiteY53" fmla="*/ 2709 h 10100"/>
                  <a:gd name="connsiteX54" fmla="*/ 3569 w 10000"/>
                  <a:gd name="connsiteY54" fmla="*/ 2578 h 10100"/>
                  <a:gd name="connsiteX55" fmla="*/ 4019 w 10000"/>
                  <a:gd name="connsiteY55" fmla="*/ 2592 h 10100"/>
                  <a:gd name="connsiteX56" fmla="*/ 4454 w 10000"/>
                  <a:gd name="connsiteY56" fmla="*/ 2565 h 10100"/>
                  <a:gd name="connsiteX57" fmla="*/ 4289 w 10000"/>
                  <a:gd name="connsiteY57" fmla="*/ 2983 h 10100"/>
                  <a:gd name="connsiteX58" fmla="*/ 3929 w 10000"/>
                  <a:gd name="connsiteY58" fmla="*/ 4051 h 10100"/>
                  <a:gd name="connsiteX59" fmla="*/ 3839 w 10000"/>
                  <a:gd name="connsiteY59" fmla="*/ 4442 h 10100"/>
                  <a:gd name="connsiteX60" fmla="*/ 4094 w 10000"/>
                  <a:gd name="connsiteY60" fmla="*/ 4416 h 10100"/>
                  <a:gd name="connsiteX61" fmla="*/ 5578 w 10000"/>
                  <a:gd name="connsiteY61" fmla="*/ 4312 h 10100"/>
                  <a:gd name="connsiteX62" fmla="*/ 6523 w 10000"/>
                  <a:gd name="connsiteY62" fmla="*/ 4663 h 10100"/>
                  <a:gd name="connsiteX63" fmla="*/ 7468 w 10000"/>
                  <a:gd name="connsiteY63" fmla="*/ 4897 h 10100"/>
                  <a:gd name="connsiteX64" fmla="*/ 7108 w 10000"/>
                  <a:gd name="connsiteY64" fmla="*/ 5041 h 10100"/>
                  <a:gd name="connsiteX65" fmla="*/ 5743 w 10000"/>
                  <a:gd name="connsiteY65" fmla="*/ 5197 h 10100"/>
                  <a:gd name="connsiteX66" fmla="*/ 5188 w 10000"/>
                  <a:gd name="connsiteY66" fmla="*/ 5158 h 10100"/>
                  <a:gd name="connsiteX67" fmla="*/ 5308 w 10000"/>
                  <a:gd name="connsiteY67" fmla="*/ 5861 h 10100"/>
                  <a:gd name="connsiteX68" fmla="*/ 5233 w 10000"/>
                  <a:gd name="connsiteY68" fmla="*/ 6057 h 10100"/>
                  <a:gd name="connsiteX69" fmla="*/ 4648 w 10000"/>
                  <a:gd name="connsiteY69" fmla="*/ 6017 h 10100"/>
                  <a:gd name="connsiteX70" fmla="*/ 4334 w 10000"/>
                  <a:gd name="connsiteY70" fmla="*/ 6030 h 10100"/>
                  <a:gd name="connsiteX71" fmla="*/ 3868 w 10000"/>
                  <a:gd name="connsiteY71" fmla="*/ 5809 h 10100"/>
                  <a:gd name="connsiteX72" fmla="*/ 3613 w 10000"/>
                  <a:gd name="connsiteY72" fmla="*/ 5665 h 10100"/>
                  <a:gd name="connsiteX73" fmla="*/ 3613 w 10000"/>
                  <a:gd name="connsiteY73" fmla="*/ 5705 h 10100"/>
                  <a:gd name="connsiteX74" fmla="*/ 3299 w 10000"/>
                  <a:gd name="connsiteY74" fmla="*/ 7789 h 10100"/>
                  <a:gd name="connsiteX75" fmla="*/ 3284 w 10000"/>
                  <a:gd name="connsiteY75" fmla="*/ 8375 h 10100"/>
                  <a:gd name="connsiteX76" fmla="*/ 3464 w 10000"/>
                  <a:gd name="connsiteY76" fmla="*/ 8219 h 10100"/>
                  <a:gd name="connsiteX77" fmla="*/ 3988 w 10000"/>
                  <a:gd name="connsiteY77" fmla="*/ 8036 h 10100"/>
                  <a:gd name="connsiteX78" fmla="*/ 4049 w 10000"/>
                  <a:gd name="connsiteY78" fmla="*/ 7789 h 10100"/>
                  <a:gd name="connsiteX79" fmla="*/ 4378 w 10000"/>
                  <a:gd name="connsiteY79" fmla="*/ 8049 h 10100"/>
                  <a:gd name="connsiteX80" fmla="*/ 4544 w 10000"/>
                  <a:gd name="connsiteY80" fmla="*/ 7281 h 10100"/>
                  <a:gd name="connsiteX81" fmla="*/ 4814 w 10000"/>
                  <a:gd name="connsiteY81" fmla="*/ 6720 h 10100"/>
                  <a:gd name="connsiteX82" fmla="*/ 4873 w 10000"/>
                  <a:gd name="connsiteY82" fmla="*/ 6786 h 10100"/>
                  <a:gd name="connsiteX83" fmla="*/ 4902 w 10000"/>
                  <a:gd name="connsiteY83" fmla="*/ 7638 h 10100"/>
                  <a:gd name="connsiteX84" fmla="*/ 4935 w 10000"/>
                  <a:gd name="connsiteY84" fmla="*/ 8047 h 10100"/>
                  <a:gd name="connsiteX85" fmla="*/ 5209 w 10000"/>
                  <a:gd name="connsiteY85" fmla="*/ 9542 h 10100"/>
                  <a:gd name="connsiteX86" fmla="*/ 5797 w 10000"/>
                  <a:gd name="connsiteY86" fmla="*/ 10083 h 10100"/>
                  <a:gd name="connsiteX87" fmla="*/ 8667 w 10000"/>
                  <a:gd name="connsiteY87" fmla="*/ 9820 h 10100"/>
                  <a:gd name="connsiteX88" fmla="*/ 9087 w 10000"/>
                  <a:gd name="connsiteY88" fmla="*/ 9664 h 10100"/>
                  <a:gd name="connsiteX89" fmla="*/ 9027 w 10000"/>
                  <a:gd name="connsiteY89" fmla="*/ 8154 h 10100"/>
                  <a:gd name="connsiteX90" fmla="*/ 8907 w 10000"/>
                  <a:gd name="connsiteY90" fmla="*/ 6929 h 10100"/>
                  <a:gd name="connsiteX91" fmla="*/ 8952 w 10000"/>
                  <a:gd name="connsiteY91" fmla="*/ 6083 h 10100"/>
                  <a:gd name="connsiteX92" fmla="*/ 9072 w 10000"/>
                  <a:gd name="connsiteY92" fmla="*/ 5380 h 10100"/>
                  <a:gd name="connsiteX93" fmla="*/ 9102 w 10000"/>
                  <a:gd name="connsiteY93" fmla="*/ 5132 h 10100"/>
                  <a:gd name="connsiteX94" fmla="*/ 9432 w 10000"/>
                  <a:gd name="connsiteY94" fmla="*/ 4429 h 10100"/>
                  <a:gd name="connsiteX95" fmla="*/ 9747 w 10000"/>
                  <a:gd name="connsiteY95" fmla="*/ 3465 h 10100"/>
                  <a:gd name="connsiteX96" fmla="*/ 9972 w 10000"/>
                  <a:gd name="connsiteY96" fmla="*/ 2410 h 10100"/>
                  <a:gd name="connsiteX97" fmla="*/ 9717 w 10000"/>
                  <a:gd name="connsiteY97" fmla="*/ 1510 h 10100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902 w 10000"/>
                  <a:gd name="connsiteY83" fmla="*/ 7638 h 10125"/>
                  <a:gd name="connsiteX84" fmla="*/ 4935 w 10000"/>
                  <a:gd name="connsiteY84" fmla="*/ 8047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902 w 10000"/>
                  <a:gd name="connsiteY83" fmla="*/ 7638 h 10125"/>
                  <a:gd name="connsiteX84" fmla="*/ 4917 w 10000"/>
                  <a:gd name="connsiteY84" fmla="*/ 8190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829 w 10000"/>
                  <a:gd name="connsiteY83" fmla="*/ 7638 h 10125"/>
                  <a:gd name="connsiteX84" fmla="*/ 4917 w 10000"/>
                  <a:gd name="connsiteY84" fmla="*/ 8190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4"/>
                  <a:gd name="connsiteX1" fmla="*/ 8997 w 10000"/>
                  <a:gd name="connsiteY1" fmla="*/ 899 h 10124"/>
                  <a:gd name="connsiteX2" fmla="*/ 8488 w 10000"/>
                  <a:gd name="connsiteY2" fmla="*/ 573 h 10124"/>
                  <a:gd name="connsiteX3" fmla="*/ 8427 w 10000"/>
                  <a:gd name="connsiteY3" fmla="*/ 482 h 10124"/>
                  <a:gd name="connsiteX4" fmla="*/ 8217 w 10000"/>
                  <a:gd name="connsiteY4" fmla="*/ 130 h 10124"/>
                  <a:gd name="connsiteX5" fmla="*/ 7873 w 10000"/>
                  <a:gd name="connsiteY5" fmla="*/ 0 h 10124"/>
                  <a:gd name="connsiteX6" fmla="*/ 7827 w 10000"/>
                  <a:gd name="connsiteY6" fmla="*/ 13 h 10124"/>
                  <a:gd name="connsiteX7" fmla="*/ 7978 w 10000"/>
                  <a:gd name="connsiteY7" fmla="*/ 274 h 10124"/>
                  <a:gd name="connsiteX8" fmla="*/ 7542 w 10000"/>
                  <a:gd name="connsiteY8" fmla="*/ 755 h 10124"/>
                  <a:gd name="connsiteX9" fmla="*/ 7032 w 10000"/>
                  <a:gd name="connsiteY9" fmla="*/ 1433 h 10124"/>
                  <a:gd name="connsiteX10" fmla="*/ 6958 w 10000"/>
                  <a:gd name="connsiteY10" fmla="*/ 1523 h 10124"/>
                  <a:gd name="connsiteX11" fmla="*/ 6598 w 10000"/>
                  <a:gd name="connsiteY11" fmla="*/ 2045 h 10124"/>
                  <a:gd name="connsiteX12" fmla="*/ 6388 w 10000"/>
                  <a:gd name="connsiteY12" fmla="*/ 2319 h 10124"/>
                  <a:gd name="connsiteX13" fmla="*/ 6283 w 10000"/>
                  <a:gd name="connsiteY13" fmla="*/ 2449 h 10124"/>
                  <a:gd name="connsiteX14" fmla="*/ 5773 w 10000"/>
                  <a:gd name="connsiteY14" fmla="*/ 3230 h 10124"/>
                  <a:gd name="connsiteX15" fmla="*/ 6013 w 10000"/>
                  <a:gd name="connsiteY15" fmla="*/ 1862 h 10124"/>
                  <a:gd name="connsiteX16" fmla="*/ 6028 w 10000"/>
                  <a:gd name="connsiteY16" fmla="*/ 1615 h 10124"/>
                  <a:gd name="connsiteX17" fmla="*/ 6088 w 10000"/>
                  <a:gd name="connsiteY17" fmla="*/ 1303 h 10124"/>
                  <a:gd name="connsiteX18" fmla="*/ 6117 w 10000"/>
                  <a:gd name="connsiteY18" fmla="*/ 1185 h 10124"/>
                  <a:gd name="connsiteX19" fmla="*/ 6103 w 10000"/>
                  <a:gd name="connsiteY19" fmla="*/ 1055 h 10124"/>
                  <a:gd name="connsiteX20" fmla="*/ 6103 w 10000"/>
                  <a:gd name="connsiteY20" fmla="*/ 951 h 10124"/>
                  <a:gd name="connsiteX21" fmla="*/ 6103 w 10000"/>
                  <a:gd name="connsiteY21" fmla="*/ 859 h 10124"/>
                  <a:gd name="connsiteX22" fmla="*/ 6103 w 10000"/>
                  <a:gd name="connsiteY22" fmla="*/ 846 h 10124"/>
                  <a:gd name="connsiteX23" fmla="*/ 6117 w 10000"/>
                  <a:gd name="connsiteY23" fmla="*/ 807 h 10124"/>
                  <a:gd name="connsiteX24" fmla="*/ 5758 w 10000"/>
                  <a:gd name="connsiteY24" fmla="*/ 755 h 10124"/>
                  <a:gd name="connsiteX25" fmla="*/ 5594 w 10000"/>
                  <a:gd name="connsiteY25" fmla="*/ 443 h 10124"/>
                  <a:gd name="connsiteX26" fmla="*/ 5488 w 10000"/>
                  <a:gd name="connsiteY26" fmla="*/ 339 h 10124"/>
                  <a:gd name="connsiteX27" fmla="*/ 5474 w 10000"/>
                  <a:gd name="connsiteY27" fmla="*/ 326 h 10124"/>
                  <a:gd name="connsiteX28" fmla="*/ 5053 w 10000"/>
                  <a:gd name="connsiteY28" fmla="*/ 417 h 10124"/>
                  <a:gd name="connsiteX29" fmla="*/ 4753 w 10000"/>
                  <a:gd name="connsiteY29" fmla="*/ 638 h 10124"/>
                  <a:gd name="connsiteX30" fmla="*/ 4679 w 10000"/>
                  <a:gd name="connsiteY30" fmla="*/ 912 h 10124"/>
                  <a:gd name="connsiteX31" fmla="*/ 4483 w 10000"/>
                  <a:gd name="connsiteY31" fmla="*/ 899 h 10124"/>
                  <a:gd name="connsiteX32" fmla="*/ 4319 w 10000"/>
                  <a:gd name="connsiteY32" fmla="*/ 1016 h 10124"/>
                  <a:gd name="connsiteX33" fmla="*/ 4094 w 10000"/>
                  <a:gd name="connsiteY33" fmla="*/ 1133 h 10124"/>
                  <a:gd name="connsiteX34" fmla="*/ 3644 w 10000"/>
                  <a:gd name="connsiteY34" fmla="*/ 1068 h 10124"/>
                  <a:gd name="connsiteX35" fmla="*/ 3119 w 10000"/>
                  <a:gd name="connsiteY35" fmla="*/ 1081 h 10124"/>
                  <a:gd name="connsiteX36" fmla="*/ 2789 w 10000"/>
                  <a:gd name="connsiteY36" fmla="*/ 1094 h 10124"/>
                  <a:gd name="connsiteX37" fmla="*/ 2114 w 10000"/>
                  <a:gd name="connsiteY37" fmla="*/ 1055 h 10124"/>
                  <a:gd name="connsiteX38" fmla="*/ 1305 w 10000"/>
                  <a:gd name="connsiteY38" fmla="*/ 1068 h 10124"/>
                  <a:gd name="connsiteX39" fmla="*/ 765 w 10000"/>
                  <a:gd name="connsiteY39" fmla="*/ 990 h 10124"/>
                  <a:gd name="connsiteX40" fmla="*/ 449 w 10000"/>
                  <a:gd name="connsiteY40" fmla="*/ 1003 h 10124"/>
                  <a:gd name="connsiteX41" fmla="*/ 810 w 10000"/>
                  <a:gd name="connsiteY41" fmla="*/ 1159 h 10124"/>
                  <a:gd name="connsiteX42" fmla="*/ 974 w 10000"/>
                  <a:gd name="connsiteY42" fmla="*/ 1420 h 10124"/>
                  <a:gd name="connsiteX43" fmla="*/ 959 w 10000"/>
                  <a:gd name="connsiteY43" fmla="*/ 2045 h 10124"/>
                  <a:gd name="connsiteX44" fmla="*/ 854 w 10000"/>
                  <a:gd name="connsiteY44" fmla="*/ 2188 h 10124"/>
                  <a:gd name="connsiteX45" fmla="*/ 375 w 10000"/>
                  <a:gd name="connsiteY45" fmla="*/ 1993 h 10124"/>
                  <a:gd name="connsiteX46" fmla="*/ 330 w 10000"/>
                  <a:gd name="connsiteY46" fmla="*/ 1915 h 10124"/>
                  <a:gd name="connsiteX47" fmla="*/ 270 w 10000"/>
                  <a:gd name="connsiteY47" fmla="*/ 1915 h 10124"/>
                  <a:gd name="connsiteX48" fmla="*/ 75 w 10000"/>
                  <a:gd name="connsiteY48" fmla="*/ 1862 h 10124"/>
                  <a:gd name="connsiteX49" fmla="*/ 0 w 10000"/>
                  <a:gd name="connsiteY49" fmla="*/ 2201 h 10124"/>
                  <a:gd name="connsiteX50" fmla="*/ 165 w 10000"/>
                  <a:gd name="connsiteY50" fmla="*/ 2227 h 10124"/>
                  <a:gd name="connsiteX51" fmla="*/ 600 w 10000"/>
                  <a:gd name="connsiteY51" fmla="*/ 2462 h 10124"/>
                  <a:gd name="connsiteX52" fmla="*/ 2234 w 10000"/>
                  <a:gd name="connsiteY52" fmla="*/ 2683 h 10124"/>
                  <a:gd name="connsiteX53" fmla="*/ 2744 w 10000"/>
                  <a:gd name="connsiteY53" fmla="*/ 2709 h 10124"/>
                  <a:gd name="connsiteX54" fmla="*/ 3569 w 10000"/>
                  <a:gd name="connsiteY54" fmla="*/ 2578 h 10124"/>
                  <a:gd name="connsiteX55" fmla="*/ 4019 w 10000"/>
                  <a:gd name="connsiteY55" fmla="*/ 2592 h 10124"/>
                  <a:gd name="connsiteX56" fmla="*/ 4454 w 10000"/>
                  <a:gd name="connsiteY56" fmla="*/ 2565 h 10124"/>
                  <a:gd name="connsiteX57" fmla="*/ 4289 w 10000"/>
                  <a:gd name="connsiteY57" fmla="*/ 2983 h 10124"/>
                  <a:gd name="connsiteX58" fmla="*/ 3929 w 10000"/>
                  <a:gd name="connsiteY58" fmla="*/ 4051 h 10124"/>
                  <a:gd name="connsiteX59" fmla="*/ 3839 w 10000"/>
                  <a:gd name="connsiteY59" fmla="*/ 4442 h 10124"/>
                  <a:gd name="connsiteX60" fmla="*/ 4094 w 10000"/>
                  <a:gd name="connsiteY60" fmla="*/ 4416 h 10124"/>
                  <a:gd name="connsiteX61" fmla="*/ 5578 w 10000"/>
                  <a:gd name="connsiteY61" fmla="*/ 4312 h 10124"/>
                  <a:gd name="connsiteX62" fmla="*/ 6523 w 10000"/>
                  <a:gd name="connsiteY62" fmla="*/ 4663 h 10124"/>
                  <a:gd name="connsiteX63" fmla="*/ 7468 w 10000"/>
                  <a:gd name="connsiteY63" fmla="*/ 4897 h 10124"/>
                  <a:gd name="connsiteX64" fmla="*/ 7108 w 10000"/>
                  <a:gd name="connsiteY64" fmla="*/ 5041 h 10124"/>
                  <a:gd name="connsiteX65" fmla="*/ 5743 w 10000"/>
                  <a:gd name="connsiteY65" fmla="*/ 5197 h 10124"/>
                  <a:gd name="connsiteX66" fmla="*/ 5188 w 10000"/>
                  <a:gd name="connsiteY66" fmla="*/ 5158 h 10124"/>
                  <a:gd name="connsiteX67" fmla="*/ 5308 w 10000"/>
                  <a:gd name="connsiteY67" fmla="*/ 5861 h 10124"/>
                  <a:gd name="connsiteX68" fmla="*/ 5233 w 10000"/>
                  <a:gd name="connsiteY68" fmla="*/ 6057 h 10124"/>
                  <a:gd name="connsiteX69" fmla="*/ 4648 w 10000"/>
                  <a:gd name="connsiteY69" fmla="*/ 6017 h 10124"/>
                  <a:gd name="connsiteX70" fmla="*/ 4334 w 10000"/>
                  <a:gd name="connsiteY70" fmla="*/ 6030 h 10124"/>
                  <a:gd name="connsiteX71" fmla="*/ 3868 w 10000"/>
                  <a:gd name="connsiteY71" fmla="*/ 5809 h 10124"/>
                  <a:gd name="connsiteX72" fmla="*/ 3613 w 10000"/>
                  <a:gd name="connsiteY72" fmla="*/ 5665 h 10124"/>
                  <a:gd name="connsiteX73" fmla="*/ 3613 w 10000"/>
                  <a:gd name="connsiteY73" fmla="*/ 5705 h 10124"/>
                  <a:gd name="connsiteX74" fmla="*/ 3299 w 10000"/>
                  <a:gd name="connsiteY74" fmla="*/ 7789 h 10124"/>
                  <a:gd name="connsiteX75" fmla="*/ 3284 w 10000"/>
                  <a:gd name="connsiteY75" fmla="*/ 8375 h 10124"/>
                  <a:gd name="connsiteX76" fmla="*/ 3464 w 10000"/>
                  <a:gd name="connsiteY76" fmla="*/ 8219 h 10124"/>
                  <a:gd name="connsiteX77" fmla="*/ 3988 w 10000"/>
                  <a:gd name="connsiteY77" fmla="*/ 8036 h 10124"/>
                  <a:gd name="connsiteX78" fmla="*/ 4049 w 10000"/>
                  <a:gd name="connsiteY78" fmla="*/ 7789 h 10124"/>
                  <a:gd name="connsiteX79" fmla="*/ 4378 w 10000"/>
                  <a:gd name="connsiteY79" fmla="*/ 8049 h 10124"/>
                  <a:gd name="connsiteX80" fmla="*/ 4544 w 10000"/>
                  <a:gd name="connsiteY80" fmla="*/ 7281 h 10124"/>
                  <a:gd name="connsiteX81" fmla="*/ 4814 w 10000"/>
                  <a:gd name="connsiteY81" fmla="*/ 6720 h 10124"/>
                  <a:gd name="connsiteX82" fmla="*/ 4873 w 10000"/>
                  <a:gd name="connsiteY82" fmla="*/ 6786 h 10124"/>
                  <a:gd name="connsiteX83" fmla="*/ 4829 w 10000"/>
                  <a:gd name="connsiteY83" fmla="*/ 7638 h 10124"/>
                  <a:gd name="connsiteX84" fmla="*/ 4917 w 10000"/>
                  <a:gd name="connsiteY84" fmla="*/ 8190 h 10124"/>
                  <a:gd name="connsiteX85" fmla="*/ 5154 w 10000"/>
                  <a:gd name="connsiteY85" fmla="*/ 9558 h 10124"/>
                  <a:gd name="connsiteX86" fmla="*/ 5797 w 10000"/>
                  <a:gd name="connsiteY86" fmla="*/ 10083 h 10124"/>
                  <a:gd name="connsiteX87" fmla="*/ 8594 w 10000"/>
                  <a:gd name="connsiteY87" fmla="*/ 9905 h 10124"/>
                  <a:gd name="connsiteX88" fmla="*/ 9087 w 10000"/>
                  <a:gd name="connsiteY88" fmla="*/ 9664 h 10124"/>
                  <a:gd name="connsiteX89" fmla="*/ 9027 w 10000"/>
                  <a:gd name="connsiteY89" fmla="*/ 8154 h 10124"/>
                  <a:gd name="connsiteX90" fmla="*/ 8907 w 10000"/>
                  <a:gd name="connsiteY90" fmla="*/ 6929 h 10124"/>
                  <a:gd name="connsiteX91" fmla="*/ 8952 w 10000"/>
                  <a:gd name="connsiteY91" fmla="*/ 6083 h 10124"/>
                  <a:gd name="connsiteX92" fmla="*/ 9072 w 10000"/>
                  <a:gd name="connsiteY92" fmla="*/ 5380 h 10124"/>
                  <a:gd name="connsiteX93" fmla="*/ 9102 w 10000"/>
                  <a:gd name="connsiteY93" fmla="*/ 5132 h 10124"/>
                  <a:gd name="connsiteX94" fmla="*/ 9432 w 10000"/>
                  <a:gd name="connsiteY94" fmla="*/ 4429 h 10124"/>
                  <a:gd name="connsiteX95" fmla="*/ 9747 w 10000"/>
                  <a:gd name="connsiteY95" fmla="*/ 3465 h 10124"/>
                  <a:gd name="connsiteX96" fmla="*/ 9972 w 10000"/>
                  <a:gd name="connsiteY96" fmla="*/ 2410 h 10124"/>
                  <a:gd name="connsiteX97" fmla="*/ 9717 w 10000"/>
                  <a:gd name="connsiteY97" fmla="*/ 1510 h 10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10000" h="10124">
                    <a:moveTo>
                      <a:pt x="9717" y="1510"/>
                    </a:moveTo>
                    <a:cubicBezTo>
                      <a:pt x="9567" y="1290"/>
                      <a:pt x="9222" y="1068"/>
                      <a:pt x="8997" y="899"/>
                    </a:cubicBezTo>
                    <a:cubicBezTo>
                      <a:pt x="8772" y="729"/>
                      <a:pt x="8547" y="638"/>
                      <a:pt x="8488" y="573"/>
                    </a:cubicBezTo>
                    <a:cubicBezTo>
                      <a:pt x="8427" y="507"/>
                      <a:pt x="8427" y="482"/>
                      <a:pt x="8427" y="482"/>
                    </a:cubicBezTo>
                    <a:cubicBezTo>
                      <a:pt x="8292" y="404"/>
                      <a:pt x="8217" y="169"/>
                      <a:pt x="8217" y="130"/>
                    </a:cubicBezTo>
                    <a:cubicBezTo>
                      <a:pt x="8217" y="104"/>
                      <a:pt x="7963" y="13"/>
                      <a:pt x="7873" y="0"/>
                    </a:cubicBezTo>
                    <a:cubicBezTo>
                      <a:pt x="7843" y="0"/>
                      <a:pt x="7812" y="0"/>
                      <a:pt x="7827" y="13"/>
                    </a:cubicBezTo>
                    <a:cubicBezTo>
                      <a:pt x="7843" y="78"/>
                      <a:pt x="7978" y="274"/>
                      <a:pt x="7978" y="274"/>
                    </a:cubicBezTo>
                    <a:lnTo>
                      <a:pt x="7542" y="755"/>
                    </a:lnTo>
                    <a:cubicBezTo>
                      <a:pt x="7438" y="873"/>
                      <a:pt x="7228" y="1159"/>
                      <a:pt x="7032" y="1433"/>
                    </a:cubicBezTo>
                    <a:cubicBezTo>
                      <a:pt x="7002" y="1459"/>
                      <a:pt x="6988" y="1485"/>
                      <a:pt x="6958" y="1523"/>
                    </a:cubicBezTo>
                    <a:cubicBezTo>
                      <a:pt x="6762" y="1797"/>
                      <a:pt x="6598" y="2045"/>
                      <a:pt x="6598" y="2045"/>
                    </a:cubicBezTo>
                    <a:cubicBezTo>
                      <a:pt x="6523" y="2136"/>
                      <a:pt x="6448" y="2227"/>
                      <a:pt x="6388" y="2319"/>
                    </a:cubicBezTo>
                    <a:cubicBezTo>
                      <a:pt x="6358" y="2358"/>
                      <a:pt x="6313" y="2410"/>
                      <a:pt x="6283" y="2449"/>
                    </a:cubicBezTo>
                    <a:cubicBezTo>
                      <a:pt x="5983" y="2865"/>
                      <a:pt x="5773" y="3230"/>
                      <a:pt x="5773" y="3230"/>
                    </a:cubicBezTo>
                    <a:cubicBezTo>
                      <a:pt x="5848" y="3035"/>
                      <a:pt x="5983" y="2019"/>
                      <a:pt x="6013" y="1862"/>
                    </a:cubicBezTo>
                    <a:cubicBezTo>
                      <a:pt x="6013" y="1797"/>
                      <a:pt x="6028" y="1706"/>
                      <a:pt x="6028" y="1615"/>
                    </a:cubicBezTo>
                    <a:cubicBezTo>
                      <a:pt x="6043" y="1510"/>
                      <a:pt x="6043" y="1394"/>
                      <a:pt x="6088" y="1303"/>
                    </a:cubicBezTo>
                    <a:cubicBezTo>
                      <a:pt x="6103" y="1251"/>
                      <a:pt x="6117" y="1212"/>
                      <a:pt x="6117" y="1185"/>
                    </a:cubicBezTo>
                    <a:cubicBezTo>
                      <a:pt x="6117" y="1172"/>
                      <a:pt x="6117" y="1107"/>
                      <a:pt x="6103" y="1055"/>
                    </a:cubicBezTo>
                    <a:lnTo>
                      <a:pt x="6103" y="951"/>
                    </a:lnTo>
                    <a:lnTo>
                      <a:pt x="6103" y="859"/>
                    </a:lnTo>
                    <a:lnTo>
                      <a:pt x="6103" y="846"/>
                    </a:lnTo>
                    <a:cubicBezTo>
                      <a:pt x="6103" y="820"/>
                      <a:pt x="6117" y="807"/>
                      <a:pt x="6117" y="807"/>
                    </a:cubicBezTo>
                    <a:cubicBezTo>
                      <a:pt x="5968" y="781"/>
                      <a:pt x="5758" y="755"/>
                      <a:pt x="5758" y="755"/>
                    </a:cubicBezTo>
                    <a:cubicBezTo>
                      <a:pt x="5594" y="755"/>
                      <a:pt x="5594" y="443"/>
                      <a:pt x="5594" y="443"/>
                    </a:cubicBezTo>
                    <a:cubicBezTo>
                      <a:pt x="5503" y="430"/>
                      <a:pt x="5503" y="352"/>
                      <a:pt x="5488" y="339"/>
                    </a:cubicBezTo>
                    <a:cubicBezTo>
                      <a:pt x="5483" y="335"/>
                      <a:pt x="5479" y="330"/>
                      <a:pt x="5474" y="326"/>
                    </a:cubicBezTo>
                    <a:cubicBezTo>
                      <a:pt x="5428" y="326"/>
                      <a:pt x="5233" y="378"/>
                      <a:pt x="5053" y="417"/>
                    </a:cubicBezTo>
                    <a:cubicBezTo>
                      <a:pt x="4873" y="456"/>
                      <a:pt x="4858" y="495"/>
                      <a:pt x="4753" y="638"/>
                    </a:cubicBezTo>
                    <a:cubicBezTo>
                      <a:pt x="4648" y="781"/>
                      <a:pt x="4724" y="807"/>
                      <a:pt x="4679" y="912"/>
                    </a:cubicBezTo>
                    <a:cubicBezTo>
                      <a:pt x="4633" y="1016"/>
                      <a:pt x="4483" y="899"/>
                      <a:pt x="4483" y="899"/>
                    </a:cubicBezTo>
                    <a:cubicBezTo>
                      <a:pt x="4483" y="899"/>
                      <a:pt x="4319" y="951"/>
                      <a:pt x="4319" y="1016"/>
                    </a:cubicBezTo>
                    <a:cubicBezTo>
                      <a:pt x="4319" y="1081"/>
                      <a:pt x="4243" y="1159"/>
                      <a:pt x="4094" y="1133"/>
                    </a:cubicBezTo>
                    <a:cubicBezTo>
                      <a:pt x="3944" y="1107"/>
                      <a:pt x="3899" y="1068"/>
                      <a:pt x="3644" y="1068"/>
                    </a:cubicBezTo>
                    <a:cubicBezTo>
                      <a:pt x="3389" y="1068"/>
                      <a:pt x="3269" y="1081"/>
                      <a:pt x="3119" y="1081"/>
                    </a:cubicBezTo>
                    <a:cubicBezTo>
                      <a:pt x="2969" y="1081"/>
                      <a:pt x="2939" y="1133"/>
                      <a:pt x="2789" y="1094"/>
                    </a:cubicBezTo>
                    <a:cubicBezTo>
                      <a:pt x="2639" y="1055"/>
                      <a:pt x="2445" y="1029"/>
                      <a:pt x="2114" y="1055"/>
                    </a:cubicBezTo>
                    <a:cubicBezTo>
                      <a:pt x="1785" y="1081"/>
                      <a:pt x="1454" y="1042"/>
                      <a:pt x="1305" y="1068"/>
                    </a:cubicBezTo>
                    <a:cubicBezTo>
                      <a:pt x="1155" y="1094"/>
                      <a:pt x="1005" y="1029"/>
                      <a:pt x="765" y="990"/>
                    </a:cubicBezTo>
                    <a:cubicBezTo>
                      <a:pt x="600" y="964"/>
                      <a:pt x="495" y="990"/>
                      <a:pt x="449" y="1003"/>
                    </a:cubicBezTo>
                    <a:cubicBezTo>
                      <a:pt x="555" y="1016"/>
                      <a:pt x="704" y="1042"/>
                      <a:pt x="810" y="1159"/>
                    </a:cubicBezTo>
                    <a:cubicBezTo>
                      <a:pt x="810" y="1159"/>
                      <a:pt x="959" y="1316"/>
                      <a:pt x="974" y="1420"/>
                    </a:cubicBezTo>
                    <a:cubicBezTo>
                      <a:pt x="1005" y="1523"/>
                      <a:pt x="990" y="1954"/>
                      <a:pt x="959" y="2045"/>
                    </a:cubicBezTo>
                    <a:cubicBezTo>
                      <a:pt x="930" y="2123"/>
                      <a:pt x="854" y="2188"/>
                      <a:pt x="854" y="2188"/>
                    </a:cubicBezTo>
                    <a:cubicBezTo>
                      <a:pt x="854" y="2188"/>
                      <a:pt x="405" y="2032"/>
                      <a:pt x="375" y="1993"/>
                    </a:cubicBezTo>
                    <a:cubicBezTo>
                      <a:pt x="345" y="1980"/>
                      <a:pt x="330" y="1941"/>
                      <a:pt x="330" y="1915"/>
                    </a:cubicBezTo>
                    <a:lnTo>
                      <a:pt x="270" y="1915"/>
                    </a:lnTo>
                    <a:lnTo>
                      <a:pt x="75" y="1862"/>
                    </a:lnTo>
                    <a:lnTo>
                      <a:pt x="0" y="2201"/>
                    </a:lnTo>
                    <a:lnTo>
                      <a:pt x="165" y="2227"/>
                    </a:lnTo>
                    <a:cubicBezTo>
                      <a:pt x="225" y="2358"/>
                      <a:pt x="360" y="2462"/>
                      <a:pt x="600" y="2462"/>
                    </a:cubicBezTo>
                    <a:cubicBezTo>
                      <a:pt x="839" y="2462"/>
                      <a:pt x="2234" y="2683"/>
                      <a:pt x="2234" y="2683"/>
                    </a:cubicBezTo>
                    <a:cubicBezTo>
                      <a:pt x="2564" y="2865"/>
                      <a:pt x="2744" y="2709"/>
                      <a:pt x="2744" y="2709"/>
                    </a:cubicBezTo>
                    <a:cubicBezTo>
                      <a:pt x="2939" y="2578"/>
                      <a:pt x="3569" y="2578"/>
                      <a:pt x="3569" y="2578"/>
                    </a:cubicBezTo>
                    <a:lnTo>
                      <a:pt x="4019" y="2592"/>
                    </a:lnTo>
                    <a:cubicBezTo>
                      <a:pt x="4334" y="2501"/>
                      <a:pt x="4454" y="2565"/>
                      <a:pt x="4454" y="2565"/>
                    </a:cubicBezTo>
                    <a:cubicBezTo>
                      <a:pt x="4454" y="2565"/>
                      <a:pt x="4363" y="2904"/>
                      <a:pt x="4289" y="2983"/>
                    </a:cubicBezTo>
                    <a:cubicBezTo>
                      <a:pt x="4214" y="3061"/>
                      <a:pt x="3944" y="3959"/>
                      <a:pt x="3929" y="4051"/>
                    </a:cubicBezTo>
                    <a:cubicBezTo>
                      <a:pt x="3914" y="4077"/>
                      <a:pt x="3884" y="4233"/>
                      <a:pt x="3839" y="4442"/>
                    </a:cubicBezTo>
                    <a:cubicBezTo>
                      <a:pt x="3988" y="4429"/>
                      <a:pt x="4094" y="4416"/>
                      <a:pt x="4094" y="4416"/>
                    </a:cubicBezTo>
                    <a:cubicBezTo>
                      <a:pt x="4933" y="4312"/>
                      <a:pt x="5428" y="4312"/>
                      <a:pt x="5578" y="4312"/>
                    </a:cubicBezTo>
                    <a:cubicBezTo>
                      <a:pt x="5729" y="4312"/>
                      <a:pt x="6193" y="4545"/>
                      <a:pt x="6523" y="4663"/>
                    </a:cubicBezTo>
                    <a:cubicBezTo>
                      <a:pt x="6867" y="4780"/>
                      <a:pt x="7468" y="4897"/>
                      <a:pt x="7468" y="4897"/>
                    </a:cubicBezTo>
                    <a:cubicBezTo>
                      <a:pt x="7468" y="4897"/>
                      <a:pt x="7363" y="4962"/>
                      <a:pt x="7108" y="5041"/>
                    </a:cubicBezTo>
                    <a:cubicBezTo>
                      <a:pt x="6853" y="5132"/>
                      <a:pt x="5938" y="5197"/>
                      <a:pt x="5743" y="5197"/>
                    </a:cubicBezTo>
                    <a:cubicBezTo>
                      <a:pt x="5563" y="5197"/>
                      <a:pt x="5248" y="5158"/>
                      <a:pt x="5188" y="5158"/>
                    </a:cubicBezTo>
                    <a:cubicBezTo>
                      <a:pt x="5263" y="5223"/>
                      <a:pt x="5398" y="5406"/>
                      <a:pt x="5308" y="5861"/>
                    </a:cubicBezTo>
                    <a:cubicBezTo>
                      <a:pt x="5308" y="5861"/>
                      <a:pt x="5293" y="6030"/>
                      <a:pt x="5233" y="6057"/>
                    </a:cubicBezTo>
                    <a:cubicBezTo>
                      <a:pt x="5158" y="6070"/>
                      <a:pt x="4783" y="6044"/>
                      <a:pt x="4648" y="6017"/>
                    </a:cubicBezTo>
                    <a:cubicBezTo>
                      <a:pt x="4378" y="6057"/>
                      <a:pt x="4334" y="6030"/>
                      <a:pt x="4334" y="6030"/>
                    </a:cubicBezTo>
                    <a:cubicBezTo>
                      <a:pt x="4334" y="6030"/>
                      <a:pt x="4049" y="5913"/>
                      <a:pt x="3868" y="5809"/>
                    </a:cubicBezTo>
                    <a:cubicBezTo>
                      <a:pt x="3809" y="5770"/>
                      <a:pt x="3718" y="5718"/>
                      <a:pt x="3613" y="5665"/>
                    </a:cubicBezTo>
                    <a:lnTo>
                      <a:pt x="3613" y="5705"/>
                    </a:lnTo>
                    <a:cubicBezTo>
                      <a:pt x="3613" y="5835"/>
                      <a:pt x="3434" y="7229"/>
                      <a:pt x="3299" y="7789"/>
                    </a:cubicBezTo>
                    <a:cubicBezTo>
                      <a:pt x="3164" y="8349"/>
                      <a:pt x="3284" y="8375"/>
                      <a:pt x="3284" y="8375"/>
                    </a:cubicBezTo>
                    <a:cubicBezTo>
                      <a:pt x="3284" y="8375"/>
                      <a:pt x="3239" y="8245"/>
                      <a:pt x="3464" y="8219"/>
                    </a:cubicBezTo>
                    <a:cubicBezTo>
                      <a:pt x="3689" y="8193"/>
                      <a:pt x="3988" y="8167"/>
                      <a:pt x="3988" y="8036"/>
                    </a:cubicBezTo>
                    <a:cubicBezTo>
                      <a:pt x="3988" y="7906"/>
                      <a:pt x="3973" y="7789"/>
                      <a:pt x="4049" y="7789"/>
                    </a:cubicBezTo>
                    <a:cubicBezTo>
                      <a:pt x="4123" y="7789"/>
                      <a:pt x="4123" y="7997"/>
                      <a:pt x="4378" y="8049"/>
                    </a:cubicBezTo>
                    <a:cubicBezTo>
                      <a:pt x="4378" y="8049"/>
                      <a:pt x="4544" y="7385"/>
                      <a:pt x="4544" y="7281"/>
                    </a:cubicBezTo>
                    <a:cubicBezTo>
                      <a:pt x="4544" y="7177"/>
                      <a:pt x="4724" y="6734"/>
                      <a:pt x="4814" y="6720"/>
                    </a:cubicBezTo>
                    <a:cubicBezTo>
                      <a:pt x="4888" y="6707"/>
                      <a:pt x="4858" y="6633"/>
                      <a:pt x="4873" y="6786"/>
                    </a:cubicBezTo>
                    <a:cubicBezTo>
                      <a:pt x="4888" y="6938"/>
                      <a:pt x="4817" y="7476"/>
                      <a:pt x="4829" y="7638"/>
                    </a:cubicBezTo>
                    <a:cubicBezTo>
                      <a:pt x="4844" y="7825"/>
                      <a:pt x="4863" y="7870"/>
                      <a:pt x="4917" y="8190"/>
                    </a:cubicBezTo>
                    <a:cubicBezTo>
                      <a:pt x="4971" y="8510"/>
                      <a:pt x="5007" y="9243"/>
                      <a:pt x="5154" y="9558"/>
                    </a:cubicBezTo>
                    <a:cubicBezTo>
                      <a:pt x="5301" y="9874"/>
                      <a:pt x="5224" y="10025"/>
                      <a:pt x="5797" y="10083"/>
                    </a:cubicBezTo>
                    <a:cubicBezTo>
                      <a:pt x="6370" y="10141"/>
                      <a:pt x="7645" y="10180"/>
                      <a:pt x="8594" y="9905"/>
                    </a:cubicBezTo>
                    <a:cubicBezTo>
                      <a:pt x="9142" y="9835"/>
                      <a:pt x="9015" y="9956"/>
                      <a:pt x="9087" y="9664"/>
                    </a:cubicBezTo>
                    <a:cubicBezTo>
                      <a:pt x="9159" y="9372"/>
                      <a:pt x="9027" y="8154"/>
                      <a:pt x="9027" y="8154"/>
                    </a:cubicBezTo>
                    <a:cubicBezTo>
                      <a:pt x="9027" y="7671"/>
                      <a:pt x="8937" y="7020"/>
                      <a:pt x="8907" y="6929"/>
                    </a:cubicBezTo>
                    <a:cubicBezTo>
                      <a:pt x="8877" y="6838"/>
                      <a:pt x="8952" y="6213"/>
                      <a:pt x="8952" y="6083"/>
                    </a:cubicBezTo>
                    <a:cubicBezTo>
                      <a:pt x="8952" y="5952"/>
                      <a:pt x="9072" y="5380"/>
                      <a:pt x="9072" y="5380"/>
                    </a:cubicBezTo>
                    <a:cubicBezTo>
                      <a:pt x="9072" y="5380"/>
                      <a:pt x="9087" y="5210"/>
                      <a:pt x="9102" y="5132"/>
                    </a:cubicBezTo>
                    <a:cubicBezTo>
                      <a:pt x="9117" y="5054"/>
                      <a:pt x="9342" y="4636"/>
                      <a:pt x="9432" y="4429"/>
                    </a:cubicBezTo>
                    <a:cubicBezTo>
                      <a:pt x="9521" y="4220"/>
                      <a:pt x="9687" y="3699"/>
                      <a:pt x="9747" y="3465"/>
                    </a:cubicBezTo>
                    <a:cubicBezTo>
                      <a:pt x="9807" y="3230"/>
                      <a:pt x="9867" y="2904"/>
                      <a:pt x="9972" y="2410"/>
                    </a:cubicBezTo>
                    <a:cubicBezTo>
                      <a:pt x="10077" y="1915"/>
                      <a:pt x="9867" y="1732"/>
                      <a:pt x="9717" y="1510"/>
                    </a:cubicBezTo>
                    <a:close/>
                  </a:path>
                </a:pathLst>
              </a:custGeom>
              <a:solidFill>
                <a:srgbClr val="2A343A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19">
                <a:extLst>
                  <a:ext uri="{FF2B5EF4-FFF2-40B4-BE49-F238E27FC236}">
                    <a16:creationId xmlns:a16="http://schemas.microsoft.com/office/drawing/2014/main" id="{D6C64C0B-EE5D-4F98-B13E-5DE303480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4375" y="2536825"/>
                <a:ext cx="30163" cy="7938"/>
              </a:xfrm>
              <a:custGeom>
                <a:avLst/>
                <a:gdLst>
                  <a:gd name="T0" fmla="*/ 4 w 8"/>
                  <a:gd name="T1" fmla="*/ 1 h 2"/>
                  <a:gd name="T2" fmla="*/ 0 w 8"/>
                  <a:gd name="T3" fmla="*/ 2 h 2"/>
                  <a:gd name="T4" fmla="*/ 8 w 8"/>
                  <a:gd name="T5" fmla="*/ 1 h 2"/>
                  <a:gd name="T6" fmla="*/ 4 w 8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2">
                    <a:moveTo>
                      <a:pt x="4" y="1"/>
                    </a:moveTo>
                    <a:cubicBezTo>
                      <a:pt x="4" y="1"/>
                      <a:pt x="2" y="1"/>
                      <a:pt x="0" y="2"/>
                    </a:cubicBezTo>
                    <a:cubicBezTo>
                      <a:pt x="3" y="2"/>
                      <a:pt x="5" y="1"/>
                      <a:pt x="8" y="1"/>
                    </a:cubicBezTo>
                    <a:cubicBezTo>
                      <a:pt x="7" y="1"/>
                      <a:pt x="5" y="0"/>
                      <a:pt x="4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120">
                <a:extLst>
                  <a:ext uri="{FF2B5EF4-FFF2-40B4-BE49-F238E27FC236}">
                    <a16:creationId xmlns:a16="http://schemas.microsoft.com/office/drawing/2014/main" id="{17AD361A-BE81-41C4-A81F-A9E5AD7669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4575" y="2514600"/>
                <a:ext cx="25400" cy="66675"/>
              </a:xfrm>
              <a:custGeom>
                <a:avLst/>
                <a:gdLst>
                  <a:gd name="T0" fmla="*/ 0 w 7"/>
                  <a:gd name="T1" fmla="*/ 4 h 18"/>
                  <a:gd name="T2" fmla="*/ 4 w 7"/>
                  <a:gd name="T3" fmla="*/ 18 h 18"/>
                  <a:gd name="T4" fmla="*/ 7 w 7"/>
                  <a:gd name="T5" fmla="*/ 0 h 18"/>
                  <a:gd name="T6" fmla="*/ 3 w 7"/>
                  <a:gd name="T7" fmla="*/ 0 h 18"/>
                  <a:gd name="T8" fmla="*/ 0 w 7"/>
                  <a:gd name="T9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4"/>
                    </a:moveTo>
                    <a:cubicBezTo>
                      <a:pt x="0" y="7"/>
                      <a:pt x="2" y="12"/>
                      <a:pt x="4" y="18"/>
                    </a:cubicBezTo>
                    <a:cubicBezTo>
                      <a:pt x="5" y="11"/>
                      <a:pt x="6" y="5"/>
                      <a:pt x="7" y="0"/>
                    </a:cubicBezTo>
                    <a:cubicBezTo>
                      <a:pt x="6" y="0"/>
                      <a:pt x="5" y="0"/>
                      <a:pt x="3" y="0"/>
                    </a:cubicBezTo>
                    <a:cubicBezTo>
                      <a:pt x="2" y="3"/>
                      <a:pt x="0" y="4"/>
                      <a:pt x="0" y="4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21">
                <a:extLst>
                  <a:ext uri="{FF2B5EF4-FFF2-40B4-BE49-F238E27FC236}">
                    <a16:creationId xmlns:a16="http://schemas.microsoft.com/office/drawing/2014/main" id="{7595AFE3-9157-41FB-96B0-08A4F35EFB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438" y="2544763"/>
                <a:ext cx="217488" cy="127000"/>
              </a:xfrm>
              <a:custGeom>
                <a:avLst/>
                <a:gdLst>
                  <a:gd name="T0" fmla="*/ 58 w 58"/>
                  <a:gd name="T1" fmla="*/ 34 h 34"/>
                  <a:gd name="T2" fmla="*/ 38 w 58"/>
                  <a:gd name="T3" fmla="*/ 11 h 34"/>
                  <a:gd name="T4" fmla="*/ 36 w 58"/>
                  <a:gd name="T5" fmla="*/ 0 h 34"/>
                  <a:gd name="T6" fmla="*/ 8 w 58"/>
                  <a:gd name="T7" fmla="*/ 5 h 34"/>
                  <a:gd name="T8" fmla="*/ 33 w 58"/>
                  <a:gd name="T9" fmla="*/ 28 h 34"/>
                  <a:gd name="T10" fmla="*/ 41 w 58"/>
                  <a:gd name="T11" fmla="*/ 34 h 34"/>
                  <a:gd name="T12" fmla="*/ 42 w 58"/>
                  <a:gd name="T13" fmla="*/ 33 h 34"/>
                  <a:gd name="T14" fmla="*/ 58 w 58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34">
                    <a:moveTo>
                      <a:pt x="58" y="34"/>
                    </a:moveTo>
                    <a:cubicBezTo>
                      <a:pt x="56" y="32"/>
                      <a:pt x="38" y="11"/>
                      <a:pt x="38" y="11"/>
                    </a:cubicBezTo>
                    <a:cubicBezTo>
                      <a:pt x="32" y="4"/>
                      <a:pt x="34" y="1"/>
                      <a:pt x="36" y="0"/>
                    </a:cubicBezTo>
                    <a:cubicBezTo>
                      <a:pt x="23" y="2"/>
                      <a:pt x="10" y="4"/>
                      <a:pt x="8" y="5"/>
                    </a:cubicBezTo>
                    <a:cubicBezTo>
                      <a:pt x="8" y="5"/>
                      <a:pt x="0" y="8"/>
                      <a:pt x="33" y="28"/>
                    </a:cubicBezTo>
                    <a:cubicBezTo>
                      <a:pt x="33" y="28"/>
                      <a:pt x="36" y="30"/>
                      <a:pt x="41" y="34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5" y="31"/>
                      <a:pt x="58" y="34"/>
                      <a:pt x="58" y="34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22">
                <a:extLst>
                  <a:ext uri="{FF2B5EF4-FFF2-40B4-BE49-F238E27FC236}">
                    <a16:creationId xmlns:a16="http://schemas.microsoft.com/office/drawing/2014/main" id="{28E188B3-553F-46F3-B220-DDE0ED3475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4538" y="2524786"/>
                <a:ext cx="123825" cy="121576"/>
              </a:xfrm>
              <a:custGeom>
                <a:avLst/>
                <a:gdLst>
                  <a:gd name="T0" fmla="*/ 18 w 33"/>
                  <a:gd name="T1" fmla="*/ 18 h 29"/>
                  <a:gd name="T2" fmla="*/ 33 w 33"/>
                  <a:gd name="T3" fmla="*/ 29 h 29"/>
                  <a:gd name="T4" fmla="*/ 29 w 33"/>
                  <a:gd name="T5" fmla="*/ 0 h 29"/>
                  <a:gd name="T6" fmla="*/ 29 w 33"/>
                  <a:gd name="T7" fmla="*/ 0 h 29"/>
                  <a:gd name="T8" fmla="*/ 14 w 33"/>
                  <a:gd name="T9" fmla="*/ 0 h 29"/>
                  <a:gd name="T10" fmla="*/ 0 w 33"/>
                  <a:gd name="T11" fmla="*/ 1 h 29"/>
                  <a:gd name="T12" fmla="*/ 18 w 33"/>
                  <a:gd name="T13" fmla="*/ 18 h 29"/>
                  <a:gd name="connsiteX0" fmla="*/ 5455 w 10000"/>
                  <a:gd name="connsiteY0" fmla="*/ 7024 h 10817"/>
                  <a:gd name="connsiteX1" fmla="*/ 10000 w 10000"/>
                  <a:gd name="connsiteY1" fmla="*/ 10817 h 10817"/>
                  <a:gd name="connsiteX2" fmla="*/ 8788 w 10000"/>
                  <a:gd name="connsiteY2" fmla="*/ 817 h 10817"/>
                  <a:gd name="connsiteX3" fmla="*/ 8788 w 10000"/>
                  <a:gd name="connsiteY3" fmla="*/ 600 h 10817"/>
                  <a:gd name="connsiteX4" fmla="*/ 4242 w 10000"/>
                  <a:gd name="connsiteY4" fmla="*/ 817 h 10817"/>
                  <a:gd name="connsiteX5" fmla="*/ 0 w 10000"/>
                  <a:gd name="connsiteY5" fmla="*/ 1162 h 10817"/>
                  <a:gd name="connsiteX6" fmla="*/ 5455 w 10000"/>
                  <a:gd name="connsiteY6" fmla="*/ 7024 h 10817"/>
                  <a:gd name="connsiteX0" fmla="*/ 5455 w 10000"/>
                  <a:gd name="connsiteY0" fmla="*/ 7106 h 10899"/>
                  <a:gd name="connsiteX1" fmla="*/ 10000 w 10000"/>
                  <a:gd name="connsiteY1" fmla="*/ 10899 h 10899"/>
                  <a:gd name="connsiteX2" fmla="*/ 8788 w 10000"/>
                  <a:gd name="connsiteY2" fmla="*/ 899 h 10899"/>
                  <a:gd name="connsiteX3" fmla="*/ 8788 w 10000"/>
                  <a:gd name="connsiteY3" fmla="*/ 682 h 10899"/>
                  <a:gd name="connsiteX4" fmla="*/ 6987 w 10000"/>
                  <a:gd name="connsiteY4" fmla="*/ 1 h 10899"/>
                  <a:gd name="connsiteX5" fmla="*/ 4242 w 10000"/>
                  <a:gd name="connsiteY5" fmla="*/ 899 h 10899"/>
                  <a:gd name="connsiteX6" fmla="*/ 0 w 10000"/>
                  <a:gd name="connsiteY6" fmla="*/ 1244 h 10899"/>
                  <a:gd name="connsiteX7" fmla="*/ 5455 w 10000"/>
                  <a:gd name="connsiteY7" fmla="*/ 7106 h 10899"/>
                  <a:gd name="connsiteX0" fmla="*/ 5455 w 10000"/>
                  <a:gd name="connsiteY0" fmla="*/ 7267 h 11060"/>
                  <a:gd name="connsiteX1" fmla="*/ 10000 w 10000"/>
                  <a:gd name="connsiteY1" fmla="*/ 11060 h 11060"/>
                  <a:gd name="connsiteX2" fmla="*/ 8788 w 10000"/>
                  <a:gd name="connsiteY2" fmla="*/ 1060 h 11060"/>
                  <a:gd name="connsiteX3" fmla="*/ 8980 w 10000"/>
                  <a:gd name="connsiteY3" fmla="*/ 191 h 11060"/>
                  <a:gd name="connsiteX4" fmla="*/ 6987 w 10000"/>
                  <a:gd name="connsiteY4" fmla="*/ 162 h 11060"/>
                  <a:gd name="connsiteX5" fmla="*/ 4242 w 10000"/>
                  <a:gd name="connsiteY5" fmla="*/ 1060 h 11060"/>
                  <a:gd name="connsiteX6" fmla="*/ 0 w 10000"/>
                  <a:gd name="connsiteY6" fmla="*/ 1405 h 11060"/>
                  <a:gd name="connsiteX7" fmla="*/ 5455 w 10000"/>
                  <a:gd name="connsiteY7" fmla="*/ 7267 h 11060"/>
                  <a:gd name="connsiteX0" fmla="*/ 5455 w 10000"/>
                  <a:gd name="connsiteY0" fmla="*/ 7306 h 11099"/>
                  <a:gd name="connsiteX1" fmla="*/ 10000 w 10000"/>
                  <a:gd name="connsiteY1" fmla="*/ 11099 h 11099"/>
                  <a:gd name="connsiteX2" fmla="*/ 8788 w 10000"/>
                  <a:gd name="connsiteY2" fmla="*/ 1099 h 11099"/>
                  <a:gd name="connsiteX3" fmla="*/ 8980 w 10000"/>
                  <a:gd name="connsiteY3" fmla="*/ 230 h 11099"/>
                  <a:gd name="connsiteX4" fmla="*/ 6987 w 10000"/>
                  <a:gd name="connsiteY4" fmla="*/ 853 h 11099"/>
                  <a:gd name="connsiteX5" fmla="*/ 4242 w 10000"/>
                  <a:gd name="connsiteY5" fmla="*/ 1099 h 11099"/>
                  <a:gd name="connsiteX6" fmla="*/ 0 w 10000"/>
                  <a:gd name="connsiteY6" fmla="*/ 1444 h 11099"/>
                  <a:gd name="connsiteX7" fmla="*/ 5455 w 10000"/>
                  <a:gd name="connsiteY7" fmla="*/ 7306 h 1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1099">
                    <a:moveTo>
                      <a:pt x="5455" y="7306"/>
                    </a:moveTo>
                    <a:cubicBezTo>
                      <a:pt x="5455" y="7996"/>
                      <a:pt x="10000" y="11099"/>
                      <a:pt x="10000" y="11099"/>
                    </a:cubicBezTo>
                    <a:cubicBezTo>
                      <a:pt x="7879" y="4547"/>
                      <a:pt x="8958" y="2911"/>
                      <a:pt x="8788" y="1099"/>
                    </a:cubicBezTo>
                    <a:cubicBezTo>
                      <a:pt x="8618" y="-713"/>
                      <a:pt x="9280" y="271"/>
                      <a:pt x="8980" y="230"/>
                    </a:cubicBezTo>
                    <a:cubicBezTo>
                      <a:pt x="8680" y="189"/>
                      <a:pt x="7745" y="817"/>
                      <a:pt x="6987" y="853"/>
                    </a:cubicBezTo>
                    <a:cubicBezTo>
                      <a:pt x="6229" y="889"/>
                      <a:pt x="5182" y="964"/>
                      <a:pt x="4242" y="1099"/>
                    </a:cubicBezTo>
                    <a:cubicBezTo>
                      <a:pt x="3030" y="1099"/>
                      <a:pt x="1515" y="1099"/>
                      <a:pt x="0" y="1444"/>
                    </a:cubicBezTo>
                    <a:cubicBezTo>
                      <a:pt x="2121" y="2133"/>
                      <a:pt x="5152" y="6616"/>
                      <a:pt x="5455" y="7306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23">
                <a:extLst>
                  <a:ext uri="{FF2B5EF4-FFF2-40B4-BE49-F238E27FC236}">
                    <a16:creationId xmlns:a16="http://schemas.microsoft.com/office/drawing/2014/main" id="{8F5FAADC-F250-4025-8BBD-0A4EC78077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988" y="2525713"/>
                <a:ext cx="120650" cy="198438"/>
              </a:xfrm>
              <a:custGeom>
                <a:avLst/>
                <a:gdLst>
                  <a:gd name="T0" fmla="*/ 8 w 32"/>
                  <a:gd name="T1" fmla="*/ 27 h 53"/>
                  <a:gd name="T2" fmla="*/ 32 w 32"/>
                  <a:gd name="T3" fmla="*/ 53 h 53"/>
                  <a:gd name="T4" fmla="*/ 32 w 32"/>
                  <a:gd name="T5" fmla="*/ 52 h 53"/>
                  <a:gd name="T6" fmla="*/ 16 w 32"/>
                  <a:gd name="T7" fmla="*/ 25 h 53"/>
                  <a:gd name="T8" fmla="*/ 16 w 32"/>
                  <a:gd name="T9" fmla="*/ 0 h 53"/>
                  <a:gd name="T10" fmla="*/ 0 w 32"/>
                  <a:gd name="T11" fmla="*/ 1 h 53"/>
                  <a:gd name="T12" fmla="*/ 3 w 32"/>
                  <a:gd name="T13" fmla="*/ 13 h 53"/>
                  <a:gd name="T14" fmla="*/ 8 w 32"/>
                  <a:gd name="T15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53">
                    <a:moveTo>
                      <a:pt x="8" y="27"/>
                    </a:moveTo>
                    <a:cubicBezTo>
                      <a:pt x="12" y="30"/>
                      <a:pt x="27" y="48"/>
                      <a:pt x="32" y="53"/>
                    </a:cubicBezTo>
                    <a:cubicBezTo>
                      <a:pt x="32" y="53"/>
                      <a:pt x="32" y="53"/>
                      <a:pt x="32" y="52"/>
                    </a:cubicBezTo>
                    <a:cubicBezTo>
                      <a:pt x="27" y="44"/>
                      <a:pt x="20" y="36"/>
                      <a:pt x="16" y="25"/>
                    </a:cubicBezTo>
                    <a:cubicBezTo>
                      <a:pt x="12" y="15"/>
                      <a:pt x="14" y="5"/>
                      <a:pt x="16" y="0"/>
                    </a:cubicBezTo>
                    <a:cubicBezTo>
                      <a:pt x="10" y="0"/>
                      <a:pt x="5" y="1"/>
                      <a:pt x="0" y="1"/>
                    </a:cubicBezTo>
                    <a:cubicBezTo>
                      <a:pt x="0" y="6"/>
                      <a:pt x="3" y="13"/>
                      <a:pt x="3" y="13"/>
                    </a:cubicBezTo>
                    <a:cubicBezTo>
                      <a:pt x="4" y="26"/>
                      <a:pt x="8" y="27"/>
                      <a:pt x="8" y="27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24">
                <a:extLst>
                  <a:ext uri="{FF2B5EF4-FFF2-40B4-BE49-F238E27FC236}">
                    <a16:creationId xmlns:a16="http://schemas.microsoft.com/office/drawing/2014/main" id="{1A53C4DA-AF41-42BD-A986-1ACD4F123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6638" y="2720975"/>
                <a:ext cx="3175" cy="1111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1 h 3"/>
                  <a:gd name="T4" fmla="*/ 1 w 1"/>
                  <a:gd name="T5" fmla="*/ 3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125">
                <a:extLst>
                  <a:ext uri="{FF2B5EF4-FFF2-40B4-BE49-F238E27FC236}">
                    <a16:creationId xmlns:a16="http://schemas.microsoft.com/office/drawing/2014/main" id="{41F02A6C-C0EC-414A-B00F-726ECBC3FA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0175" y="2717800"/>
                <a:ext cx="4763" cy="14288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1" y="1"/>
                      <a:pt x="1" y="3"/>
                      <a:pt x="1" y="4"/>
                    </a:cubicBezTo>
                    <a:cubicBezTo>
                      <a:pt x="1" y="4"/>
                      <a:pt x="1" y="1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126">
                <a:extLst>
                  <a:ext uri="{FF2B5EF4-FFF2-40B4-BE49-F238E27FC236}">
                    <a16:creationId xmlns:a16="http://schemas.microsoft.com/office/drawing/2014/main" id="{84DD4868-15E5-4B89-98D6-83AFF8F5F9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98863" y="2476347"/>
                <a:ext cx="921559" cy="255741"/>
              </a:xfrm>
              <a:custGeom>
                <a:avLst/>
                <a:gdLst>
                  <a:gd name="T0" fmla="*/ 14 w 238"/>
                  <a:gd name="T1" fmla="*/ 50 h 68"/>
                  <a:gd name="T2" fmla="*/ 30 w 238"/>
                  <a:gd name="T3" fmla="*/ 56 h 68"/>
                  <a:gd name="T4" fmla="*/ 39 w 238"/>
                  <a:gd name="T5" fmla="*/ 56 h 68"/>
                  <a:gd name="T6" fmla="*/ 36 w 238"/>
                  <a:gd name="T7" fmla="*/ 38 h 68"/>
                  <a:gd name="T8" fmla="*/ 57 w 238"/>
                  <a:gd name="T9" fmla="*/ 38 h 68"/>
                  <a:gd name="T10" fmla="*/ 75 w 238"/>
                  <a:gd name="T11" fmla="*/ 47 h 68"/>
                  <a:gd name="T12" fmla="*/ 91 w 238"/>
                  <a:gd name="T13" fmla="*/ 63 h 68"/>
                  <a:gd name="T14" fmla="*/ 93 w 238"/>
                  <a:gd name="T15" fmla="*/ 65 h 68"/>
                  <a:gd name="T16" fmla="*/ 130 w 238"/>
                  <a:gd name="T17" fmla="*/ 68 h 68"/>
                  <a:gd name="T18" fmla="*/ 221 w 238"/>
                  <a:gd name="T19" fmla="*/ 56 h 68"/>
                  <a:gd name="T20" fmla="*/ 238 w 238"/>
                  <a:gd name="T21" fmla="*/ 45 h 68"/>
                  <a:gd name="T22" fmla="*/ 182 w 238"/>
                  <a:gd name="T23" fmla="*/ 27 h 68"/>
                  <a:gd name="T24" fmla="*/ 119 w 238"/>
                  <a:gd name="T25" fmla="*/ 0 h 68"/>
                  <a:gd name="T26" fmla="*/ 20 w 238"/>
                  <a:gd name="T27" fmla="*/ 8 h 68"/>
                  <a:gd name="T28" fmla="*/ 3 w 238"/>
                  <a:gd name="T29" fmla="*/ 10 h 68"/>
                  <a:gd name="T30" fmla="*/ 0 w 238"/>
                  <a:gd name="T31" fmla="*/ 28 h 68"/>
                  <a:gd name="T32" fmla="*/ 14 w 238"/>
                  <a:gd name="T33" fmla="*/ 50 h 68"/>
                  <a:gd name="connsiteX0" fmla="*/ 588 w 10240"/>
                  <a:gd name="connsiteY0" fmla="*/ 7353 h 10000"/>
                  <a:gd name="connsiteX1" fmla="*/ 1261 w 10240"/>
                  <a:gd name="connsiteY1" fmla="*/ 8235 h 10000"/>
                  <a:gd name="connsiteX2" fmla="*/ 1639 w 10240"/>
                  <a:gd name="connsiteY2" fmla="*/ 8235 h 10000"/>
                  <a:gd name="connsiteX3" fmla="*/ 1513 w 10240"/>
                  <a:gd name="connsiteY3" fmla="*/ 5588 h 10000"/>
                  <a:gd name="connsiteX4" fmla="*/ 2395 w 10240"/>
                  <a:gd name="connsiteY4" fmla="*/ 5588 h 10000"/>
                  <a:gd name="connsiteX5" fmla="*/ 3151 w 10240"/>
                  <a:gd name="connsiteY5" fmla="*/ 6912 h 10000"/>
                  <a:gd name="connsiteX6" fmla="*/ 3824 w 10240"/>
                  <a:gd name="connsiteY6" fmla="*/ 9265 h 10000"/>
                  <a:gd name="connsiteX7" fmla="*/ 3908 w 10240"/>
                  <a:gd name="connsiteY7" fmla="*/ 9559 h 10000"/>
                  <a:gd name="connsiteX8" fmla="*/ 5462 w 10240"/>
                  <a:gd name="connsiteY8" fmla="*/ 10000 h 10000"/>
                  <a:gd name="connsiteX9" fmla="*/ 9286 w 10240"/>
                  <a:gd name="connsiteY9" fmla="*/ 8235 h 10000"/>
                  <a:gd name="connsiteX10" fmla="*/ 10240 w 10240"/>
                  <a:gd name="connsiteY10" fmla="*/ 6618 h 10000"/>
                  <a:gd name="connsiteX11" fmla="*/ 7647 w 10240"/>
                  <a:gd name="connsiteY11" fmla="*/ 3971 h 10000"/>
                  <a:gd name="connsiteX12" fmla="*/ 5000 w 10240"/>
                  <a:gd name="connsiteY12" fmla="*/ 0 h 10000"/>
                  <a:gd name="connsiteX13" fmla="*/ 840 w 10240"/>
                  <a:gd name="connsiteY13" fmla="*/ 1176 h 10000"/>
                  <a:gd name="connsiteX14" fmla="*/ 126 w 10240"/>
                  <a:gd name="connsiteY14" fmla="*/ 1471 h 10000"/>
                  <a:gd name="connsiteX15" fmla="*/ 0 w 10240"/>
                  <a:gd name="connsiteY15" fmla="*/ 4118 h 10000"/>
                  <a:gd name="connsiteX16" fmla="*/ 588 w 10240"/>
                  <a:gd name="connsiteY16" fmla="*/ 7353 h 10000"/>
                  <a:gd name="connsiteX0" fmla="*/ 588 w 10311"/>
                  <a:gd name="connsiteY0" fmla="*/ 7511 h 10158"/>
                  <a:gd name="connsiteX1" fmla="*/ 1261 w 10311"/>
                  <a:gd name="connsiteY1" fmla="*/ 8393 h 10158"/>
                  <a:gd name="connsiteX2" fmla="*/ 1639 w 10311"/>
                  <a:gd name="connsiteY2" fmla="*/ 8393 h 10158"/>
                  <a:gd name="connsiteX3" fmla="*/ 1513 w 10311"/>
                  <a:gd name="connsiteY3" fmla="*/ 5746 h 10158"/>
                  <a:gd name="connsiteX4" fmla="*/ 2395 w 10311"/>
                  <a:gd name="connsiteY4" fmla="*/ 5746 h 10158"/>
                  <a:gd name="connsiteX5" fmla="*/ 3151 w 10311"/>
                  <a:gd name="connsiteY5" fmla="*/ 7070 h 10158"/>
                  <a:gd name="connsiteX6" fmla="*/ 3824 w 10311"/>
                  <a:gd name="connsiteY6" fmla="*/ 9423 h 10158"/>
                  <a:gd name="connsiteX7" fmla="*/ 3908 w 10311"/>
                  <a:gd name="connsiteY7" fmla="*/ 9717 h 10158"/>
                  <a:gd name="connsiteX8" fmla="*/ 5462 w 10311"/>
                  <a:gd name="connsiteY8" fmla="*/ 10158 h 10158"/>
                  <a:gd name="connsiteX9" fmla="*/ 9286 w 10311"/>
                  <a:gd name="connsiteY9" fmla="*/ 8393 h 10158"/>
                  <a:gd name="connsiteX10" fmla="*/ 10240 w 10311"/>
                  <a:gd name="connsiteY10" fmla="*/ 6776 h 10158"/>
                  <a:gd name="connsiteX11" fmla="*/ 7700 w 10311"/>
                  <a:gd name="connsiteY11" fmla="*/ 3849 h 10158"/>
                  <a:gd name="connsiteX12" fmla="*/ 5000 w 10311"/>
                  <a:gd name="connsiteY12" fmla="*/ 158 h 10158"/>
                  <a:gd name="connsiteX13" fmla="*/ 840 w 10311"/>
                  <a:gd name="connsiteY13" fmla="*/ 1334 h 10158"/>
                  <a:gd name="connsiteX14" fmla="*/ 126 w 10311"/>
                  <a:gd name="connsiteY14" fmla="*/ 1629 h 10158"/>
                  <a:gd name="connsiteX15" fmla="*/ 0 w 10311"/>
                  <a:gd name="connsiteY15" fmla="*/ 4276 h 10158"/>
                  <a:gd name="connsiteX16" fmla="*/ 588 w 10311"/>
                  <a:gd name="connsiteY16" fmla="*/ 7511 h 10158"/>
                  <a:gd name="connsiteX0" fmla="*/ 588 w 10311"/>
                  <a:gd name="connsiteY0" fmla="*/ 7511 h 10158"/>
                  <a:gd name="connsiteX1" fmla="*/ 1261 w 10311"/>
                  <a:gd name="connsiteY1" fmla="*/ 8393 h 10158"/>
                  <a:gd name="connsiteX2" fmla="*/ 1639 w 10311"/>
                  <a:gd name="connsiteY2" fmla="*/ 8393 h 10158"/>
                  <a:gd name="connsiteX3" fmla="*/ 1513 w 10311"/>
                  <a:gd name="connsiteY3" fmla="*/ 5746 h 10158"/>
                  <a:gd name="connsiteX4" fmla="*/ 2395 w 10311"/>
                  <a:gd name="connsiteY4" fmla="*/ 5746 h 10158"/>
                  <a:gd name="connsiteX5" fmla="*/ 3151 w 10311"/>
                  <a:gd name="connsiteY5" fmla="*/ 7070 h 10158"/>
                  <a:gd name="connsiteX6" fmla="*/ 3824 w 10311"/>
                  <a:gd name="connsiteY6" fmla="*/ 9423 h 10158"/>
                  <a:gd name="connsiteX7" fmla="*/ 3908 w 10311"/>
                  <a:gd name="connsiteY7" fmla="*/ 9717 h 10158"/>
                  <a:gd name="connsiteX8" fmla="*/ 5462 w 10311"/>
                  <a:gd name="connsiteY8" fmla="*/ 10158 h 10158"/>
                  <a:gd name="connsiteX9" fmla="*/ 9286 w 10311"/>
                  <a:gd name="connsiteY9" fmla="*/ 8393 h 10158"/>
                  <a:gd name="connsiteX10" fmla="*/ 10240 w 10311"/>
                  <a:gd name="connsiteY10" fmla="*/ 6776 h 10158"/>
                  <a:gd name="connsiteX11" fmla="*/ 7700 w 10311"/>
                  <a:gd name="connsiteY11" fmla="*/ 3849 h 10158"/>
                  <a:gd name="connsiteX12" fmla="*/ 5000 w 10311"/>
                  <a:gd name="connsiteY12" fmla="*/ 158 h 10158"/>
                  <a:gd name="connsiteX13" fmla="*/ 840 w 10311"/>
                  <a:gd name="connsiteY13" fmla="*/ 1334 h 10158"/>
                  <a:gd name="connsiteX14" fmla="*/ 126 w 10311"/>
                  <a:gd name="connsiteY14" fmla="*/ 1629 h 10158"/>
                  <a:gd name="connsiteX15" fmla="*/ 0 w 10311"/>
                  <a:gd name="connsiteY15" fmla="*/ 4276 h 10158"/>
                  <a:gd name="connsiteX16" fmla="*/ 588 w 10311"/>
                  <a:gd name="connsiteY16" fmla="*/ 7511 h 10158"/>
                  <a:gd name="connsiteX0" fmla="*/ 588 w 10311"/>
                  <a:gd name="connsiteY0" fmla="*/ 7359 h 10006"/>
                  <a:gd name="connsiteX1" fmla="*/ 1261 w 10311"/>
                  <a:gd name="connsiteY1" fmla="*/ 8241 h 10006"/>
                  <a:gd name="connsiteX2" fmla="*/ 1639 w 10311"/>
                  <a:gd name="connsiteY2" fmla="*/ 8241 h 10006"/>
                  <a:gd name="connsiteX3" fmla="*/ 1513 w 10311"/>
                  <a:gd name="connsiteY3" fmla="*/ 5594 h 10006"/>
                  <a:gd name="connsiteX4" fmla="*/ 2395 w 10311"/>
                  <a:gd name="connsiteY4" fmla="*/ 5594 h 10006"/>
                  <a:gd name="connsiteX5" fmla="*/ 3151 w 10311"/>
                  <a:gd name="connsiteY5" fmla="*/ 6918 h 10006"/>
                  <a:gd name="connsiteX6" fmla="*/ 3824 w 10311"/>
                  <a:gd name="connsiteY6" fmla="*/ 9271 h 10006"/>
                  <a:gd name="connsiteX7" fmla="*/ 3908 w 10311"/>
                  <a:gd name="connsiteY7" fmla="*/ 9565 h 10006"/>
                  <a:gd name="connsiteX8" fmla="*/ 5462 w 10311"/>
                  <a:gd name="connsiteY8" fmla="*/ 10006 h 10006"/>
                  <a:gd name="connsiteX9" fmla="*/ 9286 w 10311"/>
                  <a:gd name="connsiteY9" fmla="*/ 8241 h 10006"/>
                  <a:gd name="connsiteX10" fmla="*/ 10240 w 10311"/>
                  <a:gd name="connsiteY10" fmla="*/ 6624 h 10006"/>
                  <a:gd name="connsiteX11" fmla="*/ 7700 w 10311"/>
                  <a:gd name="connsiteY11" fmla="*/ 3697 h 10006"/>
                  <a:gd name="connsiteX12" fmla="*/ 5000 w 10311"/>
                  <a:gd name="connsiteY12" fmla="*/ 6 h 10006"/>
                  <a:gd name="connsiteX13" fmla="*/ 840 w 10311"/>
                  <a:gd name="connsiteY13" fmla="*/ 1182 h 10006"/>
                  <a:gd name="connsiteX14" fmla="*/ 126 w 10311"/>
                  <a:gd name="connsiteY14" fmla="*/ 1477 h 10006"/>
                  <a:gd name="connsiteX15" fmla="*/ 0 w 10311"/>
                  <a:gd name="connsiteY15" fmla="*/ 4124 h 10006"/>
                  <a:gd name="connsiteX16" fmla="*/ 588 w 10311"/>
                  <a:gd name="connsiteY16" fmla="*/ 7359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311" h="10006">
                    <a:moveTo>
                      <a:pt x="588" y="7359"/>
                    </a:moveTo>
                    <a:cubicBezTo>
                      <a:pt x="756" y="7653"/>
                      <a:pt x="1008" y="8241"/>
                      <a:pt x="1261" y="8241"/>
                    </a:cubicBezTo>
                    <a:lnTo>
                      <a:pt x="1639" y="8241"/>
                    </a:lnTo>
                    <a:cubicBezTo>
                      <a:pt x="1303" y="7065"/>
                      <a:pt x="1429" y="6182"/>
                      <a:pt x="1513" y="5594"/>
                    </a:cubicBezTo>
                    <a:cubicBezTo>
                      <a:pt x="1597" y="5006"/>
                      <a:pt x="1849" y="4418"/>
                      <a:pt x="2395" y="5594"/>
                    </a:cubicBezTo>
                    <a:cubicBezTo>
                      <a:pt x="2941" y="6918"/>
                      <a:pt x="2773" y="6918"/>
                      <a:pt x="3151" y="6918"/>
                    </a:cubicBezTo>
                    <a:cubicBezTo>
                      <a:pt x="3445" y="6918"/>
                      <a:pt x="3697" y="8094"/>
                      <a:pt x="3824" y="9271"/>
                    </a:cubicBezTo>
                    <a:lnTo>
                      <a:pt x="3908" y="9565"/>
                    </a:lnTo>
                    <a:cubicBezTo>
                      <a:pt x="4076" y="9565"/>
                      <a:pt x="4958" y="10006"/>
                      <a:pt x="5462" y="10006"/>
                    </a:cubicBezTo>
                    <a:cubicBezTo>
                      <a:pt x="6008" y="10006"/>
                      <a:pt x="8571" y="9271"/>
                      <a:pt x="9286" y="8241"/>
                    </a:cubicBezTo>
                    <a:cubicBezTo>
                      <a:pt x="10000" y="7359"/>
                      <a:pt x="10504" y="7381"/>
                      <a:pt x="10240" y="6624"/>
                    </a:cubicBezTo>
                    <a:cubicBezTo>
                      <a:pt x="9976" y="5867"/>
                      <a:pt x="8706" y="4986"/>
                      <a:pt x="7700" y="3697"/>
                    </a:cubicBezTo>
                    <a:cubicBezTo>
                      <a:pt x="6694" y="2408"/>
                      <a:pt x="5957" y="-134"/>
                      <a:pt x="5000" y="6"/>
                    </a:cubicBezTo>
                    <a:cubicBezTo>
                      <a:pt x="4043" y="146"/>
                      <a:pt x="3193" y="6"/>
                      <a:pt x="840" y="1182"/>
                    </a:cubicBezTo>
                    <a:cubicBezTo>
                      <a:pt x="840" y="1182"/>
                      <a:pt x="546" y="1330"/>
                      <a:pt x="126" y="1477"/>
                    </a:cubicBezTo>
                    <a:cubicBezTo>
                      <a:pt x="84" y="2212"/>
                      <a:pt x="42" y="3094"/>
                      <a:pt x="0" y="4124"/>
                    </a:cubicBezTo>
                    <a:cubicBezTo>
                      <a:pt x="210" y="5447"/>
                      <a:pt x="504" y="7065"/>
                      <a:pt x="588" y="7359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127">
                <a:extLst>
                  <a:ext uri="{FF2B5EF4-FFF2-40B4-BE49-F238E27FC236}">
                    <a16:creationId xmlns:a16="http://schemas.microsoft.com/office/drawing/2014/main" id="{6B03D6E7-A433-4002-82A3-955FAB3F6B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8988" y="2709864"/>
                <a:ext cx="484188" cy="264801"/>
              </a:xfrm>
              <a:custGeom>
                <a:avLst/>
                <a:gdLst>
                  <a:gd name="T0" fmla="*/ 128 w 129"/>
                  <a:gd name="T1" fmla="*/ 69 h 72"/>
                  <a:gd name="T2" fmla="*/ 127 w 129"/>
                  <a:gd name="T3" fmla="*/ 56 h 72"/>
                  <a:gd name="T4" fmla="*/ 93 w 129"/>
                  <a:gd name="T5" fmla="*/ 38 h 72"/>
                  <a:gd name="T6" fmla="*/ 70 w 129"/>
                  <a:gd name="T7" fmla="*/ 30 h 72"/>
                  <a:gd name="T8" fmla="*/ 62 w 129"/>
                  <a:gd name="T9" fmla="*/ 27 h 72"/>
                  <a:gd name="T10" fmla="*/ 41 w 129"/>
                  <a:gd name="T11" fmla="*/ 16 h 72"/>
                  <a:gd name="T12" fmla="*/ 26 w 129"/>
                  <a:gd name="T13" fmla="*/ 10 h 72"/>
                  <a:gd name="T14" fmla="*/ 0 w 129"/>
                  <a:gd name="T15" fmla="*/ 0 h 72"/>
                  <a:gd name="T16" fmla="*/ 21 w 129"/>
                  <a:gd name="T17" fmla="*/ 16 h 72"/>
                  <a:gd name="T18" fmla="*/ 60 w 129"/>
                  <a:gd name="T19" fmla="*/ 42 h 72"/>
                  <a:gd name="T20" fmla="*/ 77 w 129"/>
                  <a:gd name="T21" fmla="*/ 53 h 72"/>
                  <a:gd name="T22" fmla="*/ 108 w 129"/>
                  <a:gd name="T23" fmla="*/ 70 h 72"/>
                  <a:gd name="T24" fmla="*/ 129 w 129"/>
                  <a:gd name="T25" fmla="*/ 69 h 72"/>
                  <a:gd name="T26" fmla="*/ 128 w 129"/>
                  <a:gd name="T27" fmla="*/ 69 h 72"/>
                  <a:gd name="connsiteX0" fmla="*/ 9922 w 10000"/>
                  <a:gd name="connsiteY0" fmla="*/ 9583 h 9812"/>
                  <a:gd name="connsiteX1" fmla="*/ 9845 w 10000"/>
                  <a:gd name="connsiteY1" fmla="*/ 7778 h 9812"/>
                  <a:gd name="connsiteX2" fmla="*/ 7209 w 10000"/>
                  <a:gd name="connsiteY2" fmla="*/ 5278 h 9812"/>
                  <a:gd name="connsiteX3" fmla="*/ 5426 w 10000"/>
                  <a:gd name="connsiteY3" fmla="*/ 4167 h 9812"/>
                  <a:gd name="connsiteX4" fmla="*/ 4806 w 10000"/>
                  <a:gd name="connsiteY4" fmla="*/ 3750 h 9812"/>
                  <a:gd name="connsiteX5" fmla="*/ 3178 w 10000"/>
                  <a:gd name="connsiteY5" fmla="*/ 2222 h 9812"/>
                  <a:gd name="connsiteX6" fmla="*/ 2016 w 10000"/>
                  <a:gd name="connsiteY6" fmla="*/ 1389 h 9812"/>
                  <a:gd name="connsiteX7" fmla="*/ 0 w 10000"/>
                  <a:gd name="connsiteY7" fmla="*/ 0 h 9812"/>
                  <a:gd name="connsiteX8" fmla="*/ 1628 w 10000"/>
                  <a:gd name="connsiteY8" fmla="*/ 2222 h 9812"/>
                  <a:gd name="connsiteX9" fmla="*/ 4651 w 10000"/>
                  <a:gd name="connsiteY9" fmla="*/ 5833 h 9812"/>
                  <a:gd name="connsiteX10" fmla="*/ 5969 w 10000"/>
                  <a:gd name="connsiteY10" fmla="*/ 7361 h 9812"/>
                  <a:gd name="connsiteX11" fmla="*/ 7806 w 10000"/>
                  <a:gd name="connsiteY11" fmla="*/ 9722 h 9812"/>
                  <a:gd name="connsiteX12" fmla="*/ 10000 w 10000"/>
                  <a:gd name="connsiteY12" fmla="*/ 9583 h 9812"/>
                  <a:gd name="connsiteX13" fmla="*/ 9922 w 10000"/>
                  <a:gd name="connsiteY13" fmla="*/ 9583 h 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000" h="9812">
                    <a:moveTo>
                      <a:pt x="9922" y="9583"/>
                    </a:moveTo>
                    <a:cubicBezTo>
                      <a:pt x="9380" y="9306"/>
                      <a:pt x="9147" y="7778"/>
                      <a:pt x="9845" y="7778"/>
                    </a:cubicBezTo>
                    <a:cubicBezTo>
                      <a:pt x="9767" y="7500"/>
                      <a:pt x="7597" y="5556"/>
                      <a:pt x="7209" y="5278"/>
                    </a:cubicBezTo>
                    <a:cubicBezTo>
                      <a:pt x="6822" y="5000"/>
                      <a:pt x="5426" y="4167"/>
                      <a:pt x="5426" y="4167"/>
                    </a:cubicBezTo>
                    <a:cubicBezTo>
                      <a:pt x="5271" y="4028"/>
                      <a:pt x="5039" y="3889"/>
                      <a:pt x="4806" y="3750"/>
                    </a:cubicBezTo>
                    <a:cubicBezTo>
                      <a:pt x="3953" y="3056"/>
                      <a:pt x="3178" y="2222"/>
                      <a:pt x="3178" y="2222"/>
                    </a:cubicBezTo>
                    <a:cubicBezTo>
                      <a:pt x="2481" y="1944"/>
                      <a:pt x="2016" y="1389"/>
                      <a:pt x="2016" y="1389"/>
                    </a:cubicBezTo>
                    <a:cubicBezTo>
                      <a:pt x="1008" y="972"/>
                      <a:pt x="465" y="417"/>
                      <a:pt x="0" y="0"/>
                    </a:cubicBezTo>
                    <a:cubicBezTo>
                      <a:pt x="543" y="833"/>
                      <a:pt x="1163" y="1528"/>
                      <a:pt x="1628" y="2222"/>
                    </a:cubicBezTo>
                    <a:cubicBezTo>
                      <a:pt x="2403" y="3194"/>
                      <a:pt x="3643" y="4583"/>
                      <a:pt x="4651" y="5833"/>
                    </a:cubicBezTo>
                    <a:cubicBezTo>
                      <a:pt x="5194" y="6389"/>
                      <a:pt x="5659" y="6944"/>
                      <a:pt x="5969" y="7361"/>
                    </a:cubicBezTo>
                    <a:cubicBezTo>
                      <a:pt x="6899" y="8472"/>
                      <a:pt x="7806" y="9722"/>
                      <a:pt x="7806" y="9722"/>
                    </a:cubicBezTo>
                    <a:cubicBezTo>
                      <a:pt x="7806" y="9722"/>
                      <a:pt x="8605" y="10000"/>
                      <a:pt x="10000" y="9583"/>
                    </a:cubicBezTo>
                    <a:lnTo>
                      <a:pt x="9922" y="9583"/>
                    </a:ln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128">
                <a:extLst>
                  <a:ext uri="{FF2B5EF4-FFF2-40B4-BE49-F238E27FC236}">
                    <a16:creationId xmlns:a16="http://schemas.microsoft.com/office/drawing/2014/main" id="{1559187F-04D1-4D49-8A9D-596659FA68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05238" y="2919413"/>
                <a:ext cx="68263" cy="11113"/>
              </a:xfrm>
              <a:custGeom>
                <a:avLst/>
                <a:gdLst>
                  <a:gd name="T0" fmla="*/ 18 w 18"/>
                  <a:gd name="T1" fmla="*/ 2 h 3"/>
                  <a:gd name="T2" fmla="*/ 0 w 18"/>
                  <a:gd name="T3" fmla="*/ 0 h 3"/>
                  <a:gd name="T4" fmla="*/ 18 w 18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3">
                    <a:moveTo>
                      <a:pt x="18" y="2"/>
                    </a:moveTo>
                    <a:cubicBezTo>
                      <a:pt x="11" y="2"/>
                      <a:pt x="0" y="0"/>
                      <a:pt x="0" y="0"/>
                    </a:cubicBezTo>
                    <a:cubicBezTo>
                      <a:pt x="0" y="0"/>
                      <a:pt x="11" y="3"/>
                      <a:pt x="18" y="2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129">
                <a:extLst>
                  <a:ext uri="{FF2B5EF4-FFF2-40B4-BE49-F238E27FC236}">
                    <a16:creationId xmlns:a16="http://schemas.microsoft.com/office/drawing/2014/main" id="{0612D630-6063-447E-AEA3-84761A1226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95725" y="2732088"/>
                <a:ext cx="71438" cy="195263"/>
              </a:xfrm>
              <a:custGeom>
                <a:avLst/>
                <a:gdLst>
                  <a:gd name="T0" fmla="*/ 0 w 19"/>
                  <a:gd name="T1" fmla="*/ 52 h 52"/>
                  <a:gd name="T2" fmla="*/ 13 w 19"/>
                  <a:gd name="T3" fmla="*/ 0 h 52"/>
                  <a:gd name="T4" fmla="*/ 0 w 19"/>
                  <a:gd name="T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52">
                    <a:moveTo>
                      <a:pt x="0" y="52"/>
                    </a:moveTo>
                    <a:cubicBezTo>
                      <a:pt x="5" y="49"/>
                      <a:pt x="19" y="26"/>
                      <a:pt x="13" y="0"/>
                    </a:cubicBezTo>
                    <a:cubicBezTo>
                      <a:pt x="19" y="30"/>
                      <a:pt x="4" y="49"/>
                      <a:pt x="0" y="52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130">
                <a:extLst>
                  <a:ext uri="{FF2B5EF4-FFF2-40B4-BE49-F238E27FC236}">
                    <a16:creationId xmlns:a16="http://schemas.microsoft.com/office/drawing/2014/main" id="{CB9FB773-4576-4BCB-A1ED-F3B06ECD9F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6005" y="2438818"/>
                <a:ext cx="703815" cy="488531"/>
              </a:xfrm>
              <a:custGeom>
                <a:avLst/>
                <a:gdLst>
                  <a:gd name="T0" fmla="*/ 188 w 194"/>
                  <a:gd name="T1" fmla="*/ 79 h 131"/>
                  <a:gd name="T2" fmla="*/ 187 w 194"/>
                  <a:gd name="T3" fmla="*/ 75 h 131"/>
                  <a:gd name="T4" fmla="*/ 186 w 194"/>
                  <a:gd name="T5" fmla="*/ 74 h 131"/>
                  <a:gd name="T6" fmla="*/ 186 w 194"/>
                  <a:gd name="T7" fmla="*/ 73 h 131"/>
                  <a:gd name="T8" fmla="*/ 186 w 194"/>
                  <a:gd name="T9" fmla="*/ 74 h 131"/>
                  <a:gd name="T10" fmla="*/ 187 w 194"/>
                  <a:gd name="T11" fmla="*/ 74 h 131"/>
                  <a:gd name="T12" fmla="*/ 171 w 194"/>
                  <a:gd name="T13" fmla="*/ 58 h 131"/>
                  <a:gd name="T14" fmla="*/ 153 w 194"/>
                  <a:gd name="T15" fmla="*/ 49 h 131"/>
                  <a:gd name="T16" fmla="*/ 132 w 194"/>
                  <a:gd name="T17" fmla="*/ 49 h 131"/>
                  <a:gd name="T18" fmla="*/ 135 w 194"/>
                  <a:gd name="T19" fmla="*/ 67 h 131"/>
                  <a:gd name="T20" fmla="*/ 126 w 194"/>
                  <a:gd name="T21" fmla="*/ 67 h 131"/>
                  <a:gd name="T22" fmla="*/ 110 w 194"/>
                  <a:gd name="T23" fmla="*/ 61 h 131"/>
                  <a:gd name="T24" fmla="*/ 96 w 194"/>
                  <a:gd name="T25" fmla="*/ 39 h 131"/>
                  <a:gd name="T26" fmla="*/ 92 w 194"/>
                  <a:gd name="T27" fmla="*/ 25 h 131"/>
                  <a:gd name="T28" fmla="*/ 95 w 194"/>
                  <a:gd name="T29" fmla="*/ 21 h 131"/>
                  <a:gd name="T30" fmla="*/ 96 w 194"/>
                  <a:gd name="T31" fmla="*/ 15 h 131"/>
                  <a:gd name="T32" fmla="*/ 86 w 194"/>
                  <a:gd name="T33" fmla="*/ 13 h 131"/>
                  <a:gd name="T34" fmla="*/ 75 w 194"/>
                  <a:gd name="T35" fmla="*/ 20 h 131"/>
                  <a:gd name="T36" fmla="*/ 74 w 194"/>
                  <a:gd name="T37" fmla="*/ 24 h 131"/>
                  <a:gd name="T38" fmla="*/ 74 w 194"/>
                  <a:gd name="T39" fmla="*/ 49 h 131"/>
                  <a:gd name="T40" fmla="*/ 90 w 194"/>
                  <a:gd name="T41" fmla="*/ 76 h 131"/>
                  <a:gd name="T42" fmla="*/ 91 w 194"/>
                  <a:gd name="T43" fmla="*/ 79 h 131"/>
                  <a:gd name="T44" fmla="*/ 90 w 194"/>
                  <a:gd name="T45" fmla="*/ 77 h 131"/>
                  <a:gd name="T46" fmla="*/ 66 w 194"/>
                  <a:gd name="T47" fmla="*/ 51 h 131"/>
                  <a:gd name="T48" fmla="*/ 61 w 194"/>
                  <a:gd name="T49" fmla="*/ 37 h 131"/>
                  <a:gd name="T50" fmla="*/ 58 w 194"/>
                  <a:gd name="T51" fmla="*/ 25 h 131"/>
                  <a:gd name="T52" fmla="*/ 58 w 194"/>
                  <a:gd name="T53" fmla="*/ 23 h 131"/>
                  <a:gd name="T54" fmla="*/ 52 w 194"/>
                  <a:gd name="T55" fmla="*/ 1 h 131"/>
                  <a:gd name="T56" fmla="*/ 41 w 194"/>
                  <a:gd name="T57" fmla="*/ 27 h 131"/>
                  <a:gd name="T58" fmla="*/ 41 w 194"/>
                  <a:gd name="T59" fmla="*/ 27 h 131"/>
                  <a:gd name="T60" fmla="*/ 45 w 194"/>
                  <a:gd name="T61" fmla="*/ 56 h 131"/>
                  <a:gd name="T62" fmla="*/ 30 w 194"/>
                  <a:gd name="T63" fmla="*/ 45 h 131"/>
                  <a:gd name="T64" fmla="*/ 12 w 194"/>
                  <a:gd name="T65" fmla="*/ 28 h 131"/>
                  <a:gd name="T66" fmla="*/ 4 w 194"/>
                  <a:gd name="T67" fmla="*/ 29 h 131"/>
                  <a:gd name="T68" fmla="*/ 6 w 194"/>
                  <a:gd name="T69" fmla="*/ 40 h 131"/>
                  <a:gd name="T70" fmla="*/ 26 w 194"/>
                  <a:gd name="T71" fmla="*/ 63 h 131"/>
                  <a:gd name="T72" fmla="*/ 10 w 194"/>
                  <a:gd name="T73" fmla="*/ 62 h 131"/>
                  <a:gd name="T74" fmla="*/ 9 w 194"/>
                  <a:gd name="T75" fmla="*/ 63 h 131"/>
                  <a:gd name="T76" fmla="*/ 12 w 194"/>
                  <a:gd name="T77" fmla="*/ 70 h 131"/>
                  <a:gd name="T78" fmla="*/ 24 w 194"/>
                  <a:gd name="T79" fmla="*/ 73 h 131"/>
                  <a:gd name="T80" fmla="*/ 50 w 194"/>
                  <a:gd name="T81" fmla="*/ 83 h 131"/>
                  <a:gd name="T82" fmla="*/ 65 w 194"/>
                  <a:gd name="T83" fmla="*/ 89 h 131"/>
                  <a:gd name="T84" fmla="*/ 86 w 194"/>
                  <a:gd name="T85" fmla="*/ 100 h 131"/>
                  <a:gd name="T86" fmla="*/ 94 w 194"/>
                  <a:gd name="T87" fmla="*/ 103 h 131"/>
                  <a:gd name="T88" fmla="*/ 117 w 194"/>
                  <a:gd name="T89" fmla="*/ 111 h 131"/>
                  <a:gd name="T90" fmla="*/ 151 w 194"/>
                  <a:gd name="T91" fmla="*/ 129 h 131"/>
                  <a:gd name="T92" fmla="*/ 169 w 194"/>
                  <a:gd name="T93" fmla="*/ 131 h 131"/>
                  <a:gd name="T94" fmla="*/ 175 w 194"/>
                  <a:gd name="T95" fmla="*/ 131 h 131"/>
                  <a:gd name="T96" fmla="*/ 188 w 194"/>
                  <a:gd name="T97" fmla="*/ 79 h 131"/>
                  <a:gd name="connsiteX0" fmla="*/ 9588 w 9659"/>
                  <a:gd name="connsiteY0" fmla="*/ 5958 h 9927"/>
                  <a:gd name="connsiteX1" fmla="*/ 9536 w 9659"/>
                  <a:gd name="connsiteY1" fmla="*/ 5652 h 9927"/>
                  <a:gd name="connsiteX2" fmla="*/ 9485 w 9659"/>
                  <a:gd name="connsiteY2" fmla="*/ 5576 h 9927"/>
                  <a:gd name="connsiteX3" fmla="*/ 9485 w 9659"/>
                  <a:gd name="connsiteY3" fmla="*/ 5500 h 9927"/>
                  <a:gd name="connsiteX4" fmla="*/ 9485 w 9659"/>
                  <a:gd name="connsiteY4" fmla="*/ 5576 h 9927"/>
                  <a:gd name="connsiteX5" fmla="*/ 9536 w 9659"/>
                  <a:gd name="connsiteY5" fmla="*/ 5576 h 9927"/>
                  <a:gd name="connsiteX6" fmla="*/ 8711 w 9659"/>
                  <a:gd name="connsiteY6" fmla="*/ 4354 h 9927"/>
                  <a:gd name="connsiteX7" fmla="*/ 7784 w 9659"/>
                  <a:gd name="connsiteY7" fmla="*/ 3667 h 9927"/>
                  <a:gd name="connsiteX8" fmla="*/ 6701 w 9659"/>
                  <a:gd name="connsiteY8" fmla="*/ 3667 h 9927"/>
                  <a:gd name="connsiteX9" fmla="*/ 6856 w 9659"/>
                  <a:gd name="connsiteY9" fmla="*/ 5042 h 9927"/>
                  <a:gd name="connsiteX10" fmla="*/ 6392 w 9659"/>
                  <a:gd name="connsiteY10" fmla="*/ 5042 h 9927"/>
                  <a:gd name="connsiteX11" fmla="*/ 5567 w 9659"/>
                  <a:gd name="connsiteY11" fmla="*/ 4583 h 9927"/>
                  <a:gd name="connsiteX12" fmla="*/ 4845 w 9659"/>
                  <a:gd name="connsiteY12" fmla="*/ 2904 h 9927"/>
                  <a:gd name="connsiteX13" fmla="*/ 4639 w 9659"/>
                  <a:gd name="connsiteY13" fmla="*/ 1835 h 9927"/>
                  <a:gd name="connsiteX14" fmla="*/ 4794 w 9659"/>
                  <a:gd name="connsiteY14" fmla="*/ 1530 h 9927"/>
                  <a:gd name="connsiteX15" fmla="*/ 4845 w 9659"/>
                  <a:gd name="connsiteY15" fmla="*/ 1072 h 9927"/>
                  <a:gd name="connsiteX16" fmla="*/ 4330 w 9659"/>
                  <a:gd name="connsiteY16" fmla="*/ 919 h 9927"/>
                  <a:gd name="connsiteX17" fmla="*/ 3763 w 9659"/>
                  <a:gd name="connsiteY17" fmla="*/ 1454 h 9927"/>
                  <a:gd name="connsiteX18" fmla="*/ 3711 w 9659"/>
                  <a:gd name="connsiteY18" fmla="*/ 1759 h 9927"/>
                  <a:gd name="connsiteX19" fmla="*/ 3711 w 9659"/>
                  <a:gd name="connsiteY19" fmla="*/ 3667 h 9927"/>
                  <a:gd name="connsiteX20" fmla="*/ 4536 w 9659"/>
                  <a:gd name="connsiteY20" fmla="*/ 5729 h 9927"/>
                  <a:gd name="connsiteX21" fmla="*/ 4588 w 9659"/>
                  <a:gd name="connsiteY21" fmla="*/ 5958 h 9927"/>
                  <a:gd name="connsiteX22" fmla="*/ 4536 w 9659"/>
                  <a:gd name="connsiteY22" fmla="*/ 5805 h 9927"/>
                  <a:gd name="connsiteX23" fmla="*/ 3299 w 9659"/>
                  <a:gd name="connsiteY23" fmla="*/ 3820 h 9927"/>
                  <a:gd name="connsiteX24" fmla="*/ 3041 w 9659"/>
                  <a:gd name="connsiteY24" fmla="*/ 2751 h 9927"/>
                  <a:gd name="connsiteX25" fmla="*/ 2887 w 9659"/>
                  <a:gd name="connsiteY25" fmla="*/ 1835 h 9927"/>
                  <a:gd name="connsiteX26" fmla="*/ 2887 w 9659"/>
                  <a:gd name="connsiteY26" fmla="*/ 1683 h 9927"/>
                  <a:gd name="connsiteX27" fmla="*/ 2577 w 9659"/>
                  <a:gd name="connsiteY27" fmla="*/ 3 h 9927"/>
                  <a:gd name="connsiteX28" fmla="*/ 2010 w 9659"/>
                  <a:gd name="connsiteY28" fmla="*/ 1988 h 9927"/>
                  <a:gd name="connsiteX29" fmla="*/ 2010 w 9659"/>
                  <a:gd name="connsiteY29" fmla="*/ 1988 h 9927"/>
                  <a:gd name="connsiteX30" fmla="*/ 2217 w 9659"/>
                  <a:gd name="connsiteY30" fmla="*/ 4202 h 9927"/>
                  <a:gd name="connsiteX31" fmla="*/ 1443 w 9659"/>
                  <a:gd name="connsiteY31" fmla="*/ 3362 h 9927"/>
                  <a:gd name="connsiteX32" fmla="*/ 704 w 9659"/>
                  <a:gd name="connsiteY32" fmla="*/ 1971 h 9927"/>
                  <a:gd name="connsiteX33" fmla="*/ 103 w 9659"/>
                  <a:gd name="connsiteY33" fmla="*/ 2141 h 9927"/>
                  <a:gd name="connsiteX34" fmla="*/ 206 w 9659"/>
                  <a:gd name="connsiteY34" fmla="*/ 2980 h 9927"/>
                  <a:gd name="connsiteX35" fmla="*/ 1237 w 9659"/>
                  <a:gd name="connsiteY35" fmla="*/ 4736 h 9927"/>
                  <a:gd name="connsiteX36" fmla="*/ 412 w 9659"/>
                  <a:gd name="connsiteY36" fmla="*/ 4660 h 9927"/>
                  <a:gd name="connsiteX37" fmla="*/ 361 w 9659"/>
                  <a:gd name="connsiteY37" fmla="*/ 4736 h 9927"/>
                  <a:gd name="connsiteX38" fmla="*/ 516 w 9659"/>
                  <a:gd name="connsiteY38" fmla="*/ 5271 h 9927"/>
                  <a:gd name="connsiteX39" fmla="*/ 1134 w 9659"/>
                  <a:gd name="connsiteY39" fmla="*/ 5500 h 9927"/>
                  <a:gd name="connsiteX40" fmla="*/ 2474 w 9659"/>
                  <a:gd name="connsiteY40" fmla="*/ 6263 h 9927"/>
                  <a:gd name="connsiteX41" fmla="*/ 3248 w 9659"/>
                  <a:gd name="connsiteY41" fmla="*/ 6721 h 9927"/>
                  <a:gd name="connsiteX42" fmla="*/ 4330 w 9659"/>
                  <a:gd name="connsiteY42" fmla="*/ 7561 h 9927"/>
                  <a:gd name="connsiteX43" fmla="*/ 4742 w 9659"/>
                  <a:gd name="connsiteY43" fmla="*/ 7790 h 9927"/>
                  <a:gd name="connsiteX44" fmla="*/ 5928 w 9659"/>
                  <a:gd name="connsiteY44" fmla="*/ 8400 h 9927"/>
                  <a:gd name="connsiteX45" fmla="*/ 7681 w 9659"/>
                  <a:gd name="connsiteY45" fmla="*/ 9774 h 9927"/>
                  <a:gd name="connsiteX46" fmla="*/ 8608 w 9659"/>
                  <a:gd name="connsiteY46" fmla="*/ 9927 h 9927"/>
                  <a:gd name="connsiteX47" fmla="*/ 8918 w 9659"/>
                  <a:gd name="connsiteY47" fmla="*/ 9927 h 9927"/>
                  <a:gd name="connsiteX48" fmla="*/ 9588 w 9659"/>
                  <a:gd name="connsiteY48" fmla="*/ 5958 h 9927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694 h 10000"/>
                  <a:gd name="connsiteX8" fmla="*/ 6938 w 10000"/>
                  <a:gd name="connsiteY8" fmla="*/ 3694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694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668 w 10000"/>
                  <a:gd name="connsiteY6" fmla="*/ 4293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409 w 10000"/>
                  <a:gd name="connsiteY6" fmla="*/ 4573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0000" h="10000">
                    <a:moveTo>
                      <a:pt x="9926" y="6002"/>
                    </a:moveTo>
                    <a:cubicBezTo>
                      <a:pt x="9926" y="5924"/>
                      <a:pt x="9926" y="5771"/>
                      <a:pt x="9873" y="5694"/>
                    </a:cubicBezTo>
                    <a:cubicBezTo>
                      <a:pt x="9873" y="5617"/>
                      <a:pt x="9873" y="5617"/>
                      <a:pt x="9820" y="5617"/>
                    </a:cubicBezTo>
                    <a:lnTo>
                      <a:pt x="9820" y="5540"/>
                    </a:lnTo>
                    <a:lnTo>
                      <a:pt x="9820" y="5617"/>
                    </a:lnTo>
                    <a:cubicBezTo>
                      <a:pt x="9838" y="5617"/>
                      <a:pt x="9941" y="5791"/>
                      <a:pt x="9873" y="5617"/>
                    </a:cubicBezTo>
                    <a:cubicBezTo>
                      <a:pt x="9805" y="5443"/>
                      <a:pt x="9711" y="4925"/>
                      <a:pt x="9409" y="4573"/>
                    </a:cubicBezTo>
                    <a:cubicBezTo>
                      <a:pt x="9107" y="4221"/>
                      <a:pt x="8752" y="4199"/>
                      <a:pt x="8059" y="3507"/>
                    </a:cubicBezTo>
                    <a:cubicBezTo>
                      <a:pt x="7364" y="2892"/>
                      <a:pt x="6514" y="3058"/>
                      <a:pt x="6354" y="3320"/>
                    </a:cubicBezTo>
                    <a:cubicBezTo>
                      <a:pt x="6194" y="3582"/>
                      <a:pt x="7054" y="4786"/>
                      <a:pt x="7098" y="5079"/>
                    </a:cubicBezTo>
                    <a:cubicBezTo>
                      <a:pt x="7142" y="5372"/>
                      <a:pt x="6778" y="5079"/>
                      <a:pt x="6618" y="5079"/>
                    </a:cubicBezTo>
                    <a:cubicBezTo>
                      <a:pt x="6298" y="5079"/>
                      <a:pt x="5977" y="4771"/>
                      <a:pt x="5764" y="4617"/>
                    </a:cubicBezTo>
                    <a:cubicBezTo>
                      <a:pt x="5657" y="4464"/>
                      <a:pt x="5542" y="3430"/>
                      <a:pt x="5275" y="2738"/>
                    </a:cubicBezTo>
                    <a:cubicBezTo>
                      <a:pt x="5168" y="2277"/>
                      <a:pt x="4855" y="2047"/>
                      <a:pt x="4803" y="1848"/>
                    </a:cubicBezTo>
                    <a:cubicBezTo>
                      <a:pt x="4751" y="1649"/>
                      <a:pt x="4909" y="1772"/>
                      <a:pt x="4963" y="1541"/>
                    </a:cubicBezTo>
                    <a:cubicBezTo>
                      <a:pt x="5016" y="1465"/>
                      <a:pt x="5016" y="1311"/>
                      <a:pt x="5016" y="1080"/>
                    </a:cubicBezTo>
                    <a:cubicBezTo>
                      <a:pt x="5016" y="1080"/>
                      <a:pt x="4909" y="464"/>
                      <a:pt x="4483" y="926"/>
                    </a:cubicBezTo>
                    <a:cubicBezTo>
                      <a:pt x="4483" y="926"/>
                      <a:pt x="3950" y="1234"/>
                      <a:pt x="3896" y="1465"/>
                    </a:cubicBezTo>
                    <a:cubicBezTo>
                      <a:pt x="3896" y="1541"/>
                      <a:pt x="3842" y="1618"/>
                      <a:pt x="3842" y="1772"/>
                    </a:cubicBezTo>
                    <a:cubicBezTo>
                      <a:pt x="3735" y="2157"/>
                      <a:pt x="3629" y="2925"/>
                      <a:pt x="3842" y="3694"/>
                    </a:cubicBezTo>
                    <a:cubicBezTo>
                      <a:pt x="4056" y="4540"/>
                      <a:pt x="4429" y="5156"/>
                      <a:pt x="4696" y="5771"/>
                    </a:cubicBezTo>
                    <a:cubicBezTo>
                      <a:pt x="4696" y="5848"/>
                      <a:pt x="4750" y="5924"/>
                      <a:pt x="4750" y="6002"/>
                    </a:cubicBezTo>
                    <a:cubicBezTo>
                      <a:pt x="4750" y="6002"/>
                      <a:pt x="4696" y="5924"/>
                      <a:pt x="4696" y="5848"/>
                    </a:cubicBezTo>
                    <a:cubicBezTo>
                      <a:pt x="4429" y="5463"/>
                      <a:pt x="3629" y="4079"/>
                      <a:pt x="3415" y="3848"/>
                    </a:cubicBezTo>
                    <a:cubicBezTo>
                      <a:pt x="3415" y="3848"/>
                      <a:pt x="3202" y="3772"/>
                      <a:pt x="3148" y="2771"/>
                    </a:cubicBezTo>
                    <a:cubicBezTo>
                      <a:pt x="3148" y="2771"/>
                      <a:pt x="2989" y="2233"/>
                      <a:pt x="2989" y="1848"/>
                    </a:cubicBezTo>
                    <a:cubicBezTo>
                      <a:pt x="2935" y="1772"/>
                      <a:pt x="2935" y="1772"/>
                      <a:pt x="2989" y="1695"/>
                    </a:cubicBezTo>
                    <a:cubicBezTo>
                      <a:pt x="2989" y="1387"/>
                      <a:pt x="3255" y="-74"/>
                      <a:pt x="2668" y="3"/>
                    </a:cubicBezTo>
                    <a:cubicBezTo>
                      <a:pt x="2668" y="3"/>
                      <a:pt x="2295" y="388"/>
                      <a:pt x="2081" y="2003"/>
                    </a:cubicBezTo>
                    <a:lnTo>
                      <a:pt x="2081" y="2003"/>
                    </a:lnTo>
                    <a:cubicBezTo>
                      <a:pt x="2081" y="2003"/>
                      <a:pt x="1922" y="2771"/>
                      <a:pt x="2295" y="4233"/>
                    </a:cubicBezTo>
                    <a:cubicBezTo>
                      <a:pt x="2295" y="4233"/>
                      <a:pt x="1494" y="3541"/>
                      <a:pt x="1494" y="3387"/>
                    </a:cubicBezTo>
                    <a:cubicBezTo>
                      <a:pt x="1441" y="3233"/>
                      <a:pt x="1102" y="2140"/>
                      <a:pt x="729" y="1985"/>
                    </a:cubicBezTo>
                    <a:cubicBezTo>
                      <a:pt x="568" y="1985"/>
                      <a:pt x="267" y="2157"/>
                      <a:pt x="107" y="2157"/>
                    </a:cubicBezTo>
                    <a:cubicBezTo>
                      <a:pt x="0" y="2233"/>
                      <a:pt x="-107" y="2464"/>
                      <a:pt x="213" y="3002"/>
                    </a:cubicBezTo>
                    <a:cubicBezTo>
                      <a:pt x="213" y="3002"/>
                      <a:pt x="1174" y="4617"/>
                      <a:pt x="1281" y="4771"/>
                    </a:cubicBezTo>
                    <a:cubicBezTo>
                      <a:pt x="1281" y="4771"/>
                      <a:pt x="587" y="4540"/>
                      <a:pt x="427" y="4694"/>
                    </a:cubicBezTo>
                    <a:lnTo>
                      <a:pt x="374" y="4771"/>
                    </a:lnTo>
                    <a:cubicBezTo>
                      <a:pt x="213" y="4925"/>
                      <a:pt x="54" y="5232"/>
                      <a:pt x="534" y="5310"/>
                    </a:cubicBezTo>
                    <a:cubicBezTo>
                      <a:pt x="747" y="5310"/>
                      <a:pt x="961" y="5386"/>
                      <a:pt x="1174" y="5540"/>
                    </a:cubicBezTo>
                    <a:cubicBezTo>
                      <a:pt x="1494" y="5771"/>
                      <a:pt x="1868" y="6078"/>
                      <a:pt x="2561" y="6309"/>
                    </a:cubicBezTo>
                    <a:cubicBezTo>
                      <a:pt x="2561" y="6309"/>
                      <a:pt x="2882" y="6616"/>
                      <a:pt x="3363" y="6770"/>
                    </a:cubicBezTo>
                    <a:cubicBezTo>
                      <a:pt x="3363" y="6770"/>
                      <a:pt x="3896" y="7232"/>
                      <a:pt x="4483" y="7617"/>
                    </a:cubicBezTo>
                    <a:cubicBezTo>
                      <a:pt x="4643" y="7693"/>
                      <a:pt x="4803" y="7770"/>
                      <a:pt x="4909" y="7847"/>
                    </a:cubicBezTo>
                    <a:cubicBezTo>
                      <a:pt x="4909" y="7847"/>
                      <a:pt x="5870" y="8309"/>
                      <a:pt x="6137" y="8462"/>
                    </a:cubicBezTo>
                    <a:cubicBezTo>
                      <a:pt x="6404" y="8616"/>
                      <a:pt x="7898" y="9693"/>
                      <a:pt x="7952" y="9846"/>
                    </a:cubicBezTo>
                    <a:cubicBezTo>
                      <a:pt x="7952" y="9846"/>
                      <a:pt x="8539" y="10000"/>
                      <a:pt x="8912" y="10000"/>
                    </a:cubicBezTo>
                    <a:lnTo>
                      <a:pt x="9233" y="10000"/>
                    </a:lnTo>
                    <a:cubicBezTo>
                      <a:pt x="9446" y="9769"/>
                      <a:pt x="10246" y="8309"/>
                      <a:pt x="9926" y="6002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131">
                <a:extLst>
                  <a:ext uri="{FF2B5EF4-FFF2-40B4-BE49-F238E27FC236}">
                    <a16:creationId xmlns:a16="http://schemas.microsoft.com/office/drawing/2014/main" id="{8EE1C5E1-D248-469D-909A-AEB9A6CB92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71900" y="2713038"/>
                <a:ext cx="228600" cy="269875"/>
              </a:xfrm>
              <a:custGeom>
                <a:avLst/>
                <a:gdLst>
                  <a:gd name="T0" fmla="*/ 47 w 61"/>
                  <a:gd name="T1" fmla="*/ 2 h 72"/>
                  <a:gd name="T2" fmla="*/ 45 w 61"/>
                  <a:gd name="T3" fmla="*/ 0 h 72"/>
                  <a:gd name="T4" fmla="*/ 45 w 61"/>
                  <a:gd name="T5" fmla="*/ 1 h 72"/>
                  <a:gd name="T6" fmla="*/ 46 w 61"/>
                  <a:gd name="T7" fmla="*/ 5 h 72"/>
                  <a:gd name="T8" fmla="*/ 33 w 61"/>
                  <a:gd name="T9" fmla="*/ 57 h 72"/>
                  <a:gd name="T10" fmla="*/ 27 w 61"/>
                  <a:gd name="T11" fmla="*/ 57 h 72"/>
                  <a:gd name="T12" fmla="*/ 9 w 61"/>
                  <a:gd name="T13" fmla="*/ 55 h 72"/>
                  <a:gd name="T14" fmla="*/ 10 w 61"/>
                  <a:gd name="T15" fmla="*/ 68 h 72"/>
                  <a:gd name="T16" fmla="*/ 11 w 61"/>
                  <a:gd name="T17" fmla="*/ 68 h 72"/>
                  <a:gd name="T18" fmla="*/ 50 w 61"/>
                  <a:gd name="T19" fmla="*/ 71 h 72"/>
                  <a:gd name="T20" fmla="*/ 55 w 61"/>
                  <a:gd name="T21" fmla="*/ 56 h 72"/>
                  <a:gd name="T22" fmla="*/ 47 w 61"/>
                  <a:gd name="T23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72">
                    <a:moveTo>
                      <a:pt x="47" y="2"/>
                    </a:moveTo>
                    <a:cubicBezTo>
                      <a:pt x="46" y="1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1"/>
                    </a:cubicBezTo>
                    <a:cubicBezTo>
                      <a:pt x="46" y="2"/>
                      <a:pt x="46" y="5"/>
                      <a:pt x="46" y="5"/>
                    </a:cubicBezTo>
                    <a:cubicBezTo>
                      <a:pt x="52" y="31"/>
                      <a:pt x="38" y="54"/>
                      <a:pt x="33" y="57"/>
                    </a:cubicBezTo>
                    <a:cubicBezTo>
                      <a:pt x="32" y="57"/>
                      <a:pt x="30" y="57"/>
                      <a:pt x="27" y="57"/>
                    </a:cubicBezTo>
                    <a:cubicBezTo>
                      <a:pt x="20" y="58"/>
                      <a:pt x="9" y="55"/>
                      <a:pt x="9" y="55"/>
                    </a:cubicBezTo>
                    <a:cubicBezTo>
                      <a:pt x="0" y="55"/>
                      <a:pt x="3" y="66"/>
                      <a:pt x="10" y="68"/>
                    </a:cubicBezTo>
                    <a:cubicBezTo>
                      <a:pt x="10" y="68"/>
                      <a:pt x="11" y="68"/>
                      <a:pt x="11" y="68"/>
                    </a:cubicBezTo>
                    <a:cubicBezTo>
                      <a:pt x="20" y="70"/>
                      <a:pt x="45" y="72"/>
                      <a:pt x="50" y="71"/>
                    </a:cubicBezTo>
                    <a:cubicBezTo>
                      <a:pt x="54" y="69"/>
                      <a:pt x="55" y="56"/>
                      <a:pt x="55" y="56"/>
                    </a:cubicBezTo>
                    <a:cubicBezTo>
                      <a:pt x="61" y="21"/>
                      <a:pt x="52" y="7"/>
                      <a:pt x="47" y="2"/>
                    </a:cubicBezTo>
                    <a:close/>
                  </a:path>
                </a:pathLst>
              </a:custGeom>
              <a:solidFill>
                <a:srgbClr val="D7D7D7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32">
                <a:extLst>
                  <a:ext uri="{FF2B5EF4-FFF2-40B4-BE49-F238E27FC236}">
                    <a16:creationId xmlns:a16="http://schemas.microsoft.com/office/drawing/2014/main" id="{1EF26D45-61AF-4E42-8F91-287115BBA5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3500" y="2927350"/>
                <a:ext cx="22225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133">
                <a:extLst>
                  <a:ext uri="{FF2B5EF4-FFF2-40B4-BE49-F238E27FC236}">
                    <a16:creationId xmlns:a16="http://schemas.microsoft.com/office/drawing/2014/main" id="{94690D6E-BBB9-43E7-A984-3443A1DFC5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7000" y="2713038"/>
                <a:ext cx="3175" cy="4763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34">
                <a:extLst>
                  <a:ext uri="{FF2B5EF4-FFF2-40B4-BE49-F238E27FC236}">
                    <a16:creationId xmlns:a16="http://schemas.microsoft.com/office/drawing/2014/main" id="{562C56D3-E5CD-42E1-ABB8-857A3EBD96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7000" y="270986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135">
                <a:extLst>
                  <a:ext uri="{FF2B5EF4-FFF2-40B4-BE49-F238E27FC236}">
                    <a16:creationId xmlns:a16="http://schemas.microsoft.com/office/drawing/2014/main" id="{A61E57A5-1184-4127-8641-EA63664595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100" y="6299200"/>
                <a:ext cx="690563" cy="179388"/>
              </a:xfrm>
              <a:custGeom>
                <a:avLst/>
                <a:gdLst>
                  <a:gd name="T0" fmla="*/ 4 w 184"/>
                  <a:gd name="T1" fmla="*/ 16 h 48"/>
                  <a:gd name="T2" fmla="*/ 34 w 184"/>
                  <a:gd name="T3" fmla="*/ 28 h 48"/>
                  <a:gd name="T4" fmla="*/ 119 w 184"/>
                  <a:gd name="T5" fmla="*/ 22 h 48"/>
                  <a:gd name="T6" fmla="*/ 174 w 184"/>
                  <a:gd name="T7" fmla="*/ 0 h 48"/>
                  <a:gd name="T8" fmla="*/ 184 w 184"/>
                  <a:gd name="T9" fmla="*/ 1 h 48"/>
                  <a:gd name="T10" fmla="*/ 153 w 184"/>
                  <a:gd name="T11" fmla="*/ 18 h 48"/>
                  <a:gd name="T12" fmla="*/ 59 w 184"/>
                  <a:gd name="T13" fmla="*/ 42 h 48"/>
                  <a:gd name="T14" fmla="*/ 4 w 184"/>
                  <a:gd name="T15" fmla="*/ 1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48">
                    <a:moveTo>
                      <a:pt x="4" y="16"/>
                    </a:moveTo>
                    <a:cubicBezTo>
                      <a:pt x="4" y="16"/>
                      <a:pt x="9" y="24"/>
                      <a:pt x="34" y="28"/>
                    </a:cubicBezTo>
                    <a:cubicBezTo>
                      <a:pt x="59" y="32"/>
                      <a:pt x="108" y="28"/>
                      <a:pt x="119" y="22"/>
                    </a:cubicBezTo>
                    <a:cubicBezTo>
                      <a:pt x="131" y="16"/>
                      <a:pt x="168" y="0"/>
                      <a:pt x="174" y="0"/>
                    </a:cubicBezTo>
                    <a:cubicBezTo>
                      <a:pt x="180" y="0"/>
                      <a:pt x="184" y="1"/>
                      <a:pt x="184" y="1"/>
                    </a:cubicBezTo>
                    <a:cubicBezTo>
                      <a:pt x="184" y="1"/>
                      <a:pt x="165" y="12"/>
                      <a:pt x="153" y="18"/>
                    </a:cubicBezTo>
                    <a:cubicBezTo>
                      <a:pt x="141" y="24"/>
                      <a:pt x="108" y="41"/>
                      <a:pt x="59" y="42"/>
                    </a:cubicBezTo>
                    <a:cubicBezTo>
                      <a:pt x="59" y="42"/>
                      <a:pt x="0" y="48"/>
                      <a:pt x="4" y="16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136">
                <a:extLst>
                  <a:ext uri="{FF2B5EF4-FFF2-40B4-BE49-F238E27FC236}">
                    <a16:creationId xmlns:a16="http://schemas.microsoft.com/office/drawing/2014/main" id="{B1B82358-2360-4DF6-8DD0-FDB137C017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67088" y="6230938"/>
                <a:ext cx="209550" cy="120650"/>
              </a:xfrm>
              <a:custGeom>
                <a:avLst/>
                <a:gdLst>
                  <a:gd name="T0" fmla="*/ 50 w 56"/>
                  <a:gd name="T1" fmla="*/ 1 h 32"/>
                  <a:gd name="T2" fmla="*/ 54 w 56"/>
                  <a:gd name="T3" fmla="*/ 13 h 32"/>
                  <a:gd name="T4" fmla="*/ 38 w 56"/>
                  <a:gd name="T5" fmla="*/ 27 h 32"/>
                  <a:gd name="T6" fmla="*/ 5 w 56"/>
                  <a:gd name="T7" fmla="*/ 31 h 32"/>
                  <a:gd name="T8" fmla="*/ 28 w 56"/>
                  <a:gd name="T9" fmla="*/ 17 h 32"/>
                  <a:gd name="T10" fmla="*/ 50 w 56"/>
                  <a:gd name="T1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" h="32">
                    <a:moveTo>
                      <a:pt x="50" y="1"/>
                    </a:moveTo>
                    <a:cubicBezTo>
                      <a:pt x="50" y="1"/>
                      <a:pt x="56" y="10"/>
                      <a:pt x="54" y="13"/>
                    </a:cubicBezTo>
                    <a:cubicBezTo>
                      <a:pt x="53" y="17"/>
                      <a:pt x="46" y="27"/>
                      <a:pt x="38" y="27"/>
                    </a:cubicBezTo>
                    <a:cubicBezTo>
                      <a:pt x="29" y="27"/>
                      <a:pt x="10" y="32"/>
                      <a:pt x="5" y="31"/>
                    </a:cubicBezTo>
                    <a:cubicBezTo>
                      <a:pt x="0" y="31"/>
                      <a:pt x="21" y="22"/>
                      <a:pt x="28" y="17"/>
                    </a:cubicBezTo>
                    <a:cubicBezTo>
                      <a:pt x="36" y="13"/>
                      <a:pt x="47" y="0"/>
                      <a:pt x="50" y="1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37">
                <a:extLst>
                  <a:ext uri="{FF2B5EF4-FFF2-40B4-BE49-F238E27FC236}">
                    <a16:creationId xmlns:a16="http://schemas.microsoft.com/office/drawing/2014/main" id="{5FE3FA1B-1691-4A43-8705-FDC844559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6399213"/>
                <a:ext cx="509588" cy="352425"/>
              </a:xfrm>
              <a:custGeom>
                <a:avLst/>
                <a:gdLst>
                  <a:gd name="T0" fmla="*/ 132 w 136"/>
                  <a:gd name="T1" fmla="*/ 0 h 94"/>
                  <a:gd name="T2" fmla="*/ 122 w 136"/>
                  <a:gd name="T3" fmla="*/ 38 h 94"/>
                  <a:gd name="T4" fmla="*/ 66 w 136"/>
                  <a:gd name="T5" fmla="*/ 75 h 94"/>
                  <a:gd name="T6" fmla="*/ 10 w 136"/>
                  <a:gd name="T7" fmla="*/ 69 h 94"/>
                  <a:gd name="T8" fmla="*/ 70 w 136"/>
                  <a:gd name="T9" fmla="*/ 84 h 94"/>
                  <a:gd name="T10" fmla="*/ 128 w 136"/>
                  <a:gd name="T11" fmla="*/ 41 h 94"/>
                  <a:gd name="T12" fmla="*/ 132 w 136"/>
                  <a:gd name="T1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6" h="94">
                    <a:moveTo>
                      <a:pt x="132" y="0"/>
                    </a:moveTo>
                    <a:cubicBezTo>
                      <a:pt x="132" y="0"/>
                      <a:pt x="125" y="34"/>
                      <a:pt x="122" y="38"/>
                    </a:cubicBezTo>
                    <a:cubicBezTo>
                      <a:pt x="118" y="42"/>
                      <a:pt x="75" y="72"/>
                      <a:pt x="66" y="75"/>
                    </a:cubicBezTo>
                    <a:cubicBezTo>
                      <a:pt x="58" y="78"/>
                      <a:pt x="10" y="73"/>
                      <a:pt x="10" y="69"/>
                    </a:cubicBezTo>
                    <a:cubicBezTo>
                      <a:pt x="11" y="65"/>
                      <a:pt x="0" y="94"/>
                      <a:pt x="70" y="84"/>
                    </a:cubicBezTo>
                    <a:cubicBezTo>
                      <a:pt x="70" y="84"/>
                      <a:pt x="103" y="74"/>
                      <a:pt x="128" y="41"/>
                    </a:cubicBezTo>
                    <a:cubicBezTo>
                      <a:pt x="128" y="41"/>
                      <a:pt x="136" y="18"/>
                      <a:pt x="132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138">
                <a:extLst>
                  <a:ext uri="{FF2B5EF4-FFF2-40B4-BE49-F238E27FC236}">
                    <a16:creationId xmlns:a16="http://schemas.microsoft.com/office/drawing/2014/main" id="{F2FB71E0-434E-4190-A537-2298CC6AE4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3550" y="6407150"/>
                <a:ext cx="258763" cy="104775"/>
              </a:xfrm>
              <a:custGeom>
                <a:avLst/>
                <a:gdLst>
                  <a:gd name="T0" fmla="*/ 58 w 69"/>
                  <a:gd name="T1" fmla="*/ 6 h 28"/>
                  <a:gd name="T2" fmla="*/ 64 w 69"/>
                  <a:gd name="T3" fmla="*/ 22 h 28"/>
                  <a:gd name="T4" fmla="*/ 28 w 69"/>
                  <a:gd name="T5" fmla="*/ 24 h 28"/>
                  <a:gd name="T6" fmla="*/ 8 w 69"/>
                  <a:gd name="T7" fmla="*/ 22 h 28"/>
                  <a:gd name="T8" fmla="*/ 34 w 69"/>
                  <a:gd name="T9" fmla="*/ 15 h 28"/>
                  <a:gd name="T10" fmla="*/ 8 w 69"/>
                  <a:gd name="T11" fmla="*/ 14 h 28"/>
                  <a:gd name="T12" fmla="*/ 15 w 69"/>
                  <a:gd name="T13" fmla="*/ 4 h 28"/>
                  <a:gd name="T14" fmla="*/ 58 w 69"/>
                  <a:gd name="T15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28">
                    <a:moveTo>
                      <a:pt x="58" y="6"/>
                    </a:moveTo>
                    <a:cubicBezTo>
                      <a:pt x="58" y="6"/>
                      <a:pt x="69" y="18"/>
                      <a:pt x="64" y="22"/>
                    </a:cubicBezTo>
                    <a:cubicBezTo>
                      <a:pt x="58" y="25"/>
                      <a:pt x="42" y="21"/>
                      <a:pt x="28" y="24"/>
                    </a:cubicBezTo>
                    <a:cubicBezTo>
                      <a:pt x="14" y="26"/>
                      <a:pt x="0" y="28"/>
                      <a:pt x="8" y="22"/>
                    </a:cubicBezTo>
                    <a:cubicBezTo>
                      <a:pt x="16" y="17"/>
                      <a:pt x="33" y="18"/>
                      <a:pt x="34" y="15"/>
                    </a:cubicBezTo>
                    <a:cubicBezTo>
                      <a:pt x="36" y="12"/>
                      <a:pt x="10" y="12"/>
                      <a:pt x="8" y="14"/>
                    </a:cubicBezTo>
                    <a:cubicBezTo>
                      <a:pt x="6" y="16"/>
                      <a:pt x="10" y="0"/>
                      <a:pt x="15" y="4"/>
                    </a:cubicBezTo>
                    <a:cubicBezTo>
                      <a:pt x="20" y="7"/>
                      <a:pt x="53" y="6"/>
                      <a:pt x="58" y="6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139">
                <a:extLst>
                  <a:ext uri="{FF2B5EF4-FFF2-40B4-BE49-F238E27FC236}">
                    <a16:creationId xmlns:a16="http://schemas.microsoft.com/office/drawing/2014/main" id="{20DB3A40-FFBC-49D3-953B-FAC50465B20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3638" y="3998913"/>
                <a:ext cx="577850" cy="2273300"/>
              </a:xfrm>
              <a:custGeom>
                <a:avLst/>
                <a:gdLst>
                  <a:gd name="T0" fmla="*/ 154 w 154"/>
                  <a:gd name="T1" fmla="*/ 220 h 606"/>
                  <a:gd name="T2" fmla="*/ 123 w 154"/>
                  <a:gd name="T3" fmla="*/ 112 h 606"/>
                  <a:gd name="T4" fmla="*/ 95 w 154"/>
                  <a:gd name="T5" fmla="*/ 29 h 606"/>
                  <a:gd name="T6" fmla="*/ 72 w 154"/>
                  <a:gd name="T7" fmla="*/ 8 h 606"/>
                  <a:gd name="T8" fmla="*/ 32 w 154"/>
                  <a:gd name="T9" fmla="*/ 14 h 606"/>
                  <a:gd name="T10" fmla="*/ 59 w 154"/>
                  <a:gd name="T11" fmla="*/ 18 h 606"/>
                  <a:gd name="T12" fmla="*/ 65 w 154"/>
                  <a:gd name="T13" fmla="*/ 30 h 606"/>
                  <a:gd name="T14" fmla="*/ 28 w 154"/>
                  <a:gd name="T15" fmla="*/ 45 h 606"/>
                  <a:gd name="T16" fmla="*/ 78 w 154"/>
                  <a:gd name="T17" fmla="*/ 39 h 606"/>
                  <a:gd name="T18" fmla="*/ 73 w 154"/>
                  <a:gd name="T19" fmla="*/ 81 h 606"/>
                  <a:gd name="T20" fmla="*/ 18 w 154"/>
                  <a:gd name="T21" fmla="*/ 126 h 606"/>
                  <a:gd name="T22" fmla="*/ 77 w 154"/>
                  <a:gd name="T23" fmla="*/ 101 h 606"/>
                  <a:gd name="T24" fmla="*/ 81 w 154"/>
                  <a:gd name="T25" fmla="*/ 114 h 606"/>
                  <a:gd name="T26" fmla="*/ 43 w 154"/>
                  <a:gd name="T27" fmla="*/ 135 h 606"/>
                  <a:gd name="T28" fmla="*/ 75 w 154"/>
                  <a:gd name="T29" fmla="*/ 127 h 606"/>
                  <a:gd name="T30" fmla="*/ 80 w 154"/>
                  <a:gd name="T31" fmla="*/ 172 h 606"/>
                  <a:gd name="T32" fmla="*/ 82 w 154"/>
                  <a:gd name="T33" fmla="*/ 236 h 606"/>
                  <a:gd name="T34" fmla="*/ 105 w 154"/>
                  <a:gd name="T35" fmla="*/ 307 h 606"/>
                  <a:gd name="T36" fmla="*/ 114 w 154"/>
                  <a:gd name="T37" fmla="*/ 494 h 606"/>
                  <a:gd name="T38" fmla="*/ 115 w 154"/>
                  <a:gd name="T39" fmla="*/ 604 h 606"/>
                  <a:gd name="T40" fmla="*/ 128 w 154"/>
                  <a:gd name="T41" fmla="*/ 591 h 606"/>
                  <a:gd name="T42" fmla="*/ 154 w 154"/>
                  <a:gd name="T43" fmla="*/ 220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4" h="606">
                    <a:moveTo>
                      <a:pt x="154" y="220"/>
                    </a:moveTo>
                    <a:cubicBezTo>
                      <a:pt x="154" y="220"/>
                      <a:pt x="130" y="126"/>
                      <a:pt x="123" y="112"/>
                    </a:cubicBezTo>
                    <a:cubicBezTo>
                      <a:pt x="116" y="98"/>
                      <a:pt x="100" y="32"/>
                      <a:pt x="95" y="29"/>
                    </a:cubicBezTo>
                    <a:cubicBezTo>
                      <a:pt x="90" y="26"/>
                      <a:pt x="73" y="16"/>
                      <a:pt x="72" y="8"/>
                    </a:cubicBezTo>
                    <a:cubicBezTo>
                      <a:pt x="71" y="0"/>
                      <a:pt x="45" y="14"/>
                      <a:pt x="32" y="14"/>
                    </a:cubicBezTo>
                    <a:cubicBezTo>
                      <a:pt x="19" y="14"/>
                      <a:pt x="50" y="17"/>
                      <a:pt x="59" y="18"/>
                    </a:cubicBezTo>
                    <a:cubicBezTo>
                      <a:pt x="68" y="19"/>
                      <a:pt x="70" y="27"/>
                      <a:pt x="65" y="30"/>
                    </a:cubicBezTo>
                    <a:cubicBezTo>
                      <a:pt x="60" y="33"/>
                      <a:pt x="41" y="42"/>
                      <a:pt x="28" y="45"/>
                    </a:cubicBezTo>
                    <a:cubicBezTo>
                      <a:pt x="28" y="45"/>
                      <a:pt x="0" y="60"/>
                      <a:pt x="78" y="39"/>
                    </a:cubicBezTo>
                    <a:cubicBezTo>
                      <a:pt x="78" y="39"/>
                      <a:pt x="106" y="58"/>
                      <a:pt x="73" y="81"/>
                    </a:cubicBezTo>
                    <a:cubicBezTo>
                      <a:pt x="73" y="81"/>
                      <a:pt x="22" y="121"/>
                      <a:pt x="18" y="126"/>
                    </a:cubicBezTo>
                    <a:cubicBezTo>
                      <a:pt x="14" y="131"/>
                      <a:pt x="56" y="107"/>
                      <a:pt x="77" y="101"/>
                    </a:cubicBezTo>
                    <a:cubicBezTo>
                      <a:pt x="98" y="95"/>
                      <a:pt x="87" y="111"/>
                      <a:pt x="81" y="114"/>
                    </a:cubicBezTo>
                    <a:cubicBezTo>
                      <a:pt x="75" y="117"/>
                      <a:pt x="48" y="131"/>
                      <a:pt x="43" y="135"/>
                    </a:cubicBezTo>
                    <a:cubicBezTo>
                      <a:pt x="38" y="139"/>
                      <a:pt x="65" y="130"/>
                      <a:pt x="75" y="127"/>
                    </a:cubicBezTo>
                    <a:cubicBezTo>
                      <a:pt x="85" y="124"/>
                      <a:pt x="81" y="155"/>
                      <a:pt x="80" y="172"/>
                    </a:cubicBezTo>
                    <a:cubicBezTo>
                      <a:pt x="78" y="190"/>
                      <a:pt x="79" y="223"/>
                      <a:pt x="82" y="236"/>
                    </a:cubicBezTo>
                    <a:cubicBezTo>
                      <a:pt x="84" y="248"/>
                      <a:pt x="104" y="289"/>
                      <a:pt x="105" y="307"/>
                    </a:cubicBezTo>
                    <a:cubicBezTo>
                      <a:pt x="105" y="326"/>
                      <a:pt x="114" y="478"/>
                      <a:pt x="114" y="494"/>
                    </a:cubicBezTo>
                    <a:cubicBezTo>
                      <a:pt x="114" y="511"/>
                      <a:pt x="116" y="601"/>
                      <a:pt x="115" y="604"/>
                    </a:cubicBezTo>
                    <a:cubicBezTo>
                      <a:pt x="113" y="606"/>
                      <a:pt x="128" y="599"/>
                      <a:pt x="128" y="591"/>
                    </a:cubicBezTo>
                    <a:cubicBezTo>
                      <a:pt x="129" y="582"/>
                      <a:pt x="145" y="226"/>
                      <a:pt x="154" y="220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140">
                <a:extLst>
                  <a:ext uri="{FF2B5EF4-FFF2-40B4-BE49-F238E27FC236}">
                    <a16:creationId xmlns:a16="http://schemas.microsoft.com/office/drawing/2014/main" id="{D1ADF52C-E702-478B-A955-13373EEB3F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2882" y="4079640"/>
                <a:ext cx="557613" cy="826536"/>
              </a:xfrm>
              <a:custGeom>
                <a:avLst/>
                <a:gdLst>
                  <a:gd name="T0" fmla="*/ 0 w 151"/>
                  <a:gd name="T1" fmla="*/ 12 h 217"/>
                  <a:gd name="T2" fmla="*/ 11 w 151"/>
                  <a:gd name="T3" fmla="*/ 144 h 217"/>
                  <a:gd name="T4" fmla="*/ 15 w 151"/>
                  <a:gd name="T5" fmla="*/ 217 h 217"/>
                  <a:gd name="T6" fmla="*/ 30 w 151"/>
                  <a:gd name="T7" fmla="*/ 155 h 217"/>
                  <a:gd name="T8" fmla="*/ 26 w 151"/>
                  <a:gd name="T9" fmla="*/ 103 h 217"/>
                  <a:gd name="T10" fmla="*/ 24 w 151"/>
                  <a:gd name="T11" fmla="*/ 71 h 217"/>
                  <a:gd name="T12" fmla="*/ 28 w 151"/>
                  <a:gd name="T13" fmla="*/ 36 h 217"/>
                  <a:gd name="T14" fmla="*/ 151 w 151"/>
                  <a:gd name="T15" fmla="*/ 0 h 217"/>
                  <a:gd name="T16" fmla="*/ 0 w 151"/>
                  <a:gd name="T17" fmla="*/ 12 h 217"/>
                  <a:gd name="connsiteX0" fmla="*/ 0 w 9839"/>
                  <a:gd name="connsiteY0" fmla="*/ 778 h 10000"/>
                  <a:gd name="connsiteX1" fmla="*/ 567 w 9839"/>
                  <a:gd name="connsiteY1" fmla="*/ 6636 h 10000"/>
                  <a:gd name="connsiteX2" fmla="*/ 832 w 9839"/>
                  <a:gd name="connsiteY2" fmla="*/ 10000 h 10000"/>
                  <a:gd name="connsiteX3" fmla="*/ 1826 w 9839"/>
                  <a:gd name="connsiteY3" fmla="*/ 7143 h 10000"/>
                  <a:gd name="connsiteX4" fmla="*/ 1561 w 9839"/>
                  <a:gd name="connsiteY4" fmla="*/ 4747 h 10000"/>
                  <a:gd name="connsiteX5" fmla="*/ 1428 w 9839"/>
                  <a:gd name="connsiteY5" fmla="*/ 3272 h 10000"/>
                  <a:gd name="connsiteX6" fmla="*/ 1693 w 9839"/>
                  <a:gd name="connsiteY6" fmla="*/ 1659 h 10000"/>
                  <a:gd name="connsiteX7" fmla="*/ 9839 w 9839"/>
                  <a:gd name="connsiteY7" fmla="*/ 0 h 10000"/>
                  <a:gd name="connsiteX8" fmla="*/ 0 w 9839"/>
                  <a:gd name="connsiteY8" fmla="*/ 778 h 10000"/>
                  <a:gd name="connsiteX0" fmla="*/ 0 w 10000"/>
                  <a:gd name="connsiteY0" fmla="*/ 947 h 10169"/>
                  <a:gd name="connsiteX1" fmla="*/ 576 w 10000"/>
                  <a:gd name="connsiteY1" fmla="*/ 6805 h 10169"/>
                  <a:gd name="connsiteX2" fmla="*/ 846 w 10000"/>
                  <a:gd name="connsiteY2" fmla="*/ 10169 h 10169"/>
                  <a:gd name="connsiteX3" fmla="*/ 1856 w 10000"/>
                  <a:gd name="connsiteY3" fmla="*/ 7312 h 10169"/>
                  <a:gd name="connsiteX4" fmla="*/ 1587 w 10000"/>
                  <a:gd name="connsiteY4" fmla="*/ 4916 h 10169"/>
                  <a:gd name="connsiteX5" fmla="*/ 1451 w 10000"/>
                  <a:gd name="connsiteY5" fmla="*/ 3441 h 10169"/>
                  <a:gd name="connsiteX6" fmla="*/ 1721 w 10000"/>
                  <a:gd name="connsiteY6" fmla="*/ 1828 h 10169"/>
                  <a:gd name="connsiteX7" fmla="*/ 10000 w 10000"/>
                  <a:gd name="connsiteY7" fmla="*/ 0 h 10169"/>
                  <a:gd name="connsiteX8" fmla="*/ 0 w 10000"/>
                  <a:gd name="connsiteY8" fmla="*/ 947 h 10169"/>
                  <a:gd name="connsiteX0" fmla="*/ 0 w 10000"/>
                  <a:gd name="connsiteY0" fmla="*/ 835 h 10169"/>
                  <a:gd name="connsiteX1" fmla="*/ 576 w 10000"/>
                  <a:gd name="connsiteY1" fmla="*/ 6805 h 10169"/>
                  <a:gd name="connsiteX2" fmla="*/ 846 w 10000"/>
                  <a:gd name="connsiteY2" fmla="*/ 10169 h 10169"/>
                  <a:gd name="connsiteX3" fmla="*/ 1856 w 10000"/>
                  <a:gd name="connsiteY3" fmla="*/ 7312 h 10169"/>
                  <a:gd name="connsiteX4" fmla="*/ 1587 w 10000"/>
                  <a:gd name="connsiteY4" fmla="*/ 4916 h 10169"/>
                  <a:gd name="connsiteX5" fmla="*/ 1451 w 10000"/>
                  <a:gd name="connsiteY5" fmla="*/ 3441 h 10169"/>
                  <a:gd name="connsiteX6" fmla="*/ 1721 w 10000"/>
                  <a:gd name="connsiteY6" fmla="*/ 1828 h 10169"/>
                  <a:gd name="connsiteX7" fmla="*/ 10000 w 10000"/>
                  <a:gd name="connsiteY7" fmla="*/ 0 h 10169"/>
                  <a:gd name="connsiteX8" fmla="*/ 0 w 10000"/>
                  <a:gd name="connsiteY8" fmla="*/ 835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0" h="10169">
                    <a:moveTo>
                      <a:pt x="0" y="835"/>
                    </a:moveTo>
                    <a:cubicBezTo>
                      <a:pt x="0" y="835"/>
                      <a:pt x="375" y="6344"/>
                      <a:pt x="576" y="6805"/>
                    </a:cubicBezTo>
                    <a:cubicBezTo>
                      <a:pt x="711" y="7220"/>
                      <a:pt x="846" y="10169"/>
                      <a:pt x="846" y="10169"/>
                    </a:cubicBezTo>
                    <a:cubicBezTo>
                      <a:pt x="846" y="10169"/>
                      <a:pt x="1654" y="8833"/>
                      <a:pt x="1856" y="7312"/>
                    </a:cubicBezTo>
                    <a:cubicBezTo>
                      <a:pt x="2125" y="5791"/>
                      <a:pt x="1451" y="5791"/>
                      <a:pt x="1587" y="4916"/>
                    </a:cubicBezTo>
                    <a:cubicBezTo>
                      <a:pt x="1587" y="4916"/>
                      <a:pt x="1519" y="3948"/>
                      <a:pt x="1451" y="3441"/>
                    </a:cubicBezTo>
                    <a:cubicBezTo>
                      <a:pt x="1451" y="2934"/>
                      <a:pt x="1048" y="2012"/>
                      <a:pt x="1721" y="1828"/>
                    </a:cubicBezTo>
                    <a:cubicBezTo>
                      <a:pt x="2462" y="1598"/>
                      <a:pt x="9933" y="276"/>
                      <a:pt x="10000" y="0"/>
                    </a:cubicBezTo>
                    <a:cubicBezTo>
                      <a:pt x="10000" y="0"/>
                      <a:pt x="5519" y="835"/>
                      <a:pt x="0" y="835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142">
                <a:extLst>
                  <a:ext uri="{FF2B5EF4-FFF2-40B4-BE49-F238E27FC236}">
                    <a16:creationId xmlns:a16="http://schemas.microsoft.com/office/drawing/2014/main" id="{E190A493-B142-44EE-A554-067361E2F6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67200" y="3230563"/>
                <a:ext cx="547688" cy="228600"/>
              </a:xfrm>
              <a:custGeom>
                <a:avLst/>
                <a:gdLst>
                  <a:gd name="T0" fmla="*/ 16 w 146"/>
                  <a:gd name="T1" fmla="*/ 0 h 61"/>
                  <a:gd name="T2" fmla="*/ 20 w 146"/>
                  <a:gd name="T3" fmla="*/ 46 h 61"/>
                  <a:gd name="T4" fmla="*/ 146 w 146"/>
                  <a:gd name="T5" fmla="*/ 43 h 61"/>
                  <a:gd name="T6" fmla="*/ 18 w 146"/>
                  <a:gd name="T7" fmla="*/ 52 h 61"/>
                  <a:gd name="T8" fmla="*/ 16 w 146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61">
                    <a:moveTo>
                      <a:pt x="16" y="0"/>
                    </a:moveTo>
                    <a:cubicBezTo>
                      <a:pt x="16" y="0"/>
                      <a:pt x="9" y="46"/>
                      <a:pt x="20" y="46"/>
                    </a:cubicBezTo>
                    <a:cubicBezTo>
                      <a:pt x="32" y="46"/>
                      <a:pt x="84" y="53"/>
                      <a:pt x="146" y="43"/>
                    </a:cubicBezTo>
                    <a:cubicBezTo>
                      <a:pt x="146" y="43"/>
                      <a:pt x="129" y="61"/>
                      <a:pt x="18" y="52"/>
                    </a:cubicBezTo>
                    <a:cubicBezTo>
                      <a:pt x="18" y="52"/>
                      <a:pt x="0" y="49"/>
                      <a:pt x="16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143">
                <a:extLst>
                  <a:ext uri="{FF2B5EF4-FFF2-40B4-BE49-F238E27FC236}">
                    <a16:creationId xmlns:a16="http://schemas.microsoft.com/office/drawing/2014/main" id="{DDFF1C29-7E36-4CB1-85DB-7F0B7C402A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84613" y="5259388"/>
                <a:ext cx="112713" cy="1035050"/>
              </a:xfrm>
              <a:custGeom>
                <a:avLst/>
                <a:gdLst>
                  <a:gd name="T0" fmla="*/ 30 w 30"/>
                  <a:gd name="T1" fmla="*/ 0 h 276"/>
                  <a:gd name="T2" fmla="*/ 24 w 30"/>
                  <a:gd name="T3" fmla="*/ 110 h 276"/>
                  <a:gd name="T4" fmla="*/ 12 w 30"/>
                  <a:gd name="T5" fmla="*/ 276 h 276"/>
                  <a:gd name="T6" fmla="*/ 0 w 30"/>
                  <a:gd name="T7" fmla="*/ 276 h 276"/>
                  <a:gd name="T8" fmla="*/ 14 w 30"/>
                  <a:gd name="T9" fmla="*/ 137 h 276"/>
                  <a:gd name="T10" fmla="*/ 21 w 30"/>
                  <a:gd name="T11" fmla="*/ 60 h 276"/>
                  <a:gd name="T12" fmla="*/ 30 w 30"/>
                  <a:gd name="T1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76">
                    <a:moveTo>
                      <a:pt x="30" y="0"/>
                    </a:moveTo>
                    <a:cubicBezTo>
                      <a:pt x="30" y="0"/>
                      <a:pt x="27" y="78"/>
                      <a:pt x="24" y="110"/>
                    </a:cubicBezTo>
                    <a:cubicBezTo>
                      <a:pt x="22" y="142"/>
                      <a:pt x="12" y="276"/>
                      <a:pt x="12" y="276"/>
                    </a:cubicBezTo>
                    <a:cubicBezTo>
                      <a:pt x="0" y="276"/>
                      <a:pt x="0" y="276"/>
                      <a:pt x="0" y="276"/>
                    </a:cubicBezTo>
                    <a:cubicBezTo>
                      <a:pt x="0" y="276"/>
                      <a:pt x="11" y="162"/>
                      <a:pt x="14" y="137"/>
                    </a:cubicBezTo>
                    <a:cubicBezTo>
                      <a:pt x="16" y="112"/>
                      <a:pt x="21" y="72"/>
                      <a:pt x="21" y="60"/>
                    </a:cubicBezTo>
                    <a:cubicBezTo>
                      <a:pt x="21" y="48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144">
                <a:extLst>
                  <a:ext uri="{FF2B5EF4-FFF2-40B4-BE49-F238E27FC236}">
                    <a16:creationId xmlns:a16="http://schemas.microsoft.com/office/drawing/2014/main" id="{D427143E-A0DA-4D1C-B5EE-9B375A8421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49688" y="2971800"/>
                <a:ext cx="131763" cy="203200"/>
              </a:xfrm>
              <a:custGeom>
                <a:avLst/>
                <a:gdLst>
                  <a:gd name="T0" fmla="*/ 0 w 35"/>
                  <a:gd name="T1" fmla="*/ 0 h 54"/>
                  <a:gd name="T2" fmla="*/ 29 w 35"/>
                  <a:gd name="T3" fmla="*/ 2 h 54"/>
                  <a:gd name="T4" fmla="*/ 14 w 35"/>
                  <a:gd name="T5" fmla="*/ 52 h 54"/>
                  <a:gd name="T6" fmla="*/ 5 w 35"/>
                  <a:gd name="T7" fmla="*/ 54 h 54"/>
                  <a:gd name="T8" fmla="*/ 8 w 35"/>
                  <a:gd name="T9" fmla="*/ 38 h 54"/>
                  <a:gd name="T10" fmla="*/ 3 w 35"/>
                  <a:gd name="T11" fmla="*/ 24 h 54"/>
                  <a:gd name="T12" fmla="*/ 0 w 35"/>
                  <a:gd name="T1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54">
                    <a:moveTo>
                      <a:pt x="0" y="0"/>
                    </a:moveTo>
                    <a:cubicBezTo>
                      <a:pt x="0" y="0"/>
                      <a:pt x="21" y="4"/>
                      <a:pt x="29" y="2"/>
                    </a:cubicBezTo>
                    <a:cubicBezTo>
                      <a:pt x="29" y="2"/>
                      <a:pt x="35" y="40"/>
                      <a:pt x="14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8" y="38"/>
                      <a:pt x="1" y="28"/>
                      <a:pt x="3" y="24"/>
                    </a:cubicBezTo>
                    <a:cubicBezTo>
                      <a:pt x="4" y="2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145">
                <a:extLst>
                  <a:ext uri="{FF2B5EF4-FFF2-40B4-BE49-F238E27FC236}">
                    <a16:creationId xmlns:a16="http://schemas.microsoft.com/office/drawing/2014/main" id="{98148AC8-D5B0-4835-854C-8A68661E30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86150" y="3024188"/>
                <a:ext cx="349250" cy="585788"/>
              </a:xfrm>
              <a:custGeom>
                <a:avLst/>
                <a:gdLst>
                  <a:gd name="T0" fmla="*/ 0 w 93"/>
                  <a:gd name="T1" fmla="*/ 156 h 156"/>
                  <a:gd name="T2" fmla="*/ 26 w 93"/>
                  <a:gd name="T3" fmla="*/ 94 h 156"/>
                  <a:gd name="T4" fmla="*/ 63 w 93"/>
                  <a:gd name="T5" fmla="*/ 0 h 156"/>
                  <a:gd name="T6" fmla="*/ 71 w 93"/>
                  <a:gd name="T7" fmla="*/ 48 h 156"/>
                  <a:gd name="T8" fmla="*/ 93 w 93"/>
                  <a:gd name="T9" fmla="*/ 40 h 156"/>
                  <a:gd name="T10" fmla="*/ 69 w 93"/>
                  <a:gd name="T11" fmla="*/ 141 h 156"/>
                  <a:gd name="T12" fmla="*/ 50 w 93"/>
                  <a:gd name="T13" fmla="*/ 125 h 156"/>
                  <a:gd name="T14" fmla="*/ 42 w 93"/>
                  <a:gd name="T15" fmla="*/ 134 h 156"/>
                  <a:gd name="T16" fmla="*/ 19 w 93"/>
                  <a:gd name="T17" fmla="*/ 152 h 156"/>
                  <a:gd name="T18" fmla="*/ 0 w 93"/>
                  <a:gd name="T1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156">
                    <a:moveTo>
                      <a:pt x="0" y="156"/>
                    </a:moveTo>
                    <a:cubicBezTo>
                      <a:pt x="0" y="156"/>
                      <a:pt x="23" y="100"/>
                      <a:pt x="26" y="94"/>
                    </a:cubicBezTo>
                    <a:cubicBezTo>
                      <a:pt x="28" y="87"/>
                      <a:pt x="63" y="0"/>
                      <a:pt x="63" y="0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8"/>
                      <a:pt x="91" y="41"/>
                      <a:pt x="93" y="40"/>
                    </a:cubicBezTo>
                    <a:cubicBezTo>
                      <a:pt x="93" y="40"/>
                      <a:pt x="82" y="72"/>
                      <a:pt x="69" y="141"/>
                    </a:cubicBezTo>
                    <a:cubicBezTo>
                      <a:pt x="69" y="141"/>
                      <a:pt x="59" y="140"/>
                      <a:pt x="50" y="125"/>
                    </a:cubicBezTo>
                    <a:cubicBezTo>
                      <a:pt x="50" y="125"/>
                      <a:pt x="45" y="111"/>
                      <a:pt x="42" y="134"/>
                    </a:cubicBezTo>
                    <a:cubicBezTo>
                      <a:pt x="42" y="134"/>
                      <a:pt x="50" y="152"/>
                      <a:pt x="19" y="152"/>
                    </a:cubicBez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46">
                <a:extLst>
                  <a:ext uri="{FF2B5EF4-FFF2-40B4-BE49-F238E27FC236}">
                    <a16:creationId xmlns:a16="http://schemas.microsoft.com/office/drawing/2014/main" id="{4BD839C1-2CFC-4D0C-A18E-AD2C6FE557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8700" y="2927350"/>
                <a:ext cx="161925" cy="360363"/>
              </a:xfrm>
              <a:custGeom>
                <a:avLst/>
                <a:gdLst>
                  <a:gd name="T0" fmla="*/ 16 w 43"/>
                  <a:gd name="T1" fmla="*/ 0 h 96"/>
                  <a:gd name="T2" fmla="*/ 11 w 43"/>
                  <a:gd name="T3" fmla="*/ 25 h 96"/>
                  <a:gd name="T4" fmla="*/ 10 w 43"/>
                  <a:gd name="T5" fmla="*/ 46 h 96"/>
                  <a:gd name="T6" fmla="*/ 6 w 43"/>
                  <a:gd name="T7" fmla="*/ 83 h 96"/>
                  <a:gd name="T8" fmla="*/ 12 w 43"/>
                  <a:gd name="T9" fmla="*/ 96 h 96"/>
                  <a:gd name="T10" fmla="*/ 43 w 43"/>
                  <a:gd name="T11" fmla="*/ 16 h 96"/>
                  <a:gd name="T12" fmla="*/ 16 w 43"/>
                  <a:gd name="T1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96">
                    <a:moveTo>
                      <a:pt x="16" y="0"/>
                    </a:moveTo>
                    <a:cubicBezTo>
                      <a:pt x="16" y="0"/>
                      <a:pt x="13" y="19"/>
                      <a:pt x="11" y="25"/>
                    </a:cubicBezTo>
                    <a:cubicBezTo>
                      <a:pt x="9" y="31"/>
                      <a:pt x="10" y="40"/>
                      <a:pt x="10" y="46"/>
                    </a:cubicBezTo>
                    <a:cubicBezTo>
                      <a:pt x="11" y="52"/>
                      <a:pt x="0" y="74"/>
                      <a:pt x="6" y="83"/>
                    </a:cubicBezTo>
                    <a:cubicBezTo>
                      <a:pt x="11" y="92"/>
                      <a:pt x="12" y="96"/>
                      <a:pt x="12" y="96"/>
                    </a:cubicBezTo>
                    <a:cubicBezTo>
                      <a:pt x="12" y="96"/>
                      <a:pt x="38" y="33"/>
                      <a:pt x="43" y="16"/>
                    </a:cubicBezTo>
                    <a:cubicBezTo>
                      <a:pt x="43" y="16"/>
                      <a:pt x="35" y="7"/>
                      <a:pt x="16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47">
                <a:extLst>
                  <a:ext uri="{FF2B5EF4-FFF2-40B4-BE49-F238E27FC236}">
                    <a16:creationId xmlns:a16="http://schemas.microsoft.com/office/drawing/2014/main" id="{29F09CEF-EC8B-452D-99A3-2D1C8AD973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8400" y="2971800"/>
                <a:ext cx="85725" cy="165100"/>
              </a:xfrm>
              <a:custGeom>
                <a:avLst/>
                <a:gdLst>
                  <a:gd name="T0" fmla="*/ 10 w 23"/>
                  <a:gd name="T1" fmla="*/ 44 h 44"/>
                  <a:gd name="T2" fmla="*/ 17 w 23"/>
                  <a:gd name="T3" fmla="*/ 27 h 44"/>
                  <a:gd name="T4" fmla="*/ 23 w 23"/>
                  <a:gd name="T5" fmla="*/ 11 h 44"/>
                  <a:gd name="T6" fmla="*/ 21 w 23"/>
                  <a:gd name="T7" fmla="*/ 0 h 44"/>
                  <a:gd name="T8" fmla="*/ 7 w 23"/>
                  <a:gd name="T9" fmla="*/ 0 h 44"/>
                  <a:gd name="T10" fmla="*/ 10 w 23"/>
                  <a:gd name="T1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44">
                    <a:moveTo>
                      <a:pt x="10" y="44"/>
                    </a:moveTo>
                    <a:cubicBezTo>
                      <a:pt x="10" y="44"/>
                      <a:pt x="13" y="36"/>
                      <a:pt x="17" y="27"/>
                    </a:cubicBezTo>
                    <a:cubicBezTo>
                      <a:pt x="20" y="18"/>
                      <a:pt x="23" y="17"/>
                      <a:pt x="23" y="11"/>
                    </a:cubicBezTo>
                    <a:cubicBezTo>
                      <a:pt x="23" y="5"/>
                      <a:pt x="21" y="0"/>
                      <a:pt x="2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0" y="16"/>
                      <a:pt x="10" y="44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148">
                <a:extLst>
                  <a:ext uri="{FF2B5EF4-FFF2-40B4-BE49-F238E27FC236}">
                    <a16:creationId xmlns:a16="http://schemas.microsoft.com/office/drawing/2014/main" id="{8F75BE56-A812-40E6-81A8-C9FDC9707A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68738" y="2784475"/>
                <a:ext cx="1050925" cy="503238"/>
              </a:xfrm>
              <a:custGeom>
                <a:avLst/>
                <a:gdLst>
                  <a:gd name="T0" fmla="*/ 9 w 280"/>
                  <a:gd name="T1" fmla="*/ 102 h 134"/>
                  <a:gd name="T2" fmla="*/ 44 w 280"/>
                  <a:gd name="T3" fmla="*/ 97 h 134"/>
                  <a:gd name="T4" fmla="*/ 116 w 280"/>
                  <a:gd name="T5" fmla="*/ 88 h 134"/>
                  <a:gd name="T6" fmla="*/ 254 w 280"/>
                  <a:gd name="T7" fmla="*/ 46 h 134"/>
                  <a:gd name="T8" fmla="*/ 267 w 280"/>
                  <a:gd name="T9" fmla="*/ 18 h 134"/>
                  <a:gd name="T10" fmla="*/ 280 w 280"/>
                  <a:gd name="T11" fmla="*/ 0 h 134"/>
                  <a:gd name="T12" fmla="*/ 262 w 280"/>
                  <a:gd name="T13" fmla="*/ 54 h 134"/>
                  <a:gd name="T14" fmla="*/ 193 w 280"/>
                  <a:gd name="T15" fmla="*/ 86 h 134"/>
                  <a:gd name="T16" fmla="*/ 99 w 280"/>
                  <a:gd name="T17" fmla="*/ 106 h 134"/>
                  <a:gd name="T18" fmla="*/ 55 w 280"/>
                  <a:gd name="T19" fmla="*/ 116 h 134"/>
                  <a:gd name="T20" fmla="*/ 2 w 280"/>
                  <a:gd name="T21" fmla="*/ 134 h 134"/>
                  <a:gd name="T22" fmla="*/ 0 w 280"/>
                  <a:gd name="T23" fmla="*/ 104 h 134"/>
                  <a:gd name="T24" fmla="*/ 9 w 280"/>
                  <a:gd name="T25" fmla="*/ 10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" h="134">
                    <a:moveTo>
                      <a:pt x="9" y="102"/>
                    </a:moveTo>
                    <a:cubicBezTo>
                      <a:pt x="9" y="102"/>
                      <a:pt x="30" y="100"/>
                      <a:pt x="44" y="97"/>
                    </a:cubicBezTo>
                    <a:cubicBezTo>
                      <a:pt x="58" y="94"/>
                      <a:pt x="91" y="90"/>
                      <a:pt x="116" y="88"/>
                    </a:cubicBezTo>
                    <a:cubicBezTo>
                      <a:pt x="140" y="85"/>
                      <a:pt x="246" y="63"/>
                      <a:pt x="254" y="46"/>
                    </a:cubicBezTo>
                    <a:cubicBezTo>
                      <a:pt x="254" y="46"/>
                      <a:pt x="266" y="30"/>
                      <a:pt x="267" y="18"/>
                    </a:cubicBezTo>
                    <a:cubicBezTo>
                      <a:pt x="268" y="5"/>
                      <a:pt x="280" y="0"/>
                      <a:pt x="280" y="0"/>
                    </a:cubicBezTo>
                    <a:cubicBezTo>
                      <a:pt x="280" y="0"/>
                      <a:pt x="271" y="46"/>
                      <a:pt x="262" y="54"/>
                    </a:cubicBezTo>
                    <a:cubicBezTo>
                      <a:pt x="252" y="63"/>
                      <a:pt x="212" y="78"/>
                      <a:pt x="193" y="86"/>
                    </a:cubicBezTo>
                    <a:cubicBezTo>
                      <a:pt x="174" y="94"/>
                      <a:pt x="116" y="109"/>
                      <a:pt x="99" y="106"/>
                    </a:cubicBezTo>
                    <a:cubicBezTo>
                      <a:pt x="82" y="102"/>
                      <a:pt x="60" y="114"/>
                      <a:pt x="55" y="116"/>
                    </a:cubicBezTo>
                    <a:cubicBezTo>
                      <a:pt x="2" y="134"/>
                      <a:pt x="2" y="134"/>
                      <a:pt x="2" y="134"/>
                    </a:cubicBezTo>
                    <a:cubicBezTo>
                      <a:pt x="0" y="104"/>
                      <a:pt x="0" y="104"/>
                      <a:pt x="0" y="104"/>
                    </a:cubicBezTo>
                    <a:lnTo>
                      <a:pt x="9" y="102"/>
                    </a:ln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149">
                <a:extLst>
                  <a:ext uri="{FF2B5EF4-FFF2-40B4-BE49-F238E27FC236}">
                    <a16:creationId xmlns:a16="http://schemas.microsoft.com/office/drawing/2014/main" id="{189AFD04-38DD-4C2E-930D-403335D848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1" y="2643982"/>
                <a:ext cx="342894" cy="158183"/>
              </a:xfrm>
              <a:custGeom>
                <a:avLst/>
                <a:gdLst>
                  <a:gd name="T0" fmla="*/ 0 w 89"/>
                  <a:gd name="T1" fmla="*/ 22 h 49"/>
                  <a:gd name="T2" fmla="*/ 12 w 89"/>
                  <a:gd name="T3" fmla="*/ 39 h 49"/>
                  <a:gd name="T4" fmla="*/ 33 w 89"/>
                  <a:gd name="T5" fmla="*/ 26 h 49"/>
                  <a:gd name="T6" fmla="*/ 64 w 89"/>
                  <a:gd name="T7" fmla="*/ 20 h 49"/>
                  <a:gd name="T8" fmla="*/ 55 w 89"/>
                  <a:gd name="T9" fmla="*/ 40 h 49"/>
                  <a:gd name="T10" fmla="*/ 77 w 89"/>
                  <a:gd name="T11" fmla="*/ 17 h 49"/>
                  <a:gd name="T12" fmla="*/ 89 w 89"/>
                  <a:gd name="T13" fmla="*/ 0 h 49"/>
                  <a:gd name="T14" fmla="*/ 0 w 89"/>
                  <a:gd name="T15" fmla="*/ 22 h 49"/>
                  <a:gd name="connsiteX0" fmla="*/ 0 w 10357"/>
                  <a:gd name="connsiteY0" fmla="*/ 4229 h 8274"/>
                  <a:gd name="connsiteX1" fmla="*/ 1348 w 10357"/>
                  <a:gd name="connsiteY1" fmla="*/ 7698 h 8274"/>
                  <a:gd name="connsiteX2" fmla="*/ 3708 w 10357"/>
                  <a:gd name="connsiteY2" fmla="*/ 5045 h 8274"/>
                  <a:gd name="connsiteX3" fmla="*/ 7191 w 10357"/>
                  <a:gd name="connsiteY3" fmla="*/ 3821 h 8274"/>
                  <a:gd name="connsiteX4" fmla="*/ 6180 w 10357"/>
                  <a:gd name="connsiteY4" fmla="*/ 7902 h 8274"/>
                  <a:gd name="connsiteX5" fmla="*/ 8652 w 10357"/>
                  <a:gd name="connsiteY5" fmla="*/ 3208 h 8274"/>
                  <a:gd name="connsiteX6" fmla="*/ 10357 w 10357"/>
                  <a:gd name="connsiteY6" fmla="*/ 0 h 8274"/>
                  <a:gd name="connsiteX7" fmla="*/ 0 w 10357"/>
                  <a:gd name="connsiteY7" fmla="*/ 4229 h 8274"/>
                  <a:gd name="connsiteX0" fmla="*/ 0 w 9931"/>
                  <a:gd name="connsiteY0" fmla="*/ 5584 h 10472"/>
                  <a:gd name="connsiteX1" fmla="*/ 1302 w 9931"/>
                  <a:gd name="connsiteY1" fmla="*/ 9777 h 10472"/>
                  <a:gd name="connsiteX2" fmla="*/ 3580 w 9931"/>
                  <a:gd name="connsiteY2" fmla="*/ 6570 h 10472"/>
                  <a:gd name="connsiteX3" fmla="*/ 6943 w 9931"/>
                  <a:gd name="connsiteY3" fmla="*/ 5091 h 10472"/>
                  <a:gd name="connsiteX4" fmla="*/ 5967 w 9931"/>
                  <a:gd name="connsiteY4" fmla="*/ 10023 h 10472"/>
                  <a:gd name="connsiteX5" fmla="*/ 8354 w 9931"/>
                  <a:gd name="connsiteY5" fmla="*/ 4350 h 10472"/>
                  <a:gd name="connsiteX6" fmla="*/ 9931 w 9931"/>
                  <a:gd name="connsiteY6" fmla="*/ 0 h 10472"/>
                  <a:gd name="connsiteX7" fmla="*/ 0 w 9931"/>
                  <a:gd name="connsiteY7" fmla="*/ 5584 h 1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31" h="10472">
                    <a:moveTo>
                      <a:pt x="0" y="5584"/>
                    </a:moveTo>
                    <a:cubicBezTo>
                      <a:pt x="0" y="5584"/>
                      <a:pt x="434" y="8544"/>
                      <a:pt x="1302" y="9777"/>
                    </a:cubicBezTo>
                    <a:cubicBezTo>
                      <a:pt x="2170" y="11257"/>
                      <a:pt x="2604" y="7804"/>
                      <a:pt x="3580" y="6570"/>
                    </a:cubicBezTo>
                    <a:cubicBezTo>
                      <a:pt x="4556" y="5338"/>
                      <a:pt x="6943" y="5091"/>
                      <a:pt x="6943" y="5091"/>
                    </a:cubicBezTo>
                    <a:cubicBezTo>
                      <a:pt x="6943" y="5091"/>
                      <a:pt x="5858" y="7804"/>
                      <a:pt x="5967" y="10023"/>
                    </a:cubicBezTo>
                    <a:cubicBezTo>
                      <a:pt x="6075" y="12244"/>
                      <a:pt x="7811" y="5584"/>
                      <a:pt x="8354" y="4350"/>
                    </a:cubicBezTo>
                    <a:cubicBezTo>
                      <a:pt x="8895" y="3364"/>
                      <a:pt x="9931" y="0"/>
                      <a:pt x="9931" y="0"/>
                    </a:cubicBezTo>
                    <a:cubicBezTo>
                      <a:pt x="9931" y="0"/>
                      <a:pt x="8245" y="4104"/>
                      <a:pt x="0" y="5584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150">
                <a:extLst>
                  <a:ext uri="{FF2B5EF4-FFF2-40B4-BE49-F238E27FC236}">
                    <a16:creationId xmlns:a16="http://schemas.microsoft.com/office/drawing/2014/main" id="{64360C70-FFA1-47CA-B9CE-4D60A03AF9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49750" y="1663700"/>
                <a:ext cx="636588" cy="993775"/>
              </a:xfrm>
              <a:custGeom>
                <a:avLst/>
                <a:gdLst>
                  <a:gd name="T0" fmla="*/ 170 w 170"/>
                  <a:gd name="T1" fmla="*/ 3 h 265"/>
                  <a:gd name="T2" fmla="*/ 87 w 170"/>
                  <a:gd name="T3" fmla="*/ 74 h 265"/>
                  <a:gd name="T4" fmla="*/ 56 w 170"/>
                  <a:gd name="T5" fmla="*/ 138 h 265"/>
                  <a:gd name="T6" fmla="*/ 43 w 170"/>
                  <a:gd name="T7" fmla="*/ 193 h 265"/>
                  <a:gd name="T8" fmla="*/ 46 w 170"/>
                  <a:gd name="T9" fmla="*/ 232 h 265"/>
                  <a:gd name="T10" fmla="*/ 48 w 170"/>
                  <a:gd name="T11" fmla="*/ 261 h 265"/>
                  <a:gd name="T12" fmla="*/ 0 w 170"/>
                  <a:gd name="T13" fmla="*/ 248 h 265"/>
                  <a:gd name="T14" fmla="*/ 16 w 170"/>
                  <a:gd name="T15" fmla="*/ 237 h 265"/>
                  <a:gd name="T16" fmla="*/ 32 w 170"/>
                  <a:gd name="T17" fmla="*/ 213 h 265"/>
                  <a:gd name="T18" fmla="*/ 53 w 170"/>
                  <a:gd name="T19" fmla="*/ 115 h 265"/>
                  <a:gd name="T20" fmla="*/ 104 w 170"/>
                  <a:gd name="T21" fmla="*/ 41 h 265"/>
                  <a:gd name="T22" fmla="*/ 170 w 170"/>
                  <a:gd name="T23" fmla="*/ 3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0" h="265">
                    <a:moveTo>
                      <a:pt x="170" y="3"/>
                    </a:moveTo>
                    <a:cubicBezTo>
                      <a:pt x="170" y="3"/>
                      <a:pt x="136" y="3"/>
                      <a:pt x="87" y="74"/>
                    </a:cubicBezTo>
                    <a:cubicBezTo>
                      <a:pt x="87" y="74"/>
                      <a:pt x="63" y="109"/>
                      <a:pt x="56" y="138"/>
                    </a:cubicBezTo>
                    <a:cubicBezTo>
                      <a:pt x="56" y="138"/>
                      <a:pt x="44" y="185"/>
                      <a:pt x="43" y="193"/>
                    </a:cubicBezTo>
                    <a:cubicBezTo>
                      <a:pt x="42" y="202"/>
                      <a:pt x="46" y="232"/>
                      <a:pt x="46" y="232"/>
                    </a:cubicBezTo>
                    <a:cubicBezTo>
                      <a:pt x="46" y="232"/>
                      <a:pt x="46" y="257"/>
                      <a:pt x="48" y="261"/>
                    </a:cubicBezTo>
                    <a:cubicBezTo>
                      <a:pt x="48" y="261"/>
                      <a:pt x="38" y="265"/>
                      <a:pt x="0" y="248"/>
                    </a:cubicBezTo>
                    <a:cubicBezTo>
                      <a:pt x="0" y="248"/>
                      <a:pt x="8" y="240"/>
                      <a:pt x="16" y="237"/>
                    </a:cubicBezTo>
                    <a:cubicBezTo>
                      <a:pt x="24" y="233"/>
                      <a:pt x="32" y="221"/>
                      <a:pt x="32" y="213"/>
                    </a:cubicBezTo>
                    <a:cubicBezTo>
                      <a:pt x="33" y="205"/>
                      <a:pt x="44" y="132"/>
                      <a:pt x="53" y="115"/>
                    </a:cubicBezTo>
                    <a:cubicBezTo>
                      <a:pt x="62" y="97"/>
                      <a:pt x="86" y="57"/>
                      <a:pt x="104" y="41"/>
                    </a:cubicBezTo>
                    <a:cubicBezTo>
                      <a:pt x="123" y="25"/>
                      <a:pt x="150" y="0"/>
                      <a:pt x="170" y="3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151">
                <a:extLst>
                  <a:ext uri="{FF2B5EF4-FFF2-40B4-BE49-F238E27FC236}">
                    <a16:creationId xmlns:a16="http://schemas.microsoft.com/office/drawing/2014/main" id="{4F99F14D-DE03-4C22-9FEC-FD8AC25139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1200" y="2533650"/>
                <a:ext cx="327025" cy="401638"/>
              </a:xfrm>
              <a:custGeom>
                <a:avLst/>
                <a:gdLst>
                  <a:gd name="T0" fmla="*/ 74 w 87"/>
                  <a:gd name="T1" fmla="*/ 58 h 107"/>
                  <a:gd name="T2" fmla="*/ 52 w 87"/>
                  <a:gd name="T3" fmla="*/ 30 h 107"/>
                  <a:gd name="T4" fmla="*/ 27 w 87"/>
                  <a:gd name="T5" fmla="*/ 12 h 107"/>
                  <a:gd name="T6" fmla="*/ 0 w 87"/>
                  <a:gd name="T7" fmla="*/ 0 h 107"/>
                  <a:gd name="T8" fmla="*/ 38 w 87"/>
                  <a:gd name="T9" fmla="*/ 25 h 107"/>
                  <a:gd name="T10" fmla="*/ 58 w 87"/>
                  <a:gd name="T11" fmla="*/ 56 h 107"/>
                  <a:gd name="T12" fmla="*/ 71 w 87"/>
                  <a:gd name="T13" fmla="*/ 95 h 107"/>
                  <a:gd name="T14" fmla="*/ 82 w 87"/>
                  <a:gd name="T15" fmla="*/ 107 h 107"/>
                  <a:gd name="T16" fmla="*/ 86 w 87"/>
                  <a:gd name="T17" fmla="*/ 96 h 107"/>
                  <a:gd name="T18" fmla="*/ 80 w 87"/>
                  <a:gd name="T19" fmla="*/ 72 h 107"/>
                  <a:gd name="T20" fmla="*/ 74 w 87"/>
                  <a:gd name="T21" fmla="*/ 5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107">
                    <a:moveTo>
                      <a:pt x="74" y="58"/>
                    </a:moveTo>
                    <a:cubicBezTo>
                      <a:pt x="74" y="58"/>
                      <a:pt x="54" y="37"/>
                      <a:pt x="52" y="30"/>
                    </a:cubicBezTo>
                    <a:cubicBezTo>
                      <a:pt x="49" y="23"/>
                      <a:pt x="33" y="16"/>
                      <a:pt x="27" y="12"/>
                    </a:cubicBezTo>
                    <a:cubicBezTo>
                      <a:pt x="21" y="8"/>
                      <a:pt x="0" y="0"/>
                      <a:pt x="0" y="0"/>
                    </a:cubicBezTo>
                    <a:cubicBezTo>
                      <a:pt x="0" y="0"/>
                      <a:pt x="33" y="19"/>
                      <a:pt x="38" y="25"/>
                    </a:cubicBezTo>
                    <a:cubicBezTo>
                      <a:pt x="42" y="31"/>
                      <a:pt x="52" y="44"/>
                      <a:pt x="58" y="56"/>
                    </a:cubicBezTo>
                    <a:cubicBezTo>
                      <a:pt x="64" y="68"/>
                      <a:pt x="64" y="85"/>
                      <a:pt x="71" y="95"/>
                    </a:cubicBezTo>
                    <a:cubicBezTo>
                      <a:pt x="78" y="106"/>
                      <a:pt x="80" y="107"/>
                      <a:pt x="82" y="107"/>
                    </a:cubicBezTo>
                    <a:cubicBezTo>
                      <a:pt x="84" y="106"/>
                      <a:pt x="87" y="104"/>
                      <a:pt x="86" y="96"/>
                    </a:cubicBezTo>
                    <a:cubicBezTo>
                      <a:pt x="86" y="88"/>
                      <a:pt x="82" y="80"/>
                      <a:pt x="80" y="72"/>
                    </a:cubicBezTo>
                    <a:cubicBezTo>
                      <a:pt x="78" y="64"/>
                      <a:pt x="74" y="58"/>
                      <a:pt x="74" y="58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152">
                <a:extLst>
                  <a:ext uri="{FF2B5EF4-FFF2-40B4-BE49-F238E27FC236}">
                    <a16:creationId xmlns:a16="http://schemas.microsoft.com/office/drawing/2014/main" id="{CD295CE2-56B1-40FB-982F-4A74929C7F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1200" y="2581275"/>
                <a:ext cx="180975" cy="296863"/>
              </a:xfrm>
              <a:custGeom>
                <a:avLst/>
                <a:gdLst>
                  <a:gd name="T0" fmla="*/ 3 w 48"/>
                  <a:gd name="T1" fmla="*/ 9 h 79"/>
                  <a:gd name="T2" fmla="*/ 11 w 48"/>
                  <a:gd name="T3" fmla="*/ 21 h 79"/>
                  <a:gd name="T4" fmla="*/ 31 w 48"/>
                  <a:gd name="T5" fmla="*/ 30 h 79"/>
                  <a:gd name="T6" fmla="*/ 36 w 48"/>
                  <a:gd name="T7" fmla="*/ 70 h 79"/>
                  <a:gd name="T8" fmla="*/ 47 w 48"/>
                  <a:gd name="T9" fmla="*/ 48 h 79"/>
                  <a:gd name="T10" fmla="*/ 29 w 48"/>
                  <a:gd name="T11" fmla="*/ 15 h 79"/>
                  <a:gd name="T12" fmla="*/ 3 w 48"/>
                  <a:gd name="T13" fmla="*/ 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9">
                    <a:moveTo>
                      <a:pt x="3" y="9"/>
                    </a:moveTo>
                    <a:cubicBezTo>
                      <a:pt x="3" y="9"/>
                      <a:pt x="6" y="16"/>
                      <a:pt x="11" y="21"/>
                    </a:cubicBezTo>
                    <a:cubicBezTo>
                      <a:pt x="16" y="26"/>
                      <a:pt x="28" y="25"/>
                      <a:pt x="31" y="30"/>
                    </a:cubicBezTo>
                    <a:cubicBezTo>
                      <a:pt x="34" y="34"/>
                      <a:pt x="39" y="62"/>
                      <a:pt x="36" y="70"/>
                    </a:cubicBezTo>
                    <a:cubicBezTo>
                      <a:pt x="34" y="79"/>
                      <a:pt x="48" y="60"/>
                      <a:pt x="47" y="48"/>
                    </a:cubicBezTo>
                    <a:cubicBezTo>
                      <a:pt x="46" y="36"/>
                      <a:pt x="37" y="18"/>
                      <a:pt x="29" y="15"/>
                    </a:cubicBezTo>
                    <a:cubicBezTo>
                      <a:pt x="21" y="12"/>
                      <a:pt x="0" y="0"/>
                      <a:pt x="3" y="9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53">
                <a:extLst>
                  <a:ext uri="{FF2B5EF4-FFF2-40B4-BE49-F238E27FC236}">
                    <a16:creationId xmlns:a16="http://schemas.microsoft.com/office/drawing/2014/main" id="{AF5B75A6-8D9F-41FB-BC44-C47FEA3D63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41775" y="1397000"/>
                <a:ext cx="720725" cy="1079500"/>
              </a:xfrm>
              <a:custGeom>
                <a:avLst/>
                <a:gdLst>
                  <a:gd name="T0" fmla="*/ 192 w 192"/>
                  <a:gd name="T1" fmla="*/ 0 h 288"/>
                  <a:gd name="T2" fmla="*/ 149 w 192"/>
                  <a:gd name="T3" fmla="*/ 71 h 288"/>
                  <a:gd name="T4" fmla="*/ 120 w 192"/>
                  <a:gd name="T5" fmla="*/ 91 h 288"/>
                  <a:gd name="T6" fmla="*/ 126 w 192"/>
                  <a:gd name="T7" fmla="*/ 114 h 288"/>
                  <a:gd name="T8" fmla="*/ 62 w 192"/>
                  <a:gd name="T9" fmla="*/ 203 h 288"/>
                  <a:gd name="T10" fmla="*/ 12 w 192"/>
                  <a:gd name="T11" fmla="*/ 269 h 288"/>
                  <a:gd name="T12" fmla="*/ 1 w 192"/>
                  <a:gd name="T13" fmla="*/ 288 h 288"/>
                  <a:gd name="T14" fmla="*/ 20 w 192"/>
                  <a:gd name="T15" fmla="*/ 270 h 288"/>
                  <a:gd name="T16" fmla="*/ 66 w 192"/>
                  <a:gd name="T17" fmla="*/ 206 h 288"/>
                  <a:gd name="T18" fmla="*/ 126 w 192"/>
                  <a:gd name="T19" fmla="*/ 123 h 288"/>
                  <a:gd name="T20" fmla="*/ 134 w 192"/>
                  <a:gd name="T21" fmla="*/ 101 h 288"/>
                  <a:gd name="T22" fmla="*/ 156 w 192"/>
                  <a:gd name="T23" fmla="*/ 78 h 288"/>
                  <a:gd name="T24" fmla="*/ 192 w 192"/>
                  <a:gd name="T25" fmla="*/ 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2" h="288">
                    <a:moveTo>
                      <a:pt x="192" y="0"/>
                    </a:moveTo>
                    <a:cubicBezTo>
                      <a:pt x="192" y="0"/>
                      <a:pt x="170" y="6"/>
                      <a:pt x="149" y="71"/>
                    </a:cubicBezTo>
                    <a:cubicBezTo>
                      <a:pt x="149" y="71"/>
                      <a:pt x="125" y="84"/>
                      <a:pt x="120" y="91"/>
                    </a:cubicBezTo>
                    <a:cubicBezTo>
                      <a:pt x="120" y="91"/>
                      <a:pt x="126" y="112"/>
                      <a:pt x="126" y="114"/>
                    </a:cubicBezTo>
                    <a:cubicBezTo>
                      <a:pt x="126" y="117"/>
                      <a:pt x="80" y="174"/>
                      <a:pt x="62" y="203"/>
                    </a:cubicBezTo>
                    <a:cubicBezTo>
                      <a:pt x="45" y="232"/>
                      <a:pt x="20" y="258"/>
                      <a:pt x="12" y="269"/>
                    </a:cubicBezTo>
                    <a:cubicBezTo>
                      <a:pt x="4" y="280"/>
                      <a:pt x="0" y="285"/>
                      <a:pt x="1" y="288"/>
                    </a:cubicBezTo>
                    <a:cubicBezTo>
                      <a:pt x="1" y="288"/>
                      <a:pt x="12" y="280"/>
                      <a:pt x="20" y="270"/>
                    </a:cubicBezTo>
                    <a:cubicBezTo>
                      <a:pt x="27" y="260"/>
                      <a:pt x="61" y="218"/>
                      <a:pt x="66" y="206"/>
                    </a:cubicBezTo>
                    <a:cubicBezTo>
                      <a:pt x="72" y="193"/>
                      <a:pt x="122" y="128"/>
                      <a:pt x="126" y="123"/>
                    </a:cubicBezTo>
                    <a:cubicBezTo>
                      <a:pt x="126" y="123"/>
                      <a:pt x="135" y="114"/>
                      <a:pt x="134" y="101"/>
                    </a:cubicBezTo>
                    <a:cubicBezTo>
                      <a:pt x="134" y="88"/>
                      <a:pt x="148" y="90"/>
                      <a:pt x="156" y="78"/>
                    </a:cubicBezTo>
                    <a:cubicBezTo>
                      <a:pt x="164" y="66"/>
                      <a:pt x="158" y="51"/>
                      <a:pt x="192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154">
                <a:extLst>
                  <a:ext uri="{FF2B5EF4-FFF2-40B4-BE49-F238E27FC236}">
                    <a16:creationId xmlns:a16="http://schemas.microsoft.com/office/drawing/2014/main" id="{D2001CEE-89BC-4E42-9A19-98C199AEB9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7750" y="2636838"/>
                <a:ext cx="236538" cy="150813"/>
              </a:xfrm>
              <a:custGeom>
                <a:avLst/>
                <a:gdLst>
                  <a:gd name="T0" fmla="*/ 42 w 63"/>
                  <a:gd name="T1" fmla="*/ 12 h 40"/>
                  <a:gd name="T2" fmla="*/ 60 w 63"/>
                  <a:gd name="T3" fmla="*/ 30 h 40"/>
                  <a:gd name="T4" fmla="*/ 10 w 63"/>
                  <a:gd name="T5" fmla="*/ 0 h 40"/>
                  <a:gd name="T6" fmla="*/ 29 w 63"/>
                  <a:gd name="T7" fmla="*/ 12 h 40"/>
                  <a:gd name="T8" fmla="*/ 42 w 63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40">
                    <a:moveTo>
                      <a:pt x="42" y="12"/>
                    </a:moveTo>
                    <a:cubicBezTo>
                      <a:pt x="42" y="12"/>
                      <a:pt x="57" y="20"/>
                      <a:pt x="60" y="30"/>
                    </a:cubicBezTo>
                    <a:cubicBezTo>
                      <a:pt x="63" y="40"/>
                      <a:pt x="0" y="16"/>
                      <a:pt x="10" y="0"/>
                    </a:cubicBezTo>
                    <a:cubicBezTo>
                      <a:pt x="10" y="0"/>
                      <a:pt x="18" y="10"/>
                      <a:pt x="29" y="12"/>
                    </a:cubicBezTo>
                    <a:cubicBezTo>
                      <a:pt x="39" y="13"/>
                      <a:pt x="42" y="12"/>
                      <a:pt x="42" y="12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155">
                <a:extLst>
                  <a:ext uri="{FF2B5EF4-FFF2-40B4-BE49-F238E27FC236}">
                    <a16:creationId xmlns:a16="http://schemas.microsoft.com/office/drawing/2014/main" id="{5B399882-D9E8-402E-83E7-317B7D4197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36144" y="2567782"/>
                <a:ext cx="142875" cy="195263"/>
              </a:xfrm>
              <a:custGeom>
                <a:avLst/>
                <a:gdLst>
                  <a:gd name="T0" fmla="*/ 9 w 38"/>
                  <a:gd name="T1" fmla="*/ 0 h 52"/>
                  <a:gd name="T2" fmla="*/ 9 w 38"/>
                  <a:gd name="T3" fmla="*/ 21 h 52"/>
                  <a:gd name="T4" fmla="*/ 35 w 38"/>
                  <a:gd name="T5" fmla="*/ 48 h 52"/>
                  <a:gd name="T6" fmla="*/ 38 w 38"/>
                  <a:gd name="T7" fmla="*/ 40 h 52"/>
                  <a:gd name="T8" fmla="*/ 15 w 38"/>
                  <a:gd name="T9" fmla="*/ 17 h 52"/>
                  <a:gd name="T10" fmla="*/ 9 w 38"/>
                  <a:gd name="T1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2">
                    <a:moveTo>
                      <a:pt x="9" y="0"/>
                    </a:moveTo>
                    <a:cubicBezTo>
                      <a:pt x="9" y="0"/>
                      <a:pt x="0" y="8"/>
                      <a:pt x="9" y="21"/>
                    </a:cubicBezTo>
                    <a:cubicBezTo>
                      <a:pt x="18" y="34"/>
                      <a:pt x="32" y="44"/>
                      <a:pt x="35" y="48"/>
                    </a:cubicBezTo>
                    <a:cubicBezTo>
                      <a:pt x="38" y="52"/>
                      <a:pt x="38" y="41"/>
                      <a:pt x="38" y="40"/>
                    </a:cubicBezTo>
                    <a:cubicBezTo>
                      <a:pt x="38" y="39"/>
                      <a:pt x="22" y="22"/>
                      <a:pt x="15" y="17"/>
                    </a:cubicBezTo>
                    <a:cubicBezTo>
                      <a:pt x="8" y="12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156">
                <a:extLst>
                  <a:ext uri="{FF2B5EF4-FFF2-40B4-BE49-F238E27FC236}">
                    <a16:creationId xmlns:a16="http://schemas.microsoft.com/office/drawing/2014/main" id="{926A3DA6-6D8E-478E-B5F9-2D66572BA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37720" y="2590007"/>
                <a:ext cx="217488" cy="203200"/>
              </a:xfrm>
              <a:custGeom>
                <a:avLst/>
                <a:gdLst>
                  <a:gd name="T0" fmla="*/ 17 w 58"/>
                  <a:gd name="T1" fmla="*/ 13 h 54"/>
                  <a:gd name="T2" fmla="*/ 40 w 58"/>
                  <a:gd name="T3" fmla="*/ 40 h 54"/>
                  <a:gd name="T4" fmla="*/ 14 w 58"/>
                  <a:gd name="T5" fmla="*/ 20 h 54"/>
                  <a:gd name="T6" fmla="*/ 2 w 58"/>
                  <a:gd name="T7" fmla="*/ 2 h 54"/>
                  <a:gd name="T8" fmla="*/ 17 w 58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54">
                    <a:moveTo>
                      <a:pt x="17" y="13"/>
                    </a:moveTo>
                    <a:cubicBezTo>
                      <a:pt x="17" y="13"/>
                      <a:pt x="22" y="25"/>
                      <a:pt x="40" y="40"/>
                    </a:cubicBezTo>
                    <a:cubicBezTo>
                      <a:pt x="58" y="54"/>
                      <a:pt x="22" y="31"/>
                      <a:pt x="14" y="20"/>
                    </a:cubicBezTo>
                    <a:cubicBezTo>
                      <a:pt x="5" y="10"/>
                      <a:pt x="3" y="4"/>
                      <a:pt x="2" y="2"/>
                    </a:cubicBezTo>
                    <a:cubicBezTo>
                      <a:pt x="0" y="0"/>
                      <a:pt x="15" y="13"/>
                      <a:pt x="17" y="13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157">
                <a:extLst>
                  <a:ext uri="{FF2B5EF4-FFF2-40B4-BE49-F238E27FC236}">
                    <a16:creationId xmlns:a16="http://schemas.microsoft.com/office/drawing/2014/main" id="{55A39278-E672-4726-8BDB-6EAEB49B95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49688" y="1944688"/>
                <a:ext cx="188913" cy="536575"/>
              </a:xfrm>
              <a:custGeom>
                <a:avLst/>
                <a:gdLst>
                  <a:gd name="T0" fmla="*/ 33 w 50"/>
                  <a:gd name="T1" fmla="*/ 0 h 143"/>
                  <a:gd name="T2" fmla="*/ 49 w 50"/>
                  <a:gd name="T3" fmla="*/ 80 h 143"/>
                  <a:gd name="T4" fmla="*/ 43 w 50"/>
                  <a:gd name="T5" fmla="*/ 118 h 143"/>
                  <a:gd name="T6" fmla="*/ 33 w 50"/>
                  <a:gd name="T7" fmla="*/ 140 h 143"/>
                  <a:gd name="T8" fmla="*/ 0 w 50"/>
                  <a:gd name="T9" fmla="*/ 143 h 143"/>
                  <a:gd name="T10" fmla="*/ 11 w 50"/>
                  <a:gd name="T11" fmla="*/ 113 h 143"/>
                  <a:gd name="T12" fmla="*/ 31 w 50"/>
                  <a:gd name="T13" fmla="*/ 87 h 143"/>
                  <a:gd name="T14" fmla="*/ 33 w 50"/>
                  <a:gd name="T15" fmla="*/ 44 h 143"/>
                  <a:gd name="T16" fmla="*/ 33 w 50"/>
                  <a:gd name="T17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143">
                    <a:moveTo>
                      <a:pt x="33" y="0"/>
                    </a:moveTo>
                    <a:cubicBezTo>
                      <a:pt x="33" y="0"/>
                      <a:pt x="49" y="78"/>
                      <a:pt x="49" y="80"/>
                    </a:cubicBezTo>
                    <a:cubicBezTo>
                      <a:pt x="49" y="82"/>
                      <a:pt x="50" y="102"/>
                      <a:pt x="43" y="118"/>
                    </a:cubicBezTo>
                    <a:cubicBezTo>
                      <a:pt x="37" y="134"/>
                      <a:pt x="33" y="140"/>
                      <a:pt x="33" y="14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143"/>
                      <a:pt x="2" y="118"/>
                      <a:pt x="11" y="113"/>
                    </a:cubicBezTo>
                    <a:cubicBezTo>
                      <a:pt x="19" y="108"/>
                      <a:pt x="31" y="95"/>
                      <a:pt x="31" y="87"/>
                    </a:cubicBezTo>
                    <a:cubicBezTo>
                      <a:pt x="31" y="79"/>
                      <a:pt x="31" y="51"/>
                      <a:pt x="33" y="44"/>
                    </a:cubicBezTo>
                    <a:cubicBezTo>
                      <a:pt x="35" y="38"/>
                      <a:pt x="33" y="0"/>
                      <a:pt x="33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158">
                <a:extLst>
                  <a:ext uri="{FF2B5EF4-FFF2-40B4-BE49-F238E27FC236}">
                    <a16:creationId xmlns:a16="http://schemas.microsoft.com/office/drawing/2014/main" id="{A3769BCB-3118-481C-A29F-096F47884C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32200" y="1430338"/>
                <a:ext cx="323850" cy="987425"/>
              </a:xfrm>
              <a:custGeom>
                <a:avLst/>
                <a:gdLst>
                  <a:gd name="T0" fmla="*/ 1 w 86"/>
                  <a:gd name="T1" fmla="*/ 263 h 263"/>
                  <a:gd name="T2" fmla="*/ 53 w 86"/>
                  <a:gd name="T3" fmla="*/ 190 h 263"/>
                  <a:gd name="T4" fmla="*/ 78 w 86"/>
                  <a:gd name="T5" fmla="*/ 84 h 263"/>
                  <a:gd name="T6" fmla="*/ 84 w 86"/>
                  <a:gd name="T7" fmla="*/ 24 h 263"/>
                  <a:gd name="T8" fmla="*/ 86 w 86"/>
                  <a:gd name="T9" fmla="*/ 0 h 263"/>
                  <a:gd name="T10" fmla="*/ 62 w 86"/>
                  <a:gd name="T11" fmla="*/ 112 h 263"/>
                  <a:gd name="T12" fmla="*/ 42 w 86"/>
                  <a:gd name="T13" fmla="*/ 161 h 263"/>
                  <a:gd name="T14" fmla="*/ 24 w 86"/>
                  <a:gd name="T15" fmla="*/ 177 h 263"/>
                  <a:gd name="T16" fmla="*/ 1 w 86"/>
                  <a:gd name="T17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" h="263">
                    <a:moveTo>
                      <a:pt x="1" y="263"/>
                    </a:moveTo>
                    <a:cubicBezTo>
                      <a:pt x="1" y="263"/>
                      <a:pt x="45" y="217"/>
                      <a:pt x="53" y="190"/>
                    </a:cubicBezTo>
                    <a:cubicBezTo>
                      <a:pt x="60" y="163"/>
                      <a:pt x="77" y="91"/>
                      <a:pt x="78" y="84"/>
                    </a:cubicBezTo>
                    <a:cubicBezTo>
                      <a:pt x="79" y="77"/>
                      <a:pt x="85" y="32"/>
                      <a:pt x="84" y="24"/>
                    </a:cubicBezTo>
                    <a:cubicBezTo>
                      <a:pt x="83" y="16"/>
                      <a:pt x="86" y="0"/>
                      <a:pt x="86" y="0"/>
                    </a:cubicBezTo>
                    <a:cubicBezTo>
                      <a:pt x="86" y="0"/>
                      <a:pt x="69" y="92"/>
                      <a:pt x="62" y="112"/>
                    </a:cubicBezTo>
                    <a:cubicBezTo>
                      <a:pt x="55" y="132"/>
                      <a:pt x="51" y="152"/>
                      <a:pt x="42" y="161"/>
                    </a:cubicBezTo>
                    <a:cubicBezTo>
                      <a:pt x="33" y="169"/>
                      <a:pt x="26" y="173"/>
                      <a:pt x="24" y="177"/>
                    </a:cubicBezTo>
                    <a:cubicBezTo>
                      <a:pt x="21" y="181"/>
                      <a:pt x="0" y="245"/>
                      <a:pt x="1" y="263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159">
                <a:extLst>
                  <a:ext uri="{FF2B5EF4-FFF2-40B4-BE49-F238E27FC236}">
                    <a16:creationId xmlns:a16="http://schemas.microsoft.com/office/drawing/2014/main" id="{7118176A-E190-4C64-BE5F-CCFE566FC8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83050" y="1465263"/>
                <a:ext cx="104775" cy="107950"/>
              </a:xfrm>
              <a:custGeom>
                <a:avLst/>
                <a:gdLst>
                  <a:gd name="T0" fmla="*/ 0 w 28"/>
                  <a:gd name="T1" fmla="*/ 0 h 29"/>
                  <a:gd name="T2" fmla="*/ 25 w 28"/>
                  <a:gd name="T3" fmla="*/ 29 h 29"/>
                  <a:gd name="T4" fmla="*/ 26 w 28"/>
                  <a:gd name="T5" fmla="*/ 5 h 29"/>
                  <a:gd name="T6" fmla="*/ 0 w 28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9">
                    <a:moveTo>
                      <a:pt x="0" y="0"/>
                    </a:moveTo>
                    <a:cubicBezTo>
                      <a:pt x="0" y="0"/>
                      <a:pt x="1" y="19"/>
                      <a:pt x="25" y="29"/>
                    </a:cubicBezTo>
                    <a:cubicBezTo>
                      <a:pt x="25" y="29"/>
                      <a:pt x="25" y="10"/>
                      <a:pt x="26" y="5"/>
                    </a:cubicBezTo>
                    <a:cubicBezTo>
                      <a:pt x="28" y="0"/>
                      <a:pt x="6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160">
                <a:extLst>
                  <a:ext uri="{FF2B5EF4-FFF2-40B4-BE49-F238E27FC236}">
                    <a16:creationId xmlns:a16="http://schemas.microsoft.com/office/drawing/2014/main" id="{65583739-6978-4FE4-9F5A-66D76F2C22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90925" y="1363663"/>
                <a:ext cx="330200" cy="600075"/>
              </a:xfrm>
              <a:custGeom>
                <a:avLst/>
                <a:gdLst>
                  <a:gd name="T0" fmla="*/ 88 w 88"/>
                  <a:gd name="T1" fmla="*/ 0 h 160"/>
                  <a:gd name="T2" fmla="*/ 80 w 88"/>
                  <a:gd name="T3" fmla="*/ 44 h 160"/>
                  <a:gd name="T4" fmla="*/ 48 w 88"/>
                  <a:gd name="T5" fmla="*/ 160 h 160"/>
                  <a:gd name="T6" fmla="*/ 34 w 88"/>
                  <a:gd name="T7" fmla="*/ 145 h 160"/>
                  <a:gd name="T8" fmla="*/ 6 w 88"/>
                  <a:gd name="T9" fmla="*/ 108 h 160"/>
                  <a:gd name="T10" fmla="*/ 42 w 88"/>
                  <a:gd name="T11" fmla="*/ 145 h 160"/>
                  <a:gd name="T12" fmla="*/ 43 w 88"/>
                  <a:gd name="T13" fmla="*/ 119 h 160"/>
                  <a:gd name="T14" fmla="*/ 4 w 88"/>
                  <a:gd name="T15" fmla="*/ 71 h 160"/>
                  <a:gd name="T16" fmla="*/ 47 w 88"/>
                  <a:gd name="T17" fmla="*/ 116 h 160"/>
                  <a:gd name="T18" fmla="*/ 54 w 88"/>
                  <a:gd name="T19" fmla="*/ 126 h 160"/>
                  <a:gd name="T20" fmla="*/ 60 w 88"/>
                  <a:gd name="T21" fmla="*/ 105 h 160"/>
                  <a:gd name="T22" fmla="*/ 25 w 88"/>
                  <a:gd name="T23" fmla="*/ 63 h 160"/>
                  <a:gd name="T24" fmla="*/ 63 w 88"/>
                  <a:gd name="T25" fmla="*/ 97 h 160"/>
                  <a:gd name="T26" fmla="*/ 74 w 88"/>
                  <a:gd name="T27" fmla="*/ 33 h 160"/>
                  <a:gd name="T28" fmla="*/ 88 w 88"/>
                  <a:gd name="T2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160">
                    <a:moveTo>
                      <a:pt x="88" y="0"/>
                    </a:moveTo>
                    <a:cubicBezTo>
                      <a:pt x="88" y="0"/>
                      <a:pt x="80" y="11"/>
                      <a:pt x="80" y="44"/>
                    </a:cubicBezTo>
                    <a:cubicBezTo>
                      <a:pt x="79" y="77"/>
                      <a:pt x="65" y="133"/>
                      <a:pt x="48" y="160"/>
                    </a:cubicBezTo>
                    <a:cubicBezTo>
                      <a:pt x="48" y="160"/>
                      <a:pt x="38" y="151"/>
                      <a:pt x="34" y="145"/>
                    </a:cubicBezTo>
                    <a:cubicBezTo>
                      <a:pt x="30" y="140"/>
                      <a:pt x="10" y="112"/>
                      <a:pt x="6" y="108"/>
                    </a:cubicBezTo>
                    <a:cubicBezTo>
                      <a:pt x="2" y="104"/>
                      <a:pt x="40" y="141"/>
                      <a:pt x="42" y="145"/>
                    </a:cubicBezTo>
                    <a:cubicBezTo>
                      <a:pt x="44" y="148"/>
                      <a:pt x="48" y="129"/>
                      <a:pt x="43" y="119"/>
                    </a:cubicBezTo>
                    <a:cubicBezTo>
                      <a:pt x="38" y="109"/>
                      <a:pt x="8" y="76"/>
                      <a:pt x="4" y="71"/>
                    </a:cubicBezTo>
                    <a:cubicBezTo>
                      <a:pt x="0" y="67"/>
                      <a:pt x="38" y="97"/>
                      <a:pt x="47" y="116"/>
                    </a:cubicBezTo>
                    <a:cubicBezTo>
                      <a:pt x="54" y="126"/>
                      <a:pt x="54" y="126"/>
                      <a:pt x="54" y="126"/>
                    </a:cubicBezTo>
                    <a:cubicBezTo>
                      <a:pt x="54" y="126"/>
                      <a:pt x="62" y="111"/>
                      <a:pt x="60" y="105"/>
                    </a:cubicBezTo>
                    <a:cubicBezTo>
                      <a:pt x="59" y="98"/>
                      <a:pt x="28" y="64"/>
                      <a:pt x="25" y="63"/>
                    </a:cubicBezTo>
                    <a:cubicBezTo>
                      <a:pt x="22" y="61"/>
                      <a:pt x="51" y="79"/>
                      <a:pt x="63" y="97"/>
                    </a:cubicBezTo>
                    <a:cubicBezTo>
                      <a:pt x="63" y="97"/>
                      <a:pt x="74" y="48"/>
                      <a:pt x="74" y="33"/>
                    </a:cubicBezTo>
                    <a:cubicBezTo>
                      <a:pt x="74" y="19"/>
                      <a:pt x="82" y="3"/>
                      <a:pt x="88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161">
                <a:extLst>
                  <a:ext uri="{FF2B5EF4-FFF2-40B4-BE49-F238E27FC236}">
                    <a16:creationId xmlns:a16="http://schemas.microsoft.com/office/drawing/2014/main" id="{73CDE7E6-9AC5-46D0-A9A5-7EEC40D523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9324" y="1764501"/>
                <a:ext cx="214527" cy="180776"/>
              </a:xfrm>
              <a:custGeom>
                <a:avLst/>
                <a:gdLst>
                  <a:gd name="T0" fmla="*/ 57 w 57"/>
                  <a:gd name="T1" fmla="*/ 25 h 48"/>
                  <a:gd name="T2" fmla="*/ 40 w 57"/>
                  <a:gd name="T3" fmla="*/ 46 h 48"/>
                  <a:gd name="T4" fmla="*/ 11 w 57"/>
                  <a:gd name="T5" fmla="*/ 28 h 48"/>
                  <a:gd name="T6" fmla="*/ 0 w 57"/>
                  <a:gd name="T7" fmla="*/ 26 h 48"/>
                  <a:gd name="T8" fmla="*/ 5 w 57"/>
                  <a:gd name="T9" fmla="*/ 0 h 48"/>
                  <a:gd name="T10" fmla="*/ 22 w 57"/>
                  <a:gd name="T11" fmla="*/ 4 h 48"/>
                  <a:gd name="T12" fmla="*/ 57 w 57"/>
                  <a:gd name="T13" fmla="*/ 25 h 48"/>
                  <a:gd name="connsiteX0" fmla="*/ 10010 w 10010"/>
                  <a:gd name="connsiteY0" fmla="*/ 5603 h 9989"/>
                  <a:gd name="connsiteX1" fmla="*/ 7028 w 10010"/>
                  <a:gd name="connsiteY1" fmla="*/ 9978 h 9989"/>
                  <a:gd name="connsiteX2" fmla="*/ 1940 w 10010"/>
                  <a:gd name="connsiteY2" fmla="*/ 6228 h 9989"/>
                  <a:gd name="connsiteX3" fmla="*/ 10 w 10010"/>
                  <a:gd name="connsiteY3" fmla="*/ 5812 h 9989"/>
                  <a:gd name="connsiteX4" fmla="*/ 1109 w 10010"/>
                  <a:gd name="connsiteY4" fmla="*/ 0 h 9989"/>
                  <a:gd name="connsiteX5" fmla="*/ 3870 w 10010"/>
                  <a:gd name="connsiteY5" fmla="*/ 1228 h 9989"/>
                  <a:gd name="connsiteX6" fmla="*/ 10010 w 10010"/>
                  <a:gd name="connsiteY6" fmla="*/ 5603 h 9989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1229 h 10000"/>
                  <a:gd name="connsiteX6" fmla="*/ 10000 w 10000"/>
                  <a:gd name="connsiteY6" fmla="*/ 5609 h 10000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702 h 10000"/>
                  <a:gd name="connsiteX6" fmla="*/ 10000 w 10000"/>
                  <a:gd name="connsiteY6" fmla="*/ 5609 h 10000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702 h 10000"/>
                  <a:gd name="connsiteX6" fmla="*/ 10000 w 10000"/>
                  <a:gd name="connsiteY6" fmla="*/ 560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5609"/>
                    </a:moveTo>
                    <a:cubicBezTo>
                      <a:pt x="10000" y="5609"/>
                      <a:pt x="8423" y="9573"/>
                      <a:pt x="7021" y="9989"/>
                    </a:cubicBezTo>
                    <a:cubicBezTo>
                      <a:pt x="7021" y="9989"/>
                      <a:pt x="3515" y="10406"/>
                      <a:pt x="1938" y="6235"/>
                    </a:cubicBezTo>
                    <a:cubicBezTo>
                      <a:pt x="10" y="5818"/>
                      <a:pt x="148" y="6858"/>
                      <a:pt x="10" y="5818"/>
                    </a:cubicBezTo>
                    <a:cubicBezTo>
                      <a:pt x="-128" y="4779"/>
                      <a:pt x="1108" y="0"/>
                      <a:pt x="1108" y="0"/>
                    </a:cubicBezTo>
                    <a:cubicBezTo>
                      <a:pt x="4088" y="834"/>
                      <a:pt x="2383" y="426"/>
                      <a:pt x="3866" y="702"/>
                    </a:cubicBezTo>
                    <a:cubicBezTo>
                      <a:pt x="5349" y="978"/>
                      <a:pt x="3340" y="3316"/>
                      <a:pt x="10000" y="5609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162">
                <a:extLst>
                  <a:ext uri="{FF2B5EF4-FFF2-40B4-BE49-F238E27FC236}">
                    <a16:creationId xmlns:a16="http://schemas.microsoft.com/office/drawing/2014/main" id="{82C08198-A814-4935-8497-4E6DD09628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5925" y="1641475"/>
                <a:ext cx="44450" cy="122238"/>
              </a:xfrm>
              <a:custGeom>
                <a:avLst/>
                <a:gdLst>
                  <a:gd name="T0" fmla="*/ 12 w 12"/>
                  <a:gd name="T1" fmla="*/ 2 h 33"/>
                  <a:gd name="T2" fmla="*/ 2 w 12"/>
                  <a:gd name="T3" fmla="*/ 2 h 33"/>
                  <a:gd name="T4" fmla="*/ 3 w 12"/>
                  <a:gd name="T5" fmla="*/ 18 h 33"/>
                  <a:gd name="T6" fmla="*/ 10 w 12"/>
                  <a:gd name="T7" fmla="*/ 32 h 33"/>
                  <a:gd name="T8" fmla="*/ 12 w 12"/>
                  <a:gd name="T9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3">
                    <a:moveTo>
                      <a:pt x="12" y="2"/>
                    </a:moveTo>
                    <a:cubicBezTo>
                      <a:pt x="12" y="2"/>
                      <a:pt x="3" y="0"/>
                      <a:pt x="2" y="2"/>
                    </a:cubicBezTo>
                    <a:cubicBezTo>
                      <a:pt x="1" y="4"/>
                      <a:pt x="0" y="13"/>
                      <a:pt x="3" y="18"/>
                    </a:cubicBezTo>
                    <a:cubicBezTo>
                      <a:pt x="6" y="23"/>
                      <a:pt x="10" y="30"/>
                      <a:pt x="10" y="32"/>
                    </a:cubicBezTo>
                    <a:cubicBezTo>
                      <a:pt x="10" y="33"/>
                      <a:pt x="10" y="6"/>
                      <a:pt x="12" y="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163">
                <a:extLst>
                  <a:ext uri="{FF2B5EF4-FFF2-40B4-BE49-F238E27FC236}">
                    <a16:creationId xmlns:a16="http://schemas.microsoft.com/office/drawing/2014/main" id="{133C6125-08FE-4AC2-BBFD-688FA8E017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0" y="1243013"/>
                <a:ext cx="250825" cy="233363"/>
              </a:xfrm>
              <a:custGeom>
                <a:avLst/>
                <a:gdLst>
                  <a:gd name="T0" fmla="*/ 0 w 67"/>
                  <a:gd name="T1" fmla="*/ 62 h 62"/>
                  <a:gd name="T2" fmla="*/ 48 w 67"/>
                  <a:gd name="T3" fmla="*/ 26 h 62"/>
                  <a:gd name="T4" fmla="*/ 67 w 67"/>
                  <a:gd name="T5" fmla="*/ 0 h 62"/>
                  <a:gd name="T6" fmla="*/ 13 w 67"/>
                  <a:gd name="T7" fmla="*/ 61 h 62"/>
                  <a:gd name="T8" fmla="*/ 0 w 67"/>
                  <a:gd name="T9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62">
                    <a:moveTo>
                      <a:pt x="0" y="62"/>
                    </a:moveTo>
                    <a:cubicBezTo>
                      <a:pt x="0" y="62"/>
                      <a:pt x="43" y="33"/>
                      <a:pt x="48" y="26"/>
                    </a:cubicBezTo>
                    <a:cubicBezTo>
                      <a:pt x="48" y="26"/>
                      <a:pt x="60" y="14"/>
                      <a:pt x="67" y="0"/>
                    </a:cubicBezTo>
                    <a:cubicBezTo>
                      <a:pt x="67" y="0"/>
                      <a:pt x="67" y="26"/>
                      <a:pt x="13" y="61"/>
                    </a:cubicBez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164">
                <a:extLst>
                  <a:ext uri="{FF2B5EF4-FFF2-40B4-BE49-F238E27FC236}">
                    <a16:creationId xmlns:a16="http://schemas.microsoft.com/office/drawing/2014/main" id="{E411A5ED-E022-42E0-9A0C-B86C22F8F1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56088" y="2165350"/>
                <a:ext cx="261938" cy="63500"/>
              </a:xfrm>
              <a:custGeom>
                <a:avLst/>
                <a:gdLst>
                  <a:gd name="T0" fmla="*/ 70 w 70"/>
                  <a:gd name="T1" fmla="*/ 0 h 17"/>
                  <a:gd name="T2" fmla="*/ 39 w 70"/>
                  <a:gd name="T3" fmla="*/ 13 h 17"/>
                  <a:gd name="T4" fmla="*/ 0 w 70"/>
                  <a:gd name="T5" fmla="*/ 17 h 17"/>
                  <a:gd name="T6" fmla="*/ 26 w 70"/>
                  <a:gd name="T7" fmla="*/ 11 h 17"/>
                  <a:gd name="T8" fmla="*/ 70 w 70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17">
                    <a:moveTo>
                      <a:pt x="70" y="0"/>
                    </a:moveTo>
                    <a:cubicBezTo>
                      <a:pt x="70" y="0"/>
                      <a:pt x="54" y="11"/>
                      <a:pt x="39" y="13"/>
                    </a:cubicBezTo>
                    <a:cubicBezTo>
                      <a:pt x="24" y="15"/>
                      <a:pt x="0" y="17"/>
                      <a:pt x="0" y="17"/>
                    </a:cubicBezTo>
                    <a:cubicBezTo>
                      <a:pt x="0" y="17"/>
                      <a:pt x="3" y="13"/>
                      <a:pt x="26" y="11"/>
                    </a:cubicBezTo>
                    <a:cubicBezTo>
                      <a:pt x="49" y="9"/>
                      <a:pt x="58" y="4"/>
                      <a:pt x="70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65">
                <a:extLst>
                  <a:ext uri="{FF2B5EF4-FFF2-40B4-BE49-F238E27FC236}">
                    <a16:creationId xmlns:a16="http://schemas.microsoft.com/office/drawing/2014/main" id="{62B4E845-6CBE-4A34-8E03-35B45B8198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30513" y="1674813"/>
                <a:ext cx="74613" cy="130175"/>
              </a:xfrm>
              <a:custGeom>
                <a:avLst/>
                <a:gdLst>
                  <a:gd name="T0" fmla="*/ 17 w 20"/>
                  <a:gd name="T1" fmla="*/ 0 h 35"/>
                  <a:gd name="T2" fmla="*/ 9 w 20"/>
                  <a:gd name="T3" fmla="*/ 10 h 35"/>
                  <a:gd name="T4" fmla="*/ 2 w 20"/>
                  <a:gd name="T5" fmla="*/ 29 h 35"/>
                  <a:gd name="T6" fmla="*/ 16 w 20"/>
                  <a:gd name="T7" fmla="*/ 33 h 35"/>
                  <a:gd name="T8" fmla="*/ 17 w 20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5">
                    <a:moveTo>
                      <a:pt x="17" y="0"/>
                    </a:moveTo>
                    <a:cubicBezTo>
                      <a:pt x="17" y="0"/>
                      <a:pt x="14" y="5"/>
                      <a:pt x="9" y="10"/>
                    </a:cubicBezTo>
                    <a:cubicBezTo>
                      <a:pt x="5" y="15"/>
                      <a:pt x="0" y="25"/>
                      <a:pt x="2" y="29"/>
                    </a:cubicBezTo>
                    <a:cubicBezTo>
                      <a:pt x="4" y="32"/>
                      <a:pt x="14" y="35"/>
                      <a:pt x="16" y="33"/>
                    </a:cubicBezTo>
                    <a:cubicBezTo>
                      <a:pt x="17" y="32"/>
                      <a:pt x="20" y="7"/>
                      <a:pt x="17" y="0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166">
                <a:extLst>
                  <a:ext uri="{FF2B5EF4-FFF2-40B4-BE49-F238E27FC236}">
                    <a16:creationId xmlns:a16="http://schemas.microsoft.com/office/drawing/2014/main" id="{196A43F1-768D-4A98-8432-92438DC0E0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2038" y="1677988"/>
                <a:ext cx="112713" cy="71438"/>
              </a:xfrm>
              <a:custGeom>
                <a:avLst/>
                <a:gdLst>
                  <a:gd name="T0" fmla="*/ 2 w 30"/>
                  <a:gd name="T1" fmla="*/ 19 h 19"/>
                  <a:gd name="T2" fmla="*/ 24 w 30"/>
                  <a:gd name="T3" fmla="*/ 7 h 19"/>
                  <a:gd name="T4" fmla="*/ 0 w 30"/>
                  <a:gd name="T5" fmla="*/ 12 h 19"/>
                  <a:gd name="T6" fmla="*/ 2 w 30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9">
                    <a:moveTo>
                      <a:pt x="2" y="19"/>
                    </a:moveTo>
                    <a:cubicBezTo>
                      <a:pt x="2" y="19"/>
                      <a:pt x="17" y="11"/>
                      <a:pt x="24" y="7"/>
                    </a:cubicBezTo>
                    <a:cubicBezTo>
                      <a:pt x="30" y="3"/>
                      <a:pt x="29" y="0"/>
                      <a:pt x="0" y="12"/>
                    </a:cubicBezTo>
                    <a:lnTo>
                      <a:pt x="2" y="19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167">
                <a:extLst>
                  <a:ext uri="{FF2B5EF4-FFF2-40B4-BE49-F238E27FC236}">
                    <a16:creationId xmlns:a16="http://schemas.microsoft.com/office/drawing/2014/main" id="{53151E78-118B-4F39-B431-2BE73D7DE0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3938" y="1614488"/>
                <a:ext cx="209550" cy="41275"/>
              </a:xfrm>
              <a:custGeom>
                <a:avLst/>
                <a:gdLst>
                  <a:gd name="T0" fmla="*/ 0 w 56"/>
                  <a:gd name="T1" fmla="*/ 6 h 11"/>
                  <a:gd name="T2" fmla="*/ 35 w 56"/>
                  <a:gd name="T3" fmla="*/ 2 h 11"/>
                  <a:gd name="T4" fmla="*/ 0 w 56"/>
                  <a:gd name="T5" fmla="*/ 11 h 11"/>
                  <a:gd name="T6" fmla="*/ 0 w 5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11">
                    <a:moveTo>
                      <a:pt x="0" y="6"/>
                    </a:moveTo>
                    <a:cubicBezTo>
                      <a:pt x="0" y="6"/>
                      <a:pt x="30" y="5"/>
                      <a:pt x="35" y="2"/>
                    </a:cubicBezTo>
                    <a:cubicBezTo>
                      <a:pt x="40" y="0"/>
                      <a:pt x="56" y="9"/>
                      <a:pt x="0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68">
                <a:extLst>
                  <a:ext uri="{FF2B5EF4-FFF2-40B4-BE49-F238E27FC236}">
                    <a16:creationId xmlns:a16="http://schemas.microsoft.com/office/drawing/2014/main" id="{E429C402-EFFE-4697-A7DA-CF824B9874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7438" y="1457325"/>
                <a:ext cx="176213" cy="104775"/>
              </a:xfrm>
              <a:custGeom>
                <a:avLst/>
                <a:gdLst>
                  <a:gd name="T0" fmla="*/ 17 w 47"/>
                  <a:gd name="T1" fmla="*/ 7 h 28"/>
                  <a:gd name="T2" fmla="*/ 39 w 47"/>
                  <a:gd name="T3" fmla="*/ 8 h 28"/>
                  <a:gd name="T4" fmla="*/ 40 w 47"/>
                  <a:gd name="T5" fmla="*/ 28 h 28"/>
                  <a:gd name="T6" fmla="*/ 28 w 47"/>
                  <a:gd name="T7" fmla="*/ 25 h 28"/>
                  <a:gd name="T8" fmla="*/ 4 w 47"/>
                  <a:gd name="T9" fmla="*/ 25 h 28"/>
                  <a:gd name="T10" fmla="*/ 16 w 47"/>
                  <a:gd name="T11" fmla="*/ 18 h 28"/>
                  <a:gd name="T12" fmla="*/ 17 w 47"/>
                  <a:gd name="T13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28">
                    <a:moveTo>
                      <a:pt x="17" y="7"/>
                    </a:moveTo>
                    <a:cubicBezTo>
                      <a:pt x="17" y="7"/>
                      <a:pt x="30" y="0"/>
                      <a:pt x="39" y="8"/>
                    </a:cubicBezTo>
                    <a:cubicBezTo>
                      <a:pt x="47" y="16"/>
                      <a:pt x="38" y="25"/>
                      <a:pt x="40" y="28"/>
                    </a:cubicBezTo>
                    <a:cubicBezTo>
                      <a:pt x="40" y="28"/>
                      <a:pt x="39" y="22"/>
                      <a:pt x="28" y="25"/>
                    </a:cubicBezTo>
                    <a:cubicBezTo>
                      <a:pt x="18" y="28"/>
                      <a:pt x="8" y="26"/>
                      <a:pt x="4" y="25"/>
                    </a:cubicBezTo>
                    <a:cubicBezTo>
                      <a:pt x="0" y="25"/>
                      <a:pt x="14" y="21"/>
                      <a:pt x="16" y="18"/>
                    </a:cubicBezTo>
                    <a:cubicBezTo>
                      <a:pt x="17" y="15"/>
                      <a:pt x="20" y="15"/>
                      <a:pt x="17" y="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169">
                <a:extLst>
                  <a:ext uri="{FF2B5EF4-FFF2-40B4-BE49-F238E27FC236}">
                    <a16:creationId xmlns:a16="http://schemas.microsoft.com/office/drawing/2014/main" id="{A5A0AEC9-A780-493B-862F-7F873871B7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0763" y="1460500"/>
                <a:ext cx="130175" cy="22225"/>
              </a:xfrm>
              <a:custGeom>
                <a:avLst/>
                <a:gdLst>
                  <a:gd name="T0" fmla="*/ 0 w 35"/>
                  <a:gd name="T1" fmla="*/ 0 h 6"/>
                  <a:gd name="T2" fmla="*/ 26 w 35"/>
                  <a:gd name="T3" fmla="*/ 0 h 6"/>
                  <a:gd name="T4" fmla="*/ 35 w 35"/>
                  <a:gd name="T5" fmla="*/ 6 h 6"/>
                  <a:gd name="T6" fmla="*/ 0 w 3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6">
                    <a:moveTo>
                      <a:pt x="0" y="0"/>
                    </a:moveTo>
                    <a:cubicBezTo>
                      <a:pt x="0" y="0"/>
                      <a:pt x="15" y="0"/>
                      <a:pt x="26" y="0"/>
                    </a:cubicBezTo>
                    <a:cubicBezTo>
                      <a:pt x="26" y="0"/>
                      <a:pt x="32" y="0"/>
                      <a:pt x="35" y="6"/>
                    </a:cubicBezTo>
                    <a:cubicBezTo>
                      <a:pt x="35" y="6"/>
                      <a:pt x="3" y="5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170">
                <a:extLst>
                  <a:ext uri="{FF2B5EF4-FFF2-40B4-BE49-F238E27FC236}">
                    <a16:creationId xmlns:a16="http://schemas.microsoft.com/office/drawing/2014/main" id="{98B17DE7-60EC-4D5A-A2E3-2D65D243D5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81300" y="1562100"/>
                <a:ext cx="74613" cy="201613"/>
              </a:xfrm>
              <a:custGeom>
                <a:avLst/>
                <a:gdLst>
                  <a:gd name="T0" fmla="*/ 6 w 20"/>
                  <a:gd name="T1" fmla="*/ 0 h 54"/>
                  <a:gd name="T2" fmla="*/ 4 w 20"/>
                  <a:gd name="T3" fmla="*/ 51 h 54"/>
                  <a:gd name="T4" fmla="*/ 19 w 20"/>
                  <a:gd name="T5" fmla="*/ 29 h 54"/>
                  <a:gd name="T6" fmla="*/ 6 w 2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54">
                    <a:moveTo>
                      <a:pt x="6" y="0"/>
                    </a:moveTo>
                    <a:cubicBezTo>
                      <a:pt x="6" y="0"/>
                      <a:pt x="9" y="49"/>
                      <a:pt x="4" y="51"/>
                    </a:cubicBezTo>
                    <a:cubicBezTo>
                      <a:pt x="0" y="54"/>
                      <a:pt x="18" y="36"/>
                      <a:pt x="19" y="29"/>
                    </a:cubicBezTo>
                    <a:cubicBezTo>
                      <a:pt x="20" y="23"/>
                      <a:pt x="13" y="9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171">
                <a:extLst>
                  <a:ext uri="{FF2B5EF4-FFF2-40B4-BE49-F238E27FC236}">
                    <a16:creationId xmlns:a16="http://schemas.microsoft.com/office/drawing/2014/main" id="{8E4AF8E0-17D3-4FD6-9765-47A44EE832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1263" y="1562100"/>
                <a:ext cx="68263" cy="71438"/>
              </a:xfrm>
              <a:custGeom>
                <a:avLst/>
                <a:gdLst>
                  <a:gd name="T0" fmla="*/ 0 w 18"/>
                  <a:gd name="T1" fmla="*/ 11 h 19"/>
                  <a:gd name="T2" fmla="*/ 9 w 18"/>
                  <a:gd name="T3" fmla="*/ 19 h 19"/>
                  <a:gd name="T4" fmla="*/ 0 w 18"/>
                  <a:gd name="T5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9">
                    <a:moveTo>
                      <a:pt x="0" y="11"/>
                    </a:moveTo>
                    <a:cubicBezTo>
                      <a:pt x="0" y="11"/>
                      <a:pt x="9" y="10"/>
                      <a:pt x="9" y="19"/>
                    </a:cubicBezTo>
                    <a:cubicBezTo>
                      <a:pt x="9" y="19"/>
                      <a:pt x="18" y="0"/>
                      <a:pt x="0" y="11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72">
                <a:extLst>
                  <a:ext uri="{FF2B5EF4-FFF2-40B4-BE49-F238E27FC236}">
                    <a16:creationId xmlns:a16="http://schemas.microsoft.com/office/drawing/2014/main" id="{E80AE4A2-D7AB-4C5D-8231-669181F45B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5700" y="1727200"/>
                <a:ext cx="33338" cy="60325"/>
              </a:xfrm>
              <a:custGeom>
                <a:avLst/>
                <a:gdLst>
                  <a:gd name="T0" fmla="*/ 2 w 9"/>
                  <a:gd name="T1" fmla="*/ 6 h 16"/>
                  <a:gd name="T2" fmla="*/ 0 w 9"/>
                  <a:gd name="T3" fmla="*/ 14 h 16"/>
                  <a:gd name="T4" fmla="*/ 9 w 9"/>
                  <a:gd name="T5" fmla="*/ 0 h 16"/>
                  <a:gd name="T6" fmla="*/ 2 w 9"/>
                  <a:gd name="T7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6">
                    <a:moveTo>
                      <a:pt x="2" y="6"/>
                    </a:moveTo>
                    <a:cubicBezTo>
                      <a:pt x="2" y="6"/>
                      <a:pt x="3" y="14"/>
                      <a:pt x="0" y="14"/>
                    </a:cubicBezTo>
                    <a:cubicBezTo>
                      <a:pt x="0" y="14"/>
                      <a:pt x="9" y="16"/>
                      <a:pt x="9" y="0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73">
                <a:extLst>
                  <a:ext uri="{FF2B5EF4-FFF2-40B4-BE49-F238E27FC236}">
                    <a16:creationId xmlns:a16="http://schemas.microsoft.com/office/drawing/2014/main" id="{7439A6CF-C682-4515-90C9-7ACC9A5AAC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87850" y="1283495"/>
                <a:ext cx="258763" cy="379413"/>
              </a:xfrm>
              <a:custGeom>
                <a:avLst/>
                <a:gdLst>
                  <a:gd name="T0" fmla="*/ 65 w 69"/>
                  <a:gd name="T1" fmla="*/ 0 h 101"/>
                  <a:gd name="T2" fmla="*/ 0 w 69"/>
                  <a:gd name="T3" fmla="*/ 96 h 101"/>
                  <a:gd name="T4" fmla="*/ 2 w 69"/>
                  <a:gd name="T5" fmla="*/ 101 h 101"/>
                  <a:gd name="T6" fmla="*/ 69 w 69"/>
                  <a:gd name="T7" fmla="*/ 8 h 101"/>
                  <a:gd name="T8" fmla="*/ 65 w 69"/>
                  <a:gd name="T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01">
                    <a:moveTo>
                      <a:pt x="65" y="0"/>
                    </a:moveTo>
                    <a:cubicBezTo>
                      <a:pt x="65" y="0"/>
                      <a:pt x="4" y="75"/>
                      <a:pt x="0" y="96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47" y="29"/>
                      <a:pt x="69" y="8"/>
                    </a:cubicBez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174">
                <a:extLst>
                  <a:ext uri="{FF2B5EF4-FFF2-40B4-BE49-F238E27FC236}">
                    <a16:creationId xmlns:a16="http://schemas.microsoft.com/office/drawing/2014/main" id="{2184E581-ABB1-47C3-A04E-98F1D2A2A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5444" y="1810544"/>
                <a:ext cx="68263" cy="169863"/>
              </a:xfrm>
              <a:custGeom>
                <a:avLst/>
                <a:gdLst>
                  <a:gd name="T0" fmla="*/ 18 w 18"/>
                  <a:gd name="T1" fmla="*/ 0 h 45"/>
                  <a:gd name="T2" fmla="*/ 17 w 18"/>
                  <a:gd name="T3" fmla="*/ 2 h 45"/>
                  <a:gd name="T4" fmla="*/ 3 w 18"/>
                  <a:gd name="T5" fmla="*/ 45 h 45"/>
                  <a:gd name="T6" fmla="*/ 15 w 18"/>
                  <a:gd name="T7" fmla="*/ 23 h 45"/>
                  <a:gd name="T8" fmla="*/ 18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8" y="0"/>
                    </a:moveTo>
                    <a:cubicBezTo>
                      <a:pt x="18" y="0"/>
                      <a:pt x="17" y="1"/>
                      <a:pt x="17" y="2"/>
                    </a:cubicBezTo>
                    <a:cubicBezTo>
                      <a:pt x="13" y="8"/>
                      <a:pt x="0" y="31"/>
                      <a:pt x="3" y="45"/>
                    </a:cubicBezTo>
                    <a:cubicBezTo>
                      <a:pt x="3" y="45"/>
                      <a:pt x="13" y="29"/>
                      <a:pt x="15" y="23"/>
                    </a:cubicBezTo>
                    <a:cubicBezTo>
                      <a:pt x="17" y="18"/>
                      <a:pt x="13" y="18"/>
                      <a:pt x="18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75">
                <a:extLst>
                  <a:ext uri="{FF2B5EF4-FFF2-40B4-BE49-F238E27FC236}">
                    <a16:creationId xmlns:a16="http://schemas.microsoft.com/office/drawing/2014/main" id="{D868BE3F-4734-4ED8-8EC6-9A72321111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7497" y="2465905"/>
                <a:ext cx="533853" cy="146265"/>
              </a:xfrm>
              <a:custGeom>
                <a:avLst/>
                <a:gdLst>
                  <a:gd name="T0" fmla="*/ 116 w 147"/>
                  <a:gd name="T1" fmla="*/ 1 h 40"/>
                  <a:gd name="T2" fmla="*/ 127 w 147"/>
                  <a:gd name="T3" fmla="*/ 19 h 40"/>
                  <a:gd name="T4" fmla="*/ 39 w 147"/>
                  <a:gd name="T5" fmla="*/ 32 h 40"/>
                  <a:gd name="T6" fmla="*/ 11 w 147"/>
                  <a:gd name="T7" fmla="*/ 40 h 40"/>
                  <a:gd name="T8" fmla="*/ 4 w 147"/>
                  <a:gd name="T9" fmla="*/ 22 h 40"/>
                  <a:gd name="T10" fmla="*/ 8 w 147"/>
                  <a:gd name="T11" fmla="*/ 10 h 40"/>
                  <a:gd name="T12" fmla="*/ 116 w 147"/>
                  <a:gd name="T13" fmla="*/ 1 h 40"/>
                  <a:gd name="connsiteX0" fmla="*/ 7948 w 9153"/>
                  <a:gd name="connsiteY0" fmla="*/ 22 h 9837"/>
                  <a:gd name="connsiteX1" fmla="*/ 8696 w 9153"/>
                  <a:gd name="connsiteY1" fmla="*/ 4522 h 9837"/>
                  <a:gd name="connsiteX2" fmla="*/ 2710 w 9153"/>
                  <a:gd name="connsiteY2" fmla="*/ 7772 h 9837"/>
                  <a:gd name="connsiteX3" fmla="*/ 805 w 9153"/>
                  <a:gd name="connsiteY3" fmla="*/ 9772 h 9837"/>
                  <a:gd name="connsiteX4" fmla="*/ 70 w 9153"/>
                  <a:gd name="connsiteY4" fmla="*/ 4953 h 9837"/>
                  <a:gd name="connsiteX5" fmla="*/ 601 w 9153"/>
                  <a:gd name="connsiteY5" fmla="*/ 2272 h 9837"/>
                  <a:gd name="connsiteX6" fmla="*/ 7948 w 9153"/>
                  <a:gd name="connsiteY6" fmla="*/ 22 h 9837"/>
                  <a:gd name="connsiteX0" fmla="*/ 8684 w 10001"/>
                  <a:gd name="connsiteY0" fmla="*/ 22 h 10000"/>
                  <a:gd name="connsiteX1" fmla="*/ 9502 w 10001"/>
                  <a:gd name="connsiteY1" fmla="*/ 4597 h 10000"/>
                  <a:gd name="connsiteX2" fmla="*/ 2962 w 10001"/>
                  <a:gd name="connsiteY2" fmla="*/ 7901 h 10000"/>
                  <a:gd name="connsiteX3" fmla="*/ 880 w 10001"/>
                  <a:gd name="connsiteY3" fmla="*/ 9934 h 10000"/>
                  <a:gd name="connsiteX4" fmla="*/ 77 w 10001"/>
                  <a:gd name="connsiteY4" fmla="*/ 5035 h 10000"/>
                  <a:gd name="connsiteX5" fmla="*/ 658 w 10001"/>
                  <a:gd name="connsiteY5" fmla="*/ 2310 h 10000"/>
                  <a:gd name="connsiteX6" fmla="*/ 8684 w 10001"/>
                  <a:gd name="connsiteY6" fmla="*/ 22 h 10000"/>
                  <a:gd name="connsiteX0" fmla="*/ 8714 w 10331"/>
                  <a:gd name="connsiteY0" fmla="*/ 36 h 10014"/>
                  <a:gd name="connsiteX1" fmla="*/ 9532 w 10331"/>
                  <a:gd name="connsiteY1" fmla="*/ 4611 h 10014"/>
                  <a:gd name="connsiteX2" fmla="*/ 2992 w 10331"/>
                  <a:gd name="connsiteY2" fmla="*/ 7915 h 10014"/>
                  <a:gd name="connsiteX3" fmla="*/ 910 w 10331"/>
                  <a:gd name="connsiteY3" fmla="*/ 9948 h 10014"/>
                  <a:gd name="connsiteX4" fmla="*/ 107 w 10331"/>
                  <a:gd name="connsiteY4" fmla="*/ 5049 h 10014"/>
                  <a:gd name="connsiteX5" fmla="*/ 311 w 10331"/>
                  <a:gd name="connsiteY5" fmla="*/ 2486 h 10014"/>
                  <a:gd name="connsiteX6" fmla="*/ 8714 w 10331"/>
                  <a:gd name="connsiteY6" fmla="*/ 36 h 10014"/>
                  <a:gd name="connsiteX0" fmla="*/ 8760 w 10377"/>
                  <a:gd name="connsiteY0" fmla="*/ 36 h 10014"/>
                  <a:gd name="connsiteX1" fmla="*/ 9578 w 10377"/>
                  <a:gd name="connsiteY1" fmla="*/ 4611 h 10014"/>
                  <a:gd name="connsiteX2" fmla="*/ 3038 w 10377"/>
                  <a:gd name="connsiteY2" fmla="*/ 7915 h 10014"/>
                  <a:gd name="connsiteX3" fmla="*/ 956 w 10377"/>
                  <a:gd name="connsiteY3" fmla="*/ 9948 h 10014"/>
                  <a:gd name="connsiteX4" fmla="*/ 153 w 10377"/>
                  <a:gd name="connsiteY4" fmla="*/ 5049 h 10014"/>
                  <a:gd name="connsiteX5" fmla="*/ 357 w 10377"/>
                  <a:gd name="connsiteY5" fmla="*/ 2486 h 10014"/>
                  <a:gd name="connsiteX6" fmla="*/ 8760 w 10377"/>
                  <a:gd name="connsiteY6" fmla="*/ 36 h 10014"/>
                  <a:gd name="connsiteX0" fmla="*/ 8760 w 10377"/>
                  <a:gd name="connsiteY0" fmla="*/ 36 h 10014"/>
                  <a:gd name="connsiteX1" fmla="*/ 9578 w 10377"/>
                  <a:gd name="connsiteY1" fmla="*/ 4611 h 10014"/>
                  <a:gd name="connsiteX2" fmla="*/ 3038 w 10377"/>
                  <a:gd name="connsiteY2" fmla="*/ 7915 h 10014"/>
                  <a:gd name="connsiteX3" fmla="*/ 956 w 10377"/>
                  <a:gd name="connsiteY3" fmla="*/ 9948 h 10014"/>
                  <a:gd name="connsiteX4" fmla="*/ 153 w 10377"/>
                  <a:gd name="connsiteY4" fmla="*/ 5049 h 10014"/>
                  <a:gd name="connsiteX5" fmla="*/ 357 w 10377"/>
                  <a:gd name="connsiteY5" fmla="*/ 2486 h 10014"/>
                  <a:gd name="connsiteX6" fmla="*/ 8760 w 10377"/>
                  <a:gd name="connsiteY6" fmla="*/ 36 h 10014"/>
                  <a:gd name="connsiteX0" fmla="*/ 8760 w 10377"/>
                  <a:gd name="connsiteY0" fmla="*/ 36 h 9980"/>
                  <a:gd name="connsiteX1" fmla="*/ 9578 w 10377"/>
                  <a:gd name="connsiteY1" fmla="*/ 4611 h 9980"/>
                  <a:gd name="connsiteX2" fmla="*/ 3038 w 10377"/>
                  <a:gd name="connsiteY2" fmla="*/ 7915 h 9980"/>
                  <a:gd name="connsiteX3" fmla="*/ 956 w 10377"/>
                  <a:gd name="connsiteY3" fmla="*/ 9948 h 9980"/>
                  <a:gd name="connsiteX4" fmla="*/ 77 w 10377"/>
                  <a:gd name="connsiteY4" fmla="*/ 6033 h 9980"/>
                  <a:gd name="connsiteX5" fmla="*/ 153 w 10377"/>
                  <a:gd name="connsiteY5" fmla="*/ 5049 h 9980"/>
                  <a:gd name="connsiteX6" fmla="*/ 357 w 10377"/>
                  <a:gd name="connsiteY6" fmla="*/ 2486 h 9980"/>
                  <a:gd name="connsiteX7" fmla="*/ 8760 w 10377"/>
                  <a:gd name="connsiteY7" fmla="*/ 36 h 9980"/>
                  <a:gd name="connsiteX0" fmla="*/ 8474 w 10032"/>
                  <a:gd name="connsiteY0" fmla="*/ 37 h 10001"/>
                  <a:gd name="connsiteX1" fmla="*/ 9262 w 10032"/>
                  <a:gd name="connsiteY1" fmla="*/ 4621 h 10001"/>
                  <a:gd name="connsiteX2" fmla="*/ 2960 w 10032"/>
                  <a:gd name="connsiteY2" fmla="*/ 7932 h 10001"/>
                  <a:gd name="connsiteX3" fmla="*/ 953 w 10032"/>
                  <a:gd name="connsiteY3" fmla="*/ 9969 h 10001"/>
                  <a:gd name="connsiteX4" fmla="*/ 106 w 10032"/>
                  <a:gd name="connsiteY4" fmla="*/ 6046 h 10001"/>
                  <a:gd name="connsiteX5" fmla="*/ 179 w 10032"/>
                  <a:gd name="connsiteY5" fmla="*/ 5060 h 10001"/>
                  <a:gd name="connsiteX6" fmla="*/ 376 w 10032"/>
                  <a:gd name="connsiteY6" fmla="*/ 2492 h 10001"/>
                  <a:gd name="connsiteX7" fmla="*/ 8474 w 10032"/>
                  <a:gd name="connsiteY7" fmla="*/ 37 h 10001"/>
                  <a:gd name="connsiteX0" fmla="*/ 8575 w 10133"/>
                  <a:gd name="connsiteY0" fmla="*/ 37 h 10001"/>
                  <a:gd name="connsiteX1" fmla="*/ 9363 w 10133"/>
                  <a:gd name="connsiteY1" fmla="*/ 4621 h 10001"/>
                  <a:gd name="connsiteX2" fmla="*/ 3061 w 10133"/>
                  <a:gd name="connsiteY2" fmla="*/ 7932 h 10001"/>
                  <a:gd name="connsiteX3" fmla="*/ 1054 w 10133"/>
                  <a:gd name="connsiteY3" fmla="*/ 9969 h 10001"/>
                  <a:gd name="connsiteX4" fmla="*/ 207 w 10133"/>
                  <a:gd name="connsiteY4" fmla="*/ 6046 h 10001"/>
                  <a:gd name="connsiteX5" fmla="*/ 98 w 10133"/>
                  <a:gd name="connsiteY5" fmla="*/ 5060 h 10001"/>
                  <a:gd name="connsiteX6" fmla="*/ 477 w 10133"/>
                  <a:gd name="connsiteY6" fmla="*/ 2492 h 10001"/>
                  <a:gd name="connsiteX7" fmla="*/ 8575 w 10133"/>
                  <a:gd name="connsiteY7" fmla="*/ 37 h 10001"/>
                  <a:gd name="connsiteX0" fmla="*/ 8609 w 10174"/>
                  <a:gd name="connsiteY0" fmla="*/ 20 h 9984"/>
                  <a:gd name="connsiteX1" fmla="*/ 9397 w 10174"/>
                  <a:gd name="connsiteY1" fmla="*/ 4604 h 9984"/>
                  <a:gd name="connsiteX2" fmla="*/ 3095 w 10174"/>
                  <a:gd name="connsiteY2" fmla="*/ 7915 h 9984"/>
                  <a:gd name="connsiteX3" fmla="*/ 1088 w 10174"/>
                  <a:gd name="connsiteY3" fmla="*/ 9952 h 9984"/>
                  <a:gd name="connsiteX4" fmla="*/ 241 w 10174"/>
                  <a:gd name="connsiteY4" fmla="*/ 6029 h 9984"/>
                  <a:gd name="connsiteX5" fmla="*/ 132 w 10174"/>
                  <a:gd name="connsiteY5" fmla="*/ 5043 h 9984"/>
                  <a:gd name="connsiteX6" fmla="*/ 375 w 10174"/>
                  <a:gd name="connsiteY6" fmla="*/ 2963 h 9984"/>
                  <a:gd name="connsiteX7" fmla="*/ 8609 w 10174"/>
                  <a:gd name="connsiteY7" fmla="*/ 20 h 9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74" h="9984">
                    <a:moveTo>
                      <a:pt x="8609" y="20"/>
                    </a:moveTo>
                    <a:cubicBezTo>
                      <a:pt x="10113" y="293"/>
                      <a:pt x="10830" y="2313"/>
                      <a:pt x="9397" y="4604"/>
                    </a:cubicBezTo>
                    <a:cubicBezTo>
                      <a:pt x="9397" y="4604"/>
                      <a:pt x="3882" y="7660"/>
                      <a:pt x="3095" y="7915"/>
                    </a:cubicBezTo>
                    <a:cubicBezTo>
                      <a:pt x="2235" y="8169"/>
                      <a:pt x="1563" y="10267"/>
                      <a:pt x="1088" y="9952"/>
                    </a:cubicBezTo>
                    <a:cubicBezTo>
                      <a:pt x="613" y="9637"/>
                      <a:pt x="370" y="6848"/>
                      <a:pt x="241" y="6029"/>
                    </a:cubicBezTo>
                    <a:cubicBezTo>
                      <a:pt x="-24" y="3911"/>
                      <a:pt x="103" y="5554"/>
                      <a:pt x="132" y="5043"/>
                    </a:cubicBezTo>
                    <a:cubicBezTo>
                      <a:pt x="-107" y="3147"/>
                      <a:pt x="-21" y="4030"/>
                      <a:pt x="375" y="2963"/>
                    </a:cubicBezTo>
                    <a:cubicBezTo>
                      <a:pt x="589" y="2453"/>
                      <a:pt x="7105" y="-253"/>
                      <a:pt x="8609" y="20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176">
                <a:extLst>
                  <a:ext uri="{FF2B5EF4-FFF2-40B4-BE49-F238E27FC236}">
                    <a16:creationId xmlns:a16="http://schemas.microsoft.com/office/drawing/2014/main" id="{69612B6C-E06D-4697-930C-B1FD70ED48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613" y="2544763"/>
                <a:ext cx="131763" cy="36513"/>
              </a:xfrm>
              <a:custGeom>
                <a:avLst/>
                <a:gdLst>
                  <a:gd name="T0" fmla="*/ 8 w 35"/>
                  <a:gd name="T1" fmla="*/ 8 h 10"/>
                  <a:gd name="T2" fmla="*/ 33 w 35"/>
                  <a:gd name="T3" fmla="*/ 9 h 10"/>
                  <a:gd name="T4" fmla="*/ 33 w 35"/>
                  <a:gd name="T5" fmla="*/ 1 h 10"/>
                  <a:gd name="T6" fmla="*/ 8 w 35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10">
                    <a:moveTo>
                      <a:pt x="8" y="8"/>
                    </a:moveTo>
                    <a:cubicBezTo>
                      <a:pt x="8" y="8"/>
                      <a:pt x="31" y="10"/>
                      <a:pt x="33" y="9"/>
                    </a:cubicBezTo>
                    <a:cubicBezTo>
                      <a:pt x="33" y="9"/>
                      <a:pt x="31" y="2"/>
                      <a:pt x="33" y="1"/>
                    </a:cubicBezTo>
                    <a:cubicBezTo>
                      <a:pt x="35" y="0"/>
                      <a:pt x="0" y="4"/>
                      <a:pt x="8" y="8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177">
                <a:extLst>
                  <a:ext uri="{FF2B5EF4-FFF2-40B4-BE49-F238E27FC236}">
                    <a16:creationId xmlns:a16="http://schemas.microsoft.com/office/drawing/2014/main" id="{DFE13577-34E2-43FA-85A2-A70E841B7E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3588" y="2536825"/>
                <a:ext cx="93663" cy="120650"/>
              </a:xfrm>
              <a:custGeom>
                <a:avLst/>
                <a:gdLst>
                  <a:gd name="T0" fmla="*/ 0 w 25"/>
                  <a:gd name="T1" fmla="*/ 1 h 32"/>
                  <a:gd name="T2" fmla="*/ 24 w 25"/>
                  <a:gd name="T3" fmla="*/ 0 h 32"/>
                  <a:gd name="T4" fmla="*/ 24 w 25"/>
                  <a:gd name="T5" fmla="*/ 21 h 32"/>
                  <a:gd name="T6" fmla="*/ 0 w 25"/>
                  <a:gd name="T7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2">
                    <a:moveTo>
                      <a:pt x="0" y="1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2" y="17"/>
                      <a:pt x="24" y="21"/>
                    </a:cubicBezTo>
                    <a:cubicBezTo>
                      <a:pt x="25" y="25"/>
                      <a:pt x="20" y="32"/>
                      <a:pt x="0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178">
                <a:extLst>
                  <a:ext uri="{FF2B5EF4-FFF2-40B4-BE49-F238E27FC236}">
                    <a16:creationId xmlns:a16="http://schemas.microsoft.com/office/drawing/2014/main" id="{F84F60A5-44A6-46DF-8FF7-20455408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988" y="2525713"/>
                <a:ext cx="71438" cy="157163"/>
              </a:xfrm>
              <a:custGeom>
                <a:avLst/>
                <a:gdLst>
                  <a:gd name="T0" fmla="*/ 0 w 19"/>
                  <a:gd name="T1" fmla="*/ 1 h 42"/>
                  <a:gd name="T2" fmla="*/ 16 w 19"/>
                  <a:gd name="T3" fmla="*/ 0 h 42"/>
                  <a:gd name="T4" fmla="*/ 19 w 19"/>
                  <a:gd name="T5" fmla="*/ 33 h 42"/>
                  <a:gd name="T6" fmla="*/ 0 w 19"/>
                  <a:gd name="T7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42">
                    <a:moveTo>
                      <a:pt x="0" y="1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9" y="14"/>
                      <a:pt x="19" y="33"/>
                    </a:cubicBezTo>
                    <a:cubicBezTo>
                      <a:pt x="19" y="33"/>
                      <a:pt x="6" y="42"/>
                      <a:pt x="0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179">
                <a:extLst>
                  <a:ext uri="{FF2B5EF4-FFF2-40B4-BE49-F238E27FC236}">
                    <a16:creationId xmlns:a16="http://schemas.microsoft.com/office/drawing/2014/main" id="{EA0FDFE2-981E-4D96-8FFD-FB2BB70CFF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1130" y="2599531"/>
                <a:ext cx="555625" cy="176213"/>
              </a:xfrm>
              <a:custGeom>
                <a:avLst/>
                <a:gdLst>
                  <a:gd name="T0" fmla="*/ 0 w 148"/>
                  <a:gd name="T1" fmla="*/ 32 h 47"/>
                  <a:gd name="T2" fmla="*/ 14 w 148"/>
                  <a:gd name="T3" fmla="*/ 20 h 47"/>
                  <a:gd name="T4" fmla="*/ 46 w 148"/>
                  <a:gd name="T5" fmla="*/ 11 h 47"/>
                  <a:gd name="T6" fmla="*/ 78 w 148"/>
                  <a:gd name="T7" fmla="*/ 1 h 47"/>
                  <a:gd name="T8" fmla="*/ 142 w 148"/>
                  <a:gd name="T9" fmla="*/ 16 h 47"/>
                  <a:gd name="T10" fmla="*/ 0 w 148"/>
                  <a:gd name="T11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47">
                    <a:moveTo>
                      <a:pt x="0" y="32"/>
                    </a:moveTo>
                    <a:cubicBezTo>
                      <a:pt x="0" y="32"/>
                      <a:pt x="5" y="25"/>
                      <a:pt x="14" y="20"/>
                    </a:cubicBezTo>
                    <a:cubicBezTo>
                      <a:pt x="23" y="16"/>
                      <a:pt x="44" y="15"/>
                      <a:pt x="46" y="11"/>
                    </a:cubicBezTo>
                    <a:cubicBezTo>
                      <a:pt x="48" y="6"/>
                      <a:pt x="69" y="0"/>
                      <a:pt x="78" y="1"/>
                    </a:cubicBezTo>
                    <a:cubicBezTo>
                      <a:pt x="87" y="2"/>
                      <a:pt x="137" y="18"/>
                      <a:pt x="142" y="16"/>
                    </a:cubicBezTo>
                    <a:cubicBezTo>
                      <a:pt x="148" y="14"/>
                      <a:pt x="75" y="47"/>
                      <a:pt x="0" y="32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180">
                <a:extLst>
                  <a:ext uri="{FF2B5EF4-FFF2-40B4-BE49-F238E27FC236}">
                    <a16:creationId xmlns:a16="http://schemas.microsoft.com/office/drawing/2014/main" id="{04468096-D2FA-4347-A145-EE4D5C97A4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381" y="819150"/>
                <a:ext cx="304800" cy="217488"/>
              </a:xfrm>
              <a:custGeom>
                <a:avLst/>
                <a:gdLst>
                  <a:gd name="T0" fmla="*/ 1 w 81"/>
                  <a:gd name="T1" fmla="*/ 6 h 58"/>
                  <a:gd name="T2" fmla="*/ 19 w 81"/>
                  <a:gd name="T3" fmla="*/ 22 h 58"/>
                  <a:gd name="T4" fmla="*/ 28 w 81"/>
                  <a:gd name="T5" fmla="*/ 36 h 58"/>
                  <a:gd name="T6" fmla="*/ 51 w 81"/>
                  <a:gd name="T7" fmla="*/ 39 h 58"/>
                  <a:gd name="T8" fmla="*/ 73 w 81"/>
                  <a:gd name="T9" fmla="*/ 18 h 58"/>
                  <a:gd name="T10" fmla="*/ 61 w 81"/>
                  <a:gd name="T11" fmla="*/ 11 h 58"/>
                  <a:gd name="T12" fmla="*/ 30 w 81"/>
                  <a:gd name="T13" fmla="*/ 12 h 58"/>
                  <a:gd name="T14" fmla="*/ 11 w 81"/>
                  <a:gd name="T15" fmla="*/ 0 h 58"/>
                  <a:gd name="T16" fmla="*/ 1 w 81"/>
                  <a:gd name="T17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58">
                    <a:moveTo>
                      <a:pt x="1" y="6"/>
                    </a:moveTo>
                    <a:cubicBezTo>
                      <a:pt x="1" y="6"/>
                      <a:pt x="7" y="16"/>
                      <a:pt x="19" y="22"/>
                    </a:cubicBezTo>
                    <a:cubicBezTo>
                      <a:pt x="19" y="22"/>
                      <a:pt x="26" y="27"/>
                      <a:pt x="28" y="36"/>
                    </a:cubicBezTo>
                    <a:cubicBezTo>
                      <a:pt x="28" y="36"/>
                      <a:pt x="35" y="58"/>
                      <a:pt x="51" y="39"/>
                    </a:cubicBezTo>
                    <a:cubicBezTo>
                      <a:pt x="51" y="39"/>
                      <a:pt x="66" y="14"/>
                      <a:pt x="73" y="18"/>
                    </a:cubicBezTo>
                    <a:cubicBezTo>
                      <a:pt x="73" y="18"/>
                      <a:pt x="81" y="10"/>
                      <a:pt x="61" y="11"/>
                    </a:cubicBezTo>
                    <a:cubicBezTo>
                      <a:pt x="42" y="11"/>
                      <a:pt x="37" y="13"/>
                      <a:pt x="30" y="12"/>
                    </a:cubicBezTo>
                    <a:cubicBezTo>
                      <a:pt x="22" y="11"/>
                      <a:pt x="16" y="1"/>
                      <a:pt x="11" y="0"/>
                    </a:cubicBezTo>
                    <a:cubicBezTo>
                      <a:pt x="6" y="0"/>
                      <a:pt x="0" y="2"/>
                      <a:pt x="1" y="6"/>
                    </a:cubicBezTo>
                    <a:close/>
                  </a:path>
                </a:pathLst>
              </a:custGeom>
              <a:solidFill>
                <a:srgbClr val="4C392A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181">
                <a:extLst>
                  <a:ext uri="{FF2B5EF4-FFF2-40B4-BE49-F238E27FC236}">
                    <a16:creationId xmlns:a16="http://schemas.microsoft.com/office/drawing/2014/main" id="{C7CED736-0D61-4CB3-8796-5D59C86EE5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2238" y="2847975"/>
                <a:ext cx="60325" cy="74613"/>
              </a:xfrm>
              <a:custGeom>
                <a:avLst/>
                <a:gdLst>
                  <a:gd name="T0" fmla="*/ 13 w 16"/>
                  <a:gd name="T1" fmla="*/ 2 h 20"/>
                  <a:gd name="T2" fmla="*/ 3 w 16"/>
                  <a:gd name="T3" fmla="*/ 4 h 20"/>
                  <a:gd name="T4" fmla="*/ 7 w 16"/>
                  <a:gd name="T5" fmla="*/ 13 h 20"/>
                  <a:gd name="T6" fmla="*/ 13 w 16"/>
                  <a:gd name="T7" fmla="*/ 16 h 20"/>
                  <a:gd name="T8" fmla="*/ 13 w 16"/>
                  <a:gd name="T9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0">
                    <a:moveTo>
                      <a:pt x="13" y="2"/>
                    </a:moveTo>
                    <a:cubicBezTo>
                      <a:pt x="13" y="2"/>
                      <a:pt x="7" y="0"/>
                      <a:pt x="3" y="4"/>
                    </a:cubicBezTo>
                    <a:cubicBezTo>
                      <a:pt x="0" y="7"/>
                      <a:pt x="2" y="6"/>
                      <a:pt x="7" y="13"/>
                    </a:cubicBezTo>
                    <a:cubicBezTo>
                      <a:pt x="12" y="20"/>
                      <a:pt x="13" y="16"/>
                      <a:pt x="13" y="16"/>
                    </a:cubicBezTo>
                    <a:cubicBezTo>
                      <a:pt x="13" y="16"/>
                      <a:pt x="16" y="8"/>
                      <a:pt x="13" y="2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182">
                <a:extLst>
                  <a:ext uri="{FF2B5EF4-FFF2-40B4-BE49-F238E27FC236}">
                    <a16:creationId xmlns:a16="http://schemas.microsoft.com/office/drawing/2014/main" id="{16F739F8-8150-4F9C-97E0-D573B4D990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84325"/>
                <a:ext cx="57150" cy="115888"/>
              </a:xfrm>
              <a:custGeom>
                <a:avLst/>
                <a:gdLst>
                  <a:gd name="T0" fmla="*/ 6 w 15"/>
                  <a:gd name="T1" fmla="*/ 0 h 31"/>
                  <a:gd name="T2" fmla="*/ 9 w 15"/>
                  <a:gd name="T3" fmla="*/ 20 h 31"/>
                  <a:gd name="T4" fmla="*/ 0 w 15"/>
                  <a:gd name="T5" fmla="*/ 31 h 31"/>
                  <a:gd name="T6" fmla="*/ 6 w 15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15" y="13"/>
                      <a:pt x="9" y="20"/>
                    </a:cubicBezTo>
                    <a:cubicBezTo>
                      <a:pt x="9" y="20"/>
                      <a:pt x="7" y="26"/>
                      <a:pt x="0" y="31"/>
                    </a:cubicBezTo>
                    <a:cubicBezTo>
                      <a:pt x="0" y="31"/>
                      <a:pt x="3" y="10"/>
                      <a:pt x="6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23" name="Gruppieren 82">
            <a:extLst>
              <a:ext uri="{FF2B5EF4-FFF2-40B4-BE49-F238E27FC236}">
                <a16:creationId xmlns:a16="http://schemas.microsoft.com/office/drawing/2014/main" id="{8F8D9E04-7F30-41CA-9D94-A9A5418CCC94}"/>
              </a:ext>
            </a:extLst>
          </p:cNvPr>
          <p:cNvGrpSpPr/>
          <p:nvPr/>
        </p:nvGrpSpPr>
        <p:grpSpPr bwMode="gray">
          <a:xfrm>
            <a:off x="6563712" y="1712294"/>
            <a:ext cx="4944727" cy="2192050"/>
            <a:chOff x="-6271" y="2818701"/>
            <a:chExt cx="9148683" cy="4055708"/>
          </a:xfrm>
        </p:grpSpPr>
        <p:sp>
          <p:nvSpPr>
            <p:cNvPr id="227" name="Freeform 6">
              <a:extLst>
                <a:ext uri="{FF2B5EF4-FFF2-40B4-BE49-F238E27FC236}">
                  <a16:creationId xmlns:a16="http://schemas.microsoft.com/office/drawing/2014/main" id="{49D97B1C-3C97-4044-9D8F-C34F8A3AB899}"/>
                </a:ext>
              </a:extLst>
            </p:cNvPr>
            <p:cNvSpPr>
              <a:spLocks/>
            </p:cNvSpPr>
            <p:nvPr/>
          </p:nvSpPr>
          <p:spPr bwMode="gray">
            <a:xfrm>
              <a:off x="-1" y="4738352"/>
              <a:ext cx="9142413" cy="2114457"/>
            </a:xfrm>
            <a:custGeom>
              <a:avLst/>
              <a:gdLst>
                <a:gd name="T0" fmla="*/ 0 w 7751"/>
                <a:gd name="T1" fmla="*/ 1598 h 1776"/>
                <a:gd name="T2" fmla="*/ 148 w 7751"/>
                <a:gd name="T3" fmla="*/ 814 h 1776"/>
                <a:gd name="T4" fmla="*/ 237 w 7751"/>
                <a:gd name="T5" fmla="*/ 1361 h 1776"/>
                <a:gd name="T6" fmla="*/ 281 w 7751"/>
                <a:gd name="T7" fmla="*/ 725 h 1776"/>
                <a:gd name="T8" fmla="*/ 459 w 7751"/>
                <a:gd name="T9" fmla="*/ 592 h 1776"/>
                <a:gd name="T10" fmla="*/ 504 w 7751"/>
                <a:gd name="T11" fmla="*/ 414 h 1776"/>
                <a:gd name="T12" fmla="*/ 593 w 7751"/>
                <a:gd name="T13" fmla="*/ 592 h 1776"/>
                <a:gd name="T14" fmla="*/ 637 w 7751"/>
                <a:gd name="T15" fmla="*/ 725 h 1776"/>
                <a:gd name="T16" fmla="*/ 830 w 7751"/>
                <a:gd name="T17" fmla="*/ 1051 h 1776"/>
                <a:gd name="T18" fmla="*/ 1141 w 7751"/>
                <a:gd name="T19" fmla="*/ 770 h 1776"/>
                <a:gd name="T20" fmla="*/ 1334 w 7751"/>
                <a:gd name="T21" fmla="*/ 1495 h 1776"/>
                <a:gd name="T22" fmla="*/ 1467 w 7751"/>
                <a:gd name="T23" fmla="*/ 1139 h 1776"/>
                <a:gd name="T24" fmla="*/ 1689 w 7751"/>
                <a:gd name="T25" fmla="*/ 459 h 1776"/>
                <a:gd name="T26" fmla="*/ 2149 w 7751"/>
                <a:gd name="T27" fmla="*/ 947 h 1776"/>
                <a:gd name="T28" fmla="*/ 2238 w 7751"/>
                <a:gd name="T29" fmla="*/ 45 h 1776"/>
                <a:gd name="T30" fmla="*/ 2327 w 7751"/>
                <a:gd name="T31" fmla="*/ 636 h 1776"/>
                <a:gd name="T32" fmla="*/ 2697 w 7751"/>
                <a:gd name="T33" fmla="*/ 1450 h 1776"/>
                <a:gd name="T34" fmla="*/ 2786 w 7751"/>
                <a:gd name="T35" fmla="*/ 222 h 1776"/>
                <a:gd name="T36" fmla="*/ 3290 w 7751"/>
                <a:gd name="T37" fmla="*/ 1406 h 1776"/>
                <a:gd name="T38" fmla="*/ 3512 w 7751"/>
                <a:gd name="T39" fmla="*/ 814 h 1776"/>
                <a:gd name="T40" fmla="*/ 3557 w 7751"/>
                <a:gd name="T41" fmla="*/ 681 h 1776"/>
                <a:gd name="T42" fmla="*/ 3705 w 7751"/>
                <a:gd name="T43" fmla="*/ 459 h 1776"/>
                <a:gd name="T44" fmla="*/ 3883 w 7751"/>
                <a:gd name="T45" fmla="*/ 1361 h 1776"/>
                <a:gd name="T46" fmla="*/ 3972 w 7751"/>
                <a:gd name="T47" fmla="*/ 725 h 1776"/>
                <a:gd name="T48" fmla="*/ 4105 w 7751"/>
                <a:gd name="T49" fmla="*/ 592 h 1776"/>
                <a:gd name="T50" fmla="*/ 4194 w 7751"/>
                <a:gd name="T51" fmla="*/ 459 h 1776"/>
                <a:gd name="T52" fmla="*/ 4253 w 7751"/>
                <a:gd name="T53" fmla="*/ 592 h 1776"/>
                <a:gd name="T54" fmla="*/ 4342 w 7751"/>
                <a:gd name="T55" fmla="*/ 592 h 1776"/>
                <a:gd name="T56" fmla="*/ 4476 w 7751"/>
                <a:gd name="T57" fmla="*/ 725 h 1776"/>
                <a:gd name="T58" fmla="*/ 4802 w 7751"/>
                <a:gd name="T59" fmla="*/ 1051 h 1776"/>
                <a:gd name="T60" fmla="*/ 5024 w 7751"/>
                <a:gd name="T61" fmla="*/ 770 h 1776"/>
                <a:gd name="T62" fmla="*/ 5113 w 7751"/>
                <a:gd name="T63" fmla="*/ 1450 h 1776"/>
                <a:gd name="T64" fmla="*/ 5380 w 7751"/>
                <a:gd name="T65" fmla="*/ 1139 h 1776"/>
                <a:gd name="T66" fmla="*/ 5795 w 7751"/>
                <a:gd name="T67" fmla="*/ 503 h 1776"/>
                <a:gd name="T68" fmla="*/ 5884 w 7751"/>
                <a:gd name="T69" fmla="*/ 947 h 1776"/>
                <a:gd name="T70" fmla="*/ 6017 w 7751"/>
                <a:gd name="T71" fmla="*/ 0 h 1776"/>
                <a:gd name="T72" fmla="*/ 6343 w 7751"/>
                <a:gd name="T73" fmla="*/ 636 h 1776"/>
                <a:gd name="T74" fmla="*/ 6477 w 7751"/>
                <a:gd name="T75" fmla="*/ 1450 h 1776"/>
                <a:gd name="T76" fmla="*/ 6936 w 7751"/>
                <a:gd name="T77" fmla="*/ 267 h 1776"/>
                <a:gd name="T78" fmla="*/ 7218 w 7751"/>
                <a:gd name="T79" fmla="*/ 1361 h 1776"/>
                <a:gd name="T80" fmla="*/ 7307 w 7751"/>
                <a:gd name="T81" fmla="*/ 814 h 1776"/>
                <a:gd name="T82" fmla="*/ 7396 w 7751"/>
                <a:gd name="T83" fmla="*/ 548 h 1776"/>
                <a:gd name="T84" fmla="*/ 7573 w 7751"/>
                <a:gd name="T85" fmla="*/ 459 h 1776"/>
                <a:gd name="T86" fmla="*/ 7751 w 7751"/>
                <a:gd name="T87" fmla="*/ 1361 h 1776"/>
                <a:gd name="T88" fmla="*/ 0 w 7751"/>
                <a:gd name="T89" fmla="*/ 1776 h 1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751" h="1776">
                  <a:moveTo>
                    <a:pt x="0" y="1776"/>
                  </a:moveTo>
                  <a:lnTo>
                    <a:pt x="0" y="1598"/>
                  </a:lnTo>
                  <a:lnTo>
                    <a:pt x="148" y="1495"/>
                  </a:lnTo>
                  <a:lnTo>
                    <a:pt x="148" y="814"/>
                  </a:lnTo>
                  <a:lnTo>
                    <a:pt x="237" y="814"/>
                  </a:lnTo>
                  <a:lnTo>
                    <a:pt x="237" y="1361"/>
                  </a:lnTo>
                  <a:lnTo>
                    <a:pt x="281" y="1361"/>
                  </a:lnTo>
                  <a:lnTo>
                    <a:pt x="281" y="725"/>
                  </a:lnTo>
                  <a:lnTo>
                    <a:pt x="459" y="725"/>
                  </a:lnTo>
                  <a:lnTo>
                    <a:pt x="459" y="592"/>
                  </a:lnTo>
                  <a:lnTo>
                    <a:pt x="504" y="592"/>
                  </a:lnTo>
                  <a:lnTo>
                    <a:pt x="504" y="414"/>
                  </a:lnTo>
                  <a:lnTo>
                    <a:pt x="593" y="414"/>
                  </a:lnTo>
                  <a:lnTo>
                    <a:pt x="593" y="592"/>
                  </a:lnTo>
                  <a:lnTo>
                    <a:pt x="637" y="592"/>
                  </a:lnTo>
                  <a:lnTo>
                    <a:pt x="637" y="725"/>
                  </a:lnTo>
                  <a:lnTo>
                    <a:pt x="830" y="725"/>
                  </a:lnTo>
                  <a:lnTo>
                    <a:pt x="830" y="1051"/>
                  </a:lnTo>
                  <a:lnTo>
                    <a:pt x="1141" y="1051"/>
                  </a:lnTo>
                  <a:lnTo>
                    <a:pt x="1141" y="770"/>
                  </a:lnTo>
                  <a:lnTo>
                    <a:pt x="1334" y="770"/>
                  </a:lnTo>
                  <a:lnTo>
                    <a:pt x="1334" y="1495"/>
                  </a:lnTo>
                  <a:lnTo>
                    <a:pt x="1467" y="1495"/>
                  </a:lnTo>
                  <a:lnTo>
                    <a:pt x="1467" y="1139"/>
                  </a:lnTo>
                  <a:lnTo>
                    <a:pt x="1689" y="1139"/>
                  </a:lnTo>
                  <a:lnTo>
                    <a:pt x="1689" y="459"/>
                  </a:lnTo>
                  <a:lnTo>
                    <a:pt x="2149" y="459"/>
                  </a:lnTo>
                  <a:lnTo>
                    <a:pt x="2149" y="947"/>
                  </a:lnTo>
                  <a:lnTo>
                    <a:pt x="2238" y="947"/>
                  </a:lnTo>
                  <a:lnTo>
                    <a:pt x="2238" y="45"/>
                  </a:lnTo>
                  <a:lnTo>
                    <a:pt x="2327" y="45"/>
                  </a:lnTo>
                  <a:lnTo>
                    <a:pt x="2327" y="636"/>
                  </a:lnTo>
                  <a:lnTo>
                    <a:pt x="2697" y="636"/>
                  </a:lnTo>
                  <a:lnTo>
                    <a:pt x="2697" y="1450"/>
                  </a:lnTo>
                  <a:lnTo>
                    <a:pt x="2786" y="1450"/>
                  </a:lnTo>
                  <a:lnTo>
                    <a:pt x="2786" y="222"/>
                  </a:lnTo>
                  <a:lnTo>
                    <a:pt x="3290" y="222"/>
                  </a:lnTo>
                  <a:lnTo>
                    <a:pt x="3290" y="1406"/>
                  </a:lnTo>
                  <a:lnTo>
                    <a:pt x="3512" y="1406"/>
                  </a:lnTo>
                  <a:lnTo>
                    <a:pt x="3512" y="814"/>
                  </a:lnTo>
                  <a:lnTo>
                    <a:pt x="3557" y="814"/>
                  </a:lnTo>
                  <a:lnTo>
                    <a:pt x="3557" y="681"/>
                  </a:lnTo>
                  <a:lnTo>
                    <a:pt x="3705" y="592"/>
                  </a:lnTo>
                  <a:lnTo>
                    <a:pt x="3705" y="459"/>
                  </a:lnTo>
                  <a:lnTo>
                    <a:pt x="3883" y="459"/>
                  </a:lnTo>
                  <a:lnTo>
                    <a:pt x="3883" y="1361"/>
                  </a:lnTo>
                  <a:lnTo>
                    <a:pt x="3972" y="1361"/>
                  </a:lnTo>
                  <a:lnTo>
                    <a:pt x="3972" y="725"/>
                  </a:lnTo>
                  <a:lnTo>
                    <a:pt x="4105" y="725"/>
                  </a:lnTo>
                  <a:lnTo>
                    <a:pt x="4105" y="592"/>
                  </a:lnTo>
                  <a:lnTo>
                    <a:pt x="4194" y="592"/>
                  </a:lnTo>
                  <a:lnTo>
                    <a:pt x="4194" y="459"/>
                  </a:lnTo>
                  <a:lnTo>
                    <a:pt x="4253" y="459"/>
                  </a:lnTo>
                  <a:lnTo>
                    <a:pt x="4253" y="592"/>
                  </a:lnTo>
                  <a:lnTo>
                    <a:pt x="4298" y="592"/>
                  </a:lnTo>
                  <a:lnTo>
                    <a:pt x="4342" y="592"/>
                  </a:lnTo>
                  <a:lnTo>
                    <a:pt x="4342" y="725"/>
                  </a:lnTo>
                  <a:lnTo>
                    <a:pt x="4476" y="725"/>
                  </a:lnTo>
                  <a:lnTo>
                    <a:pt x="4476" y="1051"/>
                  </a:lnTo>
                  <a:lnTo>
                    <a:pt x="4802" y="1051"/>
                  </a:lnTo>
                  <a:lnTo>
                    <a:pt x="4802" y="770"/>
                  </a:lnTo>
                  <a:lnTo>
                    <a:pt x="5024" y="770"/>
                  </a:lnTo>
                  <a:lnTo>
                    <a:pt x="5024" y="1450"/>
                  </a:lnTo>
                  <a:lnTo>
                    <a:pt x="5113" y="1450"/>
                  </a:lnTo>
                  <a:lnTo>
                    <a:pt x="5113" y="1139"/>
                  </a:lnTo>
                  <a:lnTo>
                    <a:pt x="5380" y="1139"/>
                  </a:lnTo>
                  <a:lnTo>
                    <a:pt x="5380" y="503"/>
                  </a:lnTo>
                  <a:lnTo>
                    <a:pt x="5795" y="503"/>
                  </a:lnTo>
                  <a:lnTo>
                    <a:pt x="5795" y="947"/>
                  </a:lnTo>
                  <a:lnTo>
                    <a:pt x="5884" y="947"/>
                  </a:lnTo>
                  <a:lnTo>
                    <a:pt x="5884" y="0"/>
                  </a:lnTo>
                  <a:lnTo>
                    <a:pt x="6017" y="0"/>
                  </a:lnTo>
                  <a:lnTo>
                    <a:pt x="6017" y="636"/>
                  </a:lnTo>
                  <a:lnTo>
                    <a:pt x="6343" y="636"/>
                  </a:lnTo>
                  <a:lnTo>
                    <a:pt x="6343" y="1450"/>
                  </a:lnTo>
                  <a:lnTo>
                    <a:pt x="6477" y="1450"/>
                  </a:lnTo>
                  <a:lnTo>
                    <a:pt x="6477" y="267"/>
                  </a:lnTo>
                  <a:lnTo>
                    <a:pt x="6936" y="267"/>
                  </a:lnTo>
                  <a:lnTo>
                    <a:pt x="6936" y="1361"/>
                  </a:lnTo>
                  <a:lnTo>
                    <a:pt x="7218" y="1361"/>
                  </a:lnTo>
                  <a:lnTo>
                    <a:pt x="7218" y="814"/>
                  </a:lnTo>
                  <a:lnTo>
                    <a:pt x="7307" y="814"/>
                  </a:lnTo>
                  <a:lnTo>
                    <a:pt x="7307" y="636"/>
                  </a:lnTo>
                  <a:lnTo>
                    <a:pt x="7396" y="548"/>
                  </a:lnTo>
                  <a:lnTo>
                    <a:pt x="7396" y="459"/>
                  </a:lnTo>
                  <a:lnTo>
                    <a:pt x="7573" y="459"/>
                  </a:lnTo>
                  <a:lnTo>
                    <a:pt x="7573" y="1228"/>
                  </a:lnTo>
                  <a:lnTo>
                    <a:pt x="7751" y="1361"/>
                  </a:lnTo>
                  <a:lnTo>
                    <a:pt x="7751" y="1776"/>
                  </a:lnTo>
                  <a:lnTo>
                    <a:pt x="0" y="1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60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grpSp>
          <p:nvGrpSpPr>
            <p:cNvPr id="228" name="Gruppieren 136">
              <a:extLst>
                <a:ext uri="{FF2B5EF4-FFF2-40B4-BE49-F238E27FC236}">
                  <a16:creationId xmlns:a16="http://schemas.microsoft.com/office/drawing/2014/main" id="{CEFAE455-2037-49B1-8510-5F6F6CA240F8}"/>
                </a:ext>
              </a:extLst>
            </p:cNvPr>
            <p:cNvGrpSpPr/>
            <p:nvPr/>
          </p:nvGrpSpPr>
          <p:grpSpPr bwMode="gray">
            <a:xfrm>
              <a:off x="-6271" y="2818701"/>
              <a:ext cx="7704600" cy="4055708"/>
              <a:chOff x="-6271" y="2818701"/>
              <a:chExt cx="7704600" cy="4055708"/>
            </a:xfrm>
          </p:grpSpPr>
          <p:sp>
            <p:nvSpPr>
              <p:cNvPr id="229" name="Freeform 132">
                <a:extLst>
                  <a:ext uri="{FF2B5EF4-FFF2-40B4-BE49-F238E27FC236}">
                    <a16:creationId xmlns:a16="http://schemas.microsoft.com/office/drawing/2014/main" id="{578C76F9-FCE6-401C-9F3E-9C7F757D16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7008" y="4675722"/>
                <a:ext cx="92513" cy="246301"/>
              </a:xfrm>
              <a:custGeom>
                <a:avLst/>
                <a:gdLst>
                  <a:gd name="T0" fmla="*/ 29 w 47"/>
                  <a:gd name="T1" fmla="*/ 118 h 125"/>
                  <a:gd name="T2" fmla="*/ 36 w 47"/>
                  <a:gd name="T3" fmla="*/ 58 h 125"/>
                  <a:gd name="T4" fmla="*/ 41 w 47"/>
                  <a:gd name="T5" fmla="*/ 38 h 125"/>
                  <a:gd name="T6" fmla="*/ 24 w 47"/>
                  <a:gd name="T7" fmla="*/ 21 h 125"/>
                  <a:gd name="T8" fmla="*/ 0 w 47"/>
                  <a:gd name="T9" fmla="*/ 0 h 125"/>
                  <a:gd name="T10" fmla="*/ 29 w 47"/>
                  <a:gd name="T11" fmla="*/ 11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125">
                    <a:moveTo>
                      <a:pt x="29" y="118"/>
                    </a:moveTo>
                    <a:cubicBezTo>
                      <a:pt x="29" y="109"/>
                      <a:pt x="25" y="73"/>
                      <a:pt x="36" y="58"/>
                    </a:cubicBezTo>
                    <a:cubicBezTo>
                      <a:pt x="47" y="43"/>
                      <a:pt x="41" y="38"/>
                      <a:pt x="41" y="38"/>
                    </a:cubicBezTo>
                    <a:cubicBezTo>
                      <a:pt x="33" y="32"/>
                      <a:pt x="27" y="26"/>
                      <a:pt x="24" y="21"/>
                    </a:cubicBezTo>
                    <a:cubicBezTo>
                      <a:pt x="16" y="15"/>
                      <a:pt x="7" y="7"/>
                      <a:pt x="0" y="0"/>
                    </a:cubicBezTo>
                    <a:cubicBezTo>
                      <a:pt x="11" y="48"/>
                      <a:pt x="29" y="125"/>
                      <a:pt x="29" y="118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133">
                <a:extLst>
                  <a:ext uri="{FF2B5EF4-FFF2-40B4-BE49-F238E27FC236}">
                    <a16:creationId xmlns:a16="http://schemas.microsoft.com/office/drawing/2014/main" id="{47CD456E-B1A2-4EA5-9912-02E507B7D6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4626" y="3948833"/>
                <a:ext cx="86506" cy="114140"/>
              </a:xfrm>
              <a:custGeom>
                <a:avLst/>
                <a:gdLst>
                  <a:gd name="T0" fmla="*/ 44 w 44"/>
                  <a:gd name="T1" fmla="*/ 58 h 58"/>
                  <a:gd name="T2" fmla="*/ 0 w 44"/>
                  <a:gd name="T3" fmla="*/ 0 h 58"/>
                  <a:gd name="T4" fmla="*/ 44 w 44"/>
                  <a:gd name="T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58">
                    <a:moveTo>
                      <a:pt x="44" y="58"/>
                    </a:moveTo>
                    <a:cubicBezTo>
                      <a:pt x="30" y="38"/>
                      <a:pt x="16" y="17"/>
                      <a:pt x="0" y="0"/>
                    </a:cubicBezTo>
                    <a:cubicBezTo>
                      <a:pt x="5" y="17"/>
                      <a:pt x="17" y="39"/>
                      <a:pt x="44" y="58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134">
                <a:extLst>
                  <a:ext uri="{FF2B5EF4-FFF2-40B4-BE49-F238E27FC236}">
                    <a16:creationId xmlns:a16="http://schemas.microsoft.com/office/drawing/2014/main" id="{8EC8BC34-9BA4-4FB3-B65E-261213C3E2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3596922"/>
                <a:ext cx="1063483" cy="1239797"/>
              </a:xfrm>
              <a:custGeom>
                <a:avLst/>
                <a:gdLst>
                  <a:gd name="T0" fmla="*/ 332 w 536"/>
                  <a:gd name="T1" fmla="*/ 296 h 652"/>
                  <a:gd name="T2" fmla="*/ 432 w 536"/>
                  <a:gd name="T3" fmla="*/ 275 h 652"/>
                  <a:gd name="T4" fmla="*/ 425 w 536"/>
                  <a:gd name="T5" fmla="*/ 264 h 652"/>
                  <a:gd name="T6" fmla="*/ 472 w 536"/>
                  <a:gd name="T7" fmla="*/ 203 h 652"/>
                  <a:gd name="T8" fmla="*/ 503 w 536"/>
                  <a:gd name="T9" fmla="*/ 173 h 652"/>
                  <a:gd name="T10" fmla="*/ 534 w 536"/>
                  <a:gd name="T11" fmla="*/ 197 h 652"/>
                  <a:gd name="T12" fmla="*/ 536 w 536"/>
                  <a:gd name="T13" fmla="*/ 196 h 652"/>
                  <a:gd name="T14" fmla="*/ 534 w 536"/>
                  <a:gd name="T15" fmla="*/ 175 h 652"/>
                  <a:gd name="T16" fmla="*/ 477 w 536"/>
                  <a:gd name="T17" fmla="*/ 59 h 652"/>
                  <a:gd name="T18" fmla="*/ 472 w 536"/>
                  <a:gd name="T19" fmla="*/ 34 h 652"/>
                  <a:gd name="T20" fmla="*/ 418 w 536"/>
                  <a:gd name="T21" fmla="*/ 33 h 652"/>
                  <a:gd name="T22" fmla="*/ 317 w 536"/>
                  <a:gd name="T23" fmla="*/ 65 h 652"/>
                  <a:gd name="T24" fmla="*/ 262 w 536"/>
                  <a:gd name="T25" fmla="*/ 101 h 652"/>
                  <a:gd name="T26" fmla="*/ 176 w 536"/>
                  <a:gd name="T27" fmla="*/ 145 h 652"/>
                  <a:gd name="T28" fmla="*/ 1 w 536"/>
                  <a:gd name="T29" fmla="*/ 199 h 652"/>
                  <a:gd name="T30" fmla="*/ 0 w 536"/>
                  <a:gd name="T31" fmla="*/ 652 h 652"/>
                  <a:gd name="T32" fmla="*/ 133 w 536"/>
                  <a:gd name="T33" fmla="*/ 419 h 652"/>
                  <a:gd name="T34" fmla="*/ 332 w 536"/>
                  <a:gd name="T35" fmla="*/ 296 h 652"/>
                  <a:gd name="connsiteX0" fmla="*/ 6194 w 10000"/>
                  <a:gd name="connsiteY0" fmla="*/ 4202 h 9662"/>
                  <a:gd name="connsiteX1" fmla="*/ 8060 w 10000"/>
                  <a:gd name="connsiteY1" fmla="*/ 3880 h 9662"/>
                  <a:gd name="connsiteX2" fmla="*/ 7929 w 10000"/>
                  <a:gd name="connsiteY2" fmla="*/ 3711 h 9662"/>
                  <a:gd name="connsiteX3" fmla="*/ 8806 w 10000"/>
                  <a:gd name="connsiteY3" fmla="*/ 2775 h 9662"/>
                  <a:gd name="connsiteX4" fmla="*/ 9299 w 10000"/>
                  <a:gd name="connsiteY4" fmla="*/ 2371 h 9662"/>
                  <a:gd name="connsiteX5" fmla="*/ 9963 w 10000"/>
                  <a:gd name="connsiteY5" fmla="*/ 2683 h 9662"/>
                  <a:gd name="connsiteX6" fmla="*/ 10000 w 10000"/>
                  <a:gd name="connsiteY6" fmla="*/ 2668 h 9662"/>
                  <a:gd name="connsiteX7" fmla="*/ 9963 w 10000"/>
                  <a:gd name="connsiteY7" fmla="*/ 2346 h 9662"/>
                  <a:gd name="connsiteX8" fmla="*/ 8899 w 10000"/>
                  <a:gd name="connsiteY8" fmla="*/ 567 h 9662"/>
                  <a:gd name="connsiteX9" fmla="*/ 8806 w 10000"/>
                  <a:gd name="connsiteY9" fmla="*/ 183 h 9662"/>
                  <a:gd name="connsiteX10" fmla="*/ 7799 w 10000"/>
                  <a:gd name="connsiteY10" fmla="*/ 168 h 9662"/>
                  <a:gd name="connsiteX11" fmla="*/ 5914 w 10000"/>
                  <a:gd name="connsiteY11" fmla="*/ 659 h 9662"/>
                  <a:gd name="connsiteX12" fmla="*/ 4888 w 10000"/>
                  <a:gd name="connsiteY12" fmla="*/ 1211 h 9662"/>
                  <a:gd name="connsiteX13" fmla="*/ 3284 w 10000"/>
                  <a:gd name="connsiteY13" fmla="*/ 1886 h 9662"/>
                  <a:gd name="connsiteX14" fmla="*/ 19 w 10000"/>
                  <a:gd name="connsiteY14" fmla="*/ 2714 h 9662"/>
                  <a:gd name="connsiteX15" fmla="*/ 0 w 10000"/>
                  <a:gd name="connsiteY15" fmla="*/ 9662 h 9662"/>
                  <a:gd name="connsiteX16" fmla="*/ 2481 w 10000"/>
                  <a:gd name="connsiteY16" fmla="*/ 6088 h 9662"/>
                  <a:gd name="connsiteX17" fmla="*/ 6194 w 10000"/>
                  <a:gd name="connsiteY17" fmla="*/ 4202 h 9662"/>
                  <a:gd name="connsiteX0" fmla="*/ 6194 w 10000"/>
                  <a:gd name="connsiteY0" fmla="*/ 4349 h 10000"/>
                  <a:gd name="connsiteX1" fmla="*/ 8060 w 10000"/>
                  <a:gd name="connsiteY1" fmla="*/ 4016 h 10000"/>
                  <a:gd name="connsiteX2" fmla="*/ 7929 w 10000"/>
                  <a:gd name="connsiteY2" fmla="*/ 3841 h 10000"/>
                  <a:gd name="connsiteX3" fmla="*/ 8203 w 10000"/>
                  <a:gd name="connsiteY3" fmla="*/ 3793 h 10000"/>
                  <a:gd name="connsiteX4" fmla="*/ 8806 w 10000"/>
                  <a:gd name="connsiteY4" fmla="*/ 2872 h 10000"/>
                  <a:gd name="connsiteX5" fmla="*/ 9299 w 10000"/>
                  <a:gd name="connsiteY5" fmla="*/ 2454 h 10000"/>
                  <a:gd name="connsiteX6" fmla="*/ 9963 w 10000"/>
                  <a:gd name="connsiteY6" fmla="*/ 2777 h 10000"/>
                  <a:gd name="connsiteX7" fmla="*/ 10000 w 10000"/>
                  <a:gd name="connsiteY7" fmla="*/ 2761 h 10000"/>
                  <a:gd name="connsiteX8" fmla="*/ 9963 w 10000"/>
                  <a:gd name="connsiteY8" fmla="*/ 2428 h 10000"/>
                  <a:gd name="connsiteX9" fmla="*/ 8899 w 10000"/>
                  <a:gd name="connsiteY9" fmla="*/ 587 h 10000"/>
                  <a:gd name="connsiteX10" fmla="*/ 8806 w 10000"/>
                  <a:gd name="connsiteY10" fmla="*/ 189 h 10000"/>
                  <a:gd name="connsiteX11" fmla="*/ 7799 w 10000"/>
                  <a:gd name="connsiteY11" fmla="*/ 174 h 10000"/>
                  <a:gd name="connsiteX12" fmla="*/ 5914 w 10000"/>
                  <a:gd name="connsiteY12" fmla="*/ 682 h 10000"/>
                  <a:gd name="connsiteX13" fmla="*/ 4888 w 10000"/>
                  <a:gd name="connsiteY13" fmla="*/ 1253 h 10000"/>
                  <a:gd name="connsiteX14" fmla="*/ 3284 w 10000"/>
                  <a:gd name="connsiteY14" fmla="*/ 1952 h 10000"/>
                  <a:gd name="connsiteX15" fmla="*/ 19 w 10000"/>
                  <a:gd name="connsiteY15" fmla="*/ 2809 h 10000"/>
                  <a:gd name="connsiteX16" fmla="*/ 0 w 10000"/>
                  <a:gd name="connsiteY16" fmla="*/ 10000 h 10000"/>
                  <a:gd name="connsiteX17" fmla="*/ 2481 w 10000"/>
                  <a:gd name="connsiteY17" fmla="*/ 6301 h 10000"/>
                  <a:gd name="connsiteX18" fmla="*/ 6194 w 10000"/>
                  <a:gd name="connsiteY18" fmla="*/ 4349 h 10000"/>
                  <a:gd name="connsiteX0" fmla="*/ 6194 w 10000"/>
                  <a:gd name="connsiteY0" fmla="*/ 4349 h 10000"/>
                  <a:gd name="connsiteX1" fmla="*/ 8145 w 10000"/>
                  <a:gd name="connsiteY1" fmla="*/ 4132 h 10000"/>
                  <a:gd name="connsiteX2" fmla="*/ 7929 w 10000"/>
                  <a:gd name="connsiteY2" fmla="*/ 3841 h 10000"/>
                  <a:gd name="connsiteX3" fmla="*/ 8203 w 10000"/>
                  <a:gd name="connsiteY3" fmla="*/ 3793 h 10000"/>
                  <a:gd name="connsiteX4" fmla="*/ 8806 w 10000"/>
                  <a:gd name="connsiteY4" fmla="*/ 2872 h 10000"/>
                  <a:gd name="connsiteX5" fmla="*/ 9299 w 10000"/>
                  <a:gd name="connsiteY5" fmla="*/ 2454 h 10000"/>
                  <a:gd name="connsiteX6" fmla="*/ 9963 w 10000"/>
                  <a:gd name="connsiteY6" fmla="*/ 2777 h 10000"/>
                  <a:gd name="connsiteX7" fmla="*/ 10000 w 10000"/>
                  <a:gd name="connsiteY7" fmla="*/ 2761 h 10000"/>
                  <a:gd name="connsiteX8" fmla="*/ 9963 w 10000"/>
                  <a:gd name="connsiteY8" fmla="*/ 2428 h 10000"/>
                  <a:gd name="connsiteX9" fmla="*/ 8899 w 10000"/>
                  <a:gd name="connsiteY9" fmla="*/ 587 h 10000"/>
                  <a:gd name="connsiteX10" fmla="*/ 8806 w 10000"/>
                  <a:gd name="connsiteY10" fmla="*/ 189 h 10000"/>
                  <a:gd name="connsiteX11" fmla="*/ 7799 w 10000"/>
                  <a:gd name="connsiteY11" fmla="*/ 174 h 10000"/>
                  <a:gd name="connsiteX12" fmla="*/ 5914 w 10000"/>
                  <a:gd name="connsiteY12" fmla="*/ 682 h 10000"/>
                  <a:gd name="connsiteX13" fmla="*/ 4888 w 10000"/>
                  <a:gd name="connsiteY13" fmla="*/ 1253 h 10000"/>
                  <a:gd name="connsiteX14" fmla="*/ 3284 w 10000"/>
                  <a:gd name="connsiteY14" fmla="*/ 1952 h 10000"/>
                  <a:gd name="connsiteX15" fmla="*/ 19 w 10000"/>
                  <a:gd name="connsiteY15" fmla="*/ 2809 h 10000"/>
                  <a:gd name="connsiteX16" fmla="*/ 0 w 10000"/>
                  <a:gd name="connsiteY16" fmla="*/ 10000 h 10000"/>
                  <a:gd name="connsiteX17" fmla="*/ 2481 w 10000"/>
                  <a:gd name="connsiteY17" fmla="*/ 6301 h 10000"/>
                  <a:gd name="connsiteX18" fmla="*/ 6194 w 10000"/>
                  <a:gd name="connsiteY18" fmla="*/ 4349 h 10000"/>
                  <a:gd name="connsiteX0" fmla="*/ 6194 w 10000"/>
                  <a:gd name="connsiteY0" fmla="*/ 434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99 w 10000"/>
                  <a:gd name="connsiteY4" fmla="*/ 2454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194 w 10000"/>
                  <a:gd name="connsiteY17" fmla="*/ 4349 h 10000"/>
                  <a:gd name="connsiteX0" fmla="*/ 6228 w 10000"/>
                  <a:gd name="connsiteY0" fmla="*/ 450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99 w 10000"/>
                  <a:gd name="connsiteY4" fmla="*/ 2454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228 w 10000"/>
                  <a:gd name="connsiteY17" fmla="*/ 4509 h 10000"/>
                  <a:gd name="connsiteX0" fmla="*/ 6228 w 10000"/>
                  <a:gd name="connsiteY0" fmla="*/ 450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65 w 10000"/>
                  <a:gd name="connsiteY4" fmla="*/ 2570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228 w 10000"/>
                  <a:gd name="connsiteY17" fmla="*/ 4509 h 10000"/>
                  <a:gd name="connsiteX0" fmla="*/ 6228 w 10018"/>
                  <a:gd name="connsiteY0" fmla="*/ 4509 h 10000"/>
                  <a:gd name="connsiteX1" fmla="*/ 8145 w 10018"/>
                  <a:gd name="connsiteY1" fmla="*/ 4132 h 10000"/>
                  <a:gd name="connsiteX2" fmla="*/ 8203 w 10018"/>
                  <a:gd name="connsiteY2" fmla="*/ 3793 h 10000"/>
                  <a:gd name="connsiteX3" fmla="*/ 8806 w 10018"/>
                  <a:gd name="connsiteY3" fmla="*/ 2872 h 10000"/>
                  <a:gd name="connsiteX4" fmla="*/ 9265 w 10018"/>
                  <a:gd name="connsiteY4" fmla="*/ 2570 h 10000"/>
                  <a:gd name="connsiteX5" fmla="*/ 9963 w 10018"/>
                  <a:gd name="connsiteY5" fmla="*/ 2777 h 10000"/>
                  <a:gd name="connsiteX6" fmla="*/ 9915 w 10018"/>
                  <a:gd name="connsiteY6" fmla="*/ 2906 h 10000"/>
                  <a:gd name="connsiteX7" fmla="*/ 9963 w 10018"/>
                  <a:gd name="connsiteY7" fmla="*/ 2428 h 10000"/>
                  <a:gd name="connsiteX8" fmla="*/ 8899 w 10018"/>
                  <a:gd name="connsiteY8" fmla="*/ 587 h 10000"/>
                  <a:gd name="connsiteX9" fmla="*/ 8806 w 10018"/>
                  <a:gd name="connsiteY9" fmla="*/ 189 h 10000"/>
                  <a:gd name="connsiteX10" fmla="*/ 7799 w 10018"/>
                  <a:gd name="connsiteY10" fmla="*/ 174 h 10000"/>
                  <a:gd name="connsiteX11" fmla="*/ 5914 w 10018"/>
                  <a:gd name="connsiteY11" fmla="*/ 682 h 10000"/>
                  <a:gd name="connsiteX12" fmla="*/ 4888 w 10018"/>
                  <a:gd name="connsiteY12" fmla="*/ 1253 h 10000"/>
                  <a:gd name="connsiteX13" fmla="*/ 3284 w 10018"/>
                  <a:gd name="connsiteY13" fmla="*/ 1952 h 10000"/>
                  <a:gd name="connsiteX14" fmla="*/ 19 w 10018"/>
                  <a:gd name="connsiteY14" fmla="*/ 2809 h 10000"/>
                  <a:gd name="connsiteX15" fmla="*/ 0 w 10018"/>
                  <a:gd name="connsiteY15" fmla="*/ 10000 h 10000"/>
                  <a:gd name="connsiteX16" fmla="*/ 2481 w 10018"/>
                  <a:gd name="connsiteY16" fmla="*/ 6301 h 10000"/>
                  <a:gd name="connsiteX17" fmla="*/ 6228 w 10018"/>
                  <a:gd name="connsiteY17" fmla="*/ 4509 h 10000"/>
                  <a:gd name="connsiteX0" fmla="*/ 6228 w 10074"/>
                  <a:gd name="connsiteY0" fmla="*/ 4509 h 10000"/>
                  <a:gd name="connsiteX1" fmla="*/ 8145 w 10074"/>
                  <a:gd name="connsiteY1" fmla="*/ 4132 h 10000"/>
                  <a:gd name="connsiteX2" fmla="*/ 8203 w 10074"/>
                  <a:gd name="connsiteY2" fmla="*/ 3793 h 10000"/>
                  <a:gd name="connsiteX3" fmla="*/ 8806 w 10074"/>
                  <a:gd name="connsiteY3" fmla="*/ 2872 h 10000"/>
                  <a:gd name="connsiteX4" fmla="*/ 9265 w 10074"/>
                  <a:gd name="connsiteY4" fmla="*/ 2570 h 10000"/>
                  <a:gd name="connsiteX5" fmla="*/ 9963 w 10074"/>
                  <a:gd name="connsiteY5" fmla="*/ 2777 h 10000"/>
                  <a:gd name="connsiteX6" fmla="*/ 9963 w 10074"/>
                  <a:gd name="connsiteY6" fmla="*/ 2428 h 10000"/>
                  <a:gd name="connsiteX7" fmla="*/ 8899 w 10074"/>
                  <a:gd name="connsiteY7" fmla="*/ 587 h 10000"/>
                  <a:gd name="connsiteX8" fmla="*/ 8806 w 10074"/>
                  <a:gd name="connsiteY8" fmla="*/ 189 h 10000"/>
                  <a:gd name="connsiteX9" fmla="*/ 7799 w 10074"/>
                  <a:gd name="connsiteY9" fmla="*/ 174 h 10000"/>
                  <a:gd name="connsiteX10" fmla="*/ 5914 w 10074"/>
                  <a:gd name="connsiteY10" fmla="*/ 682 h 10000"/>
                  <a:gd name="connsiteX11" fmla="*/ 4888 w 10074"/>
                  <a:gd name="connsiteY11" fmla="*/ 1253 h 10000"/>
                  <a:gd name="connsiteX12" fmla="*/ 3284 w 10074"/>
                  <a:gd name="connsiteY12" fmla="*/ 1952 h 10000"/>
                  <a:gd name="connsiteX13" fmla="*/ 19 w 10074"/>
                  <a:gd name="connsiteY13" fmla="*/ 2809 h 10000"/>
                  <a:gd name="connsiteX14" fmla="*/ 0 w 10074"/>
                  <a:gd name="connsiteY14" fmla="*/ 10000 h 10000"/>
                  <a:gd name="connsiteX15" fmla="*/ 2481 w 10074"/>
                  <a:gd name="connsiteY15" fmla="*/ 6301 h 10000"/>
                  <a:gd name="connsiteX16" fmla="*/ 6228 w 10074"/>
                  <a:gd name="connsiteY16" fmla="*/ 4509 h 10000"/>
                  <a:gd name="connsiteX0" fmla="*/ 6228 w 10045"/>
                  <a:gd name="connsiteY0" fmla="*/ 4509 h 10000"/>
                  <a:gd name="connsiteX1" fmla="*/ 8145 w 10045"/>
                  <a:gd name="connsiteY1" fmla="*/ 4132 h 10000"/>
                  <a:gd name="connsiteX2" fmla="*/ 8203 w 10045"/>
                  <a:gd name="connsiteY2" fmla="*/ 3793 h 10000"/>
                  <a:gd name="connsiteX3" fmla="*/ 8806 w 10045"/>
                  <a:gd name="connsiteY3" fmla="*/ 2872 h 10000"/>
                  <a:gd name="connsiteX4" fmla="*/ 9265 w 10045"/>
                  <a:gd name="connsiteY4" fmla="*/ 2570 h 10000"/>
                  <a:gd name="connsiteX5" fmla="*/ 9895 w 10045"/>
                  <a:gd name="connsiteY5" fmla="*/ 2995 h 10000"/>
                  <a:gd name="connsiteX6" fmla="*/ 9963 w 10045"/>
                  <a:gd name="connsiteY6" fmla="*/ 2428 h 10000"/>
                  <a:gd name="connsiteX7" fmla="*/ 8899 w 10045"/>
                  <a:gd name="connsiteY7" fmla="*/ 587 h 10000"/>
                  <a:gd name="connsiteX8" fmla="*/ 8806 w 10045"/>
                  <a:gd name="connsiteY8" fmla="*/ 189 h 10000"/>
                  <a:gd name="connsiteX9" fmla="*/ 7799 w 10045"/>
                  <a:gd name="connsiteY9" fmla="*/ 174 h 10000"/>
                  <a:gd name="connsiteX10" fmla="*/ 5914 w 10045"/>
                  <a:gd name="connsiteY10" fmla="*/ 682 h 10000"/>
                  <a:gd name="connsiteX11" fmla="*/ 4888 w 10045"/>
                  <a:gd name="connsiteY11" fmla="*/ 1253 h 10000"/>
                  <a:gd name="connsiteX12" fmla="*/ 3284 w 10045"/>
                  <a:gd name="connsiteY12" fmla="*/ 1952 h 10000"/>
                  <a:gd name="connsiteX13" fmla="*/ 19 w 10045"/>
                  <a:gd name="connsiteY13" fmla="*/ 2809 h 10000"/>
                  <a:gd name="connsiteX14" fmla="*/ 0 w 10045"/>
                  <a:gd name="connsiteY14" fmla="*/ 10000 h 10000"/>
                  <a:gd name="connsiteX15" fmla="*/ 2481 w 10045"/>
                  <a:gd name="connsiteY15" fmla="*/ 6301 h 10000"/>
                  <a:gd name="connsiteX16" fmla="*/ 6228 w 10045"/>
                  <a:gd name="connsiteY16" fmla="*/ 4509 h 10000"/>
                  <a:gd name="connsiteX0" fmla="*/ 6228 w 10070"/>
                  <a:gd name="connsiteY0" fmla="*/ 4509 h 10000"/>
                  <a:gd name="connsiteX1" fmla="*/ 8145 w 10070"/>
                  <a:gd name="connsiteY1" fmla="*/ 4132 h 10000"/>
                  <a:gd name="connsiteX2" fmla="*/ 8203 w 10070"/>
                  <a:gd name="connsiteY2" fmla="*/ 3793 h 10000"/>
                  <a:gd name="connsiteX3" fmla="*/ 8806 w 10070"/>
                  <a:gd name="connsiteY3" fmla="*/ 2872 h 10000"/>
                  <a:gd name="connsiteX4" fmla="*/ 9265 w 10070"/>
                  <a:gd name="connsiteY4" fmla="*/ 2570 h 10000"/>
                  <a:gd name="connsiteX5" fmla="*/ 9895 w 10070"/>
                  <a:gd name="connsiteY5" fmla="*/ 2995 h 10000"/>
                  <a:gd name="connsiteX6" fmla="*/ 9997 w 10070"/>
                  <a:gd name="connsiteY6" fmla="*/ 2326 h 10000"/>
                  <a:gd name="connsiteX7" fmla="*/ 8899 w 10070"/>
                  <a:gd name="connsiteY7" fmla="*/ 587 h 10000"/>
                  <a:gd name="connsiteX8" fmla="*/ 8806 w 10070"/>
                  <a:gd name="connsiteY8" fmla="*/ 189 h 10000"/>
                  <a:gd name="connsiteX9" fmla="*/ 7799 w 10070"/>
                  <a:gd name="connsiteY9" fmla="*/ 174 h 10000"/>
                  <a:gd name="connsiteX10" fmla="*/ 5914 w 10070"/>
                  <a:gd name="connsiteY10" fmla="*/ 682 h 10000"/>
                  <a:gd name="connsiteX11" fmla="*/ 4888 w 10070"/>
                  <a:gd name="connsiteY11" fmla="*/ 1253 h 10000"/>
                  <a:gd name="connsiteX12" fmla="*/ 3284 w 10070"/>
                  <a:gd name="connsiteY12" fmla="*/ 1952 h 10000"/>
                  <a:gd name="connsiteX13" fmla="*/ 19 w 10070"/>
                  <a:gd name="connsiteY13" fmla="*/ 2809 h 10000"/>
                  <a:gd name="connsiteX14" fmla="*/ 0 w 10070"/>
                  <a:gd name="connsiteY14" fmla="*/ 10000 h 10000"/>
                  <a:gd name="connsiteX15" fmla="*/ 2481 w 10070"/>
                  <a:gd name="connsiteY15" fmla="*/ 6301 h 10000"/>
                  <a:gd name="connsiteX16" fmla="*/ 6228 w 10070"/>
                  <a:gd name="connsiteY16" fmla="*/ 450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70" h="10000">
                    <a:moveTo>
                      <a:pt x="6228" y="4509"/>
                    </a:moveTo>
                    <a:cubicBezTo>
                      <a:pt x="7172" y="4148"/>
                      <a:pt x="7816" y="4251"/>
                      <a:pt x="8145" y="4132"/>
                    </a:cubicBezTo>
                    <a:cubicBezTo>
                      <a:pt x="8474" y="4013"/>
                      <a:pt x="8093" y="4003"/>
                      <a:pt x="8203" y="3793"/>
                    </a:cubicBezTo>
                    <a:cubicBezTo>
                      <a:pt x="8349" y="3632"/>
                      <a:pt x="8586" y="3103"/>
                      <a:pt x="8806" y="2872"/>
                    </a:cubicBezTo>
                    <a:cubicBezTo>
                      <a:pt x="9049" y="2190"/>
                      <a:pt x="9084" y="2550"/>
                      <a:pt x="9265" y="2570"/>
                    </a:cubicBezTo>
                    <a:cubicBezTo>
                      <a:pt x="9446" y="2590"/>
                      <a:pt x="9708" y="2852"/>
                      <a:pt x="9895" y="2995"/>
                    </a:cubicBezTo>
                    <a:cubicBezTo>
                      <a:pt x="10011" y="2971"/>
                      <a:pt x="10163" y="2727"/>
                      <a:pt x="9997" y="2326"/>
                    </a:cubicBezTo>
                    <a:cubicBezTo>
                      <a:pt x="9831" y="1925"/>
                      <a:pt x="9104" y="1126"/>
                      <a:pt x="8899" y="587"/>
                    </a:cubicBezTo>
                    <a:cubicBezTo>
                      <a:pt x="8843" y="444"/>
                      <a:pt x="8825" y="317"/>
                      <a:pt x="8806" y="189"/>
                    </a:cubicBezTo>
                    <a:cubicBezTo>
                      <a:pt x="8396" y="206"/>
                      <a:pt x="7799" y="174"/>
                      <a:pt x="7799" y="174"/>
                    </a:cubicBezTo>
                    <a:cubicBezTo>
                      <a:pt x="7276" y="-350"/>
                      <a:pt x="6213" y="460"/>
                      <a:pt x="5914" y="682"/>
                    </a:cubicBezTo>
                    <a:cubicBezTo>
                      <a:pt x="5616" y="920"/>
                      <a:pt x="5336" y="1063"/>
                      <a:pt x="4888" y="1253"/>
                    </a:cubicBezTo>
                    <a:cubicBezTo>
                      <a:pt x="4440" y="1444"/>
                      <a:pt x="5243" y="1555"/>
                      <a:pt x="3284" y="1952"/>
                    </a:cubicBezTo>
                    <a:cubicBezTo>
                      <a:pt x="1306" y="2365"/>
                      <a:pt x="19" y="2809"/>
                      <a:pt x="19" y="2809"/>
                    </a:cubicBezTo>
                    <a:cubicBezTo>
                      <a:pt x="13" y="5206"/>
                      <a:pt x="6" y="7603"/>
                      <a:pt x="0" y="10000"/>
                    </a:cubicBezTo>
                    <a:cubicBezTo>
                      <a:pt x="0" y="10000"/>
                      <a:pt x="1810" y="6969"/>
                      <a:pt x="2481" y="6301"/>
                    </a:cubicBezTo>
                    <a:cubicBezTo>
                      <a:pt x="3153" y="5619"/>
                      <a:pt x="5284" y="4870"/>
                      <a:pt x="6228" y="4509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135">
                <a:extLst>
                  <a:ext uri="{FF2B5EF4-FFF2-40B4-BE49-F238E27FC236}">
                    <a16:creationId xmlns:a16="http://schemas.microsoft.com/office/drawing/2014/main" id="{C8B64477-C46B-4CBF-A6D5-D42241F232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3349" y="5000119"/>
                <a:ext cx="1029658" cy="677628"/>
              </a:xfrm>
              <a:custGeom>
                <a:avLst/>
                <a:gdLst>
                  <a:gd name="T0" fmla="*/ 475 w 523"/>
                  <a:gd name="T1" fmla="*/ 54 h 344"/>
                  <a:gd name="T2" fmla="*/ 492 w 523"/>
                  <a:gd name="T3" fmla="*/ 33 h 344"/>
                  <a:gd name="T4" fmla="*/ 452 w 523"/>
                  <a:gd name="T5" fmla="*/ 1 h 344"/>
                  <a:gd name="T6" fmla="*/ 382 w 523"/>
                  <a:gd name="T7" fmla="*/ 1 h 344"/>
                  <a:gd name="T8" fmla="*/ 340 w 523"/>
                  <a:gd name="T9" fmla="*/ 9 h 344"/>
                  <a:gd name="T10" fmla="*/ 302 w 523"/>
                  <a:gd name="T11" fmla="*/ 12 h 344"/>
                  <a:gd name="T12" fmla="*/ 267 w 523"/>
                  <a:gd name="T13" fmla="*/ 14 h 344"/>
                  <a:gd name="T14" fmla="*/ 215 w 523"/>
                  <a:gd name="T15" fmla="*/ 33 h 344"/>
                  <a:gd name="T16" fmla="*/ 150 w 523"/>
                  <a:gd name="T17" fmla="*/ 62 h 344"/>
                  <a:gd name="T18" fmla="*/ 94 w 523"/>
                  <a:gd name="T19" fmla="*/ 110 h 344"/>
                  <a:gd name="T20" fmla="*/ 47 w 523"/>
                  <a:gd name="T21" fmla="*/ 154 h 344"/>
                  <a:gd name="T22" fmla="*/ 0 w 523"/>
                  <a:gd name="T23" fmla="*/ 184 h 344"/>
                  <a:gd name="T24" fmla="*/ 15 w 523"/>
                  <a:gd name="T25" fmla="*/ 256 h 344"/>
                  <a:gd name="T26" fmla="*/ 82 w 523"/>
                  <a:gd name="T27" fmla="*/ 332 h 344"/>
                  <a:gd name="T28" fmla="*/ 120 w 523"/>
                  <a:gd name="T29" fmla="*/ 304 h 344"/>
                  <a:gd name="T30" fmla="*/ 136 w 523"/>
                  <a:gd name="T31" fmla="*/ 302 h 344"/>
                  <a:gd name="T32" fmla="*/ 171 w 523"/>
                  <a:gd name="T33" fmla="*/ 296 h 344"/>
                  <a:gd name="T34" fmla="*/ 230 w 523"/>
                  <a:gd name="T35" fmla="*/ 290 h 344"/>
                  <a:gd name="T36" fmla="*/ 278 w 523"/>
                  <a:gd name="T37" fmla="*/ 273 h 344"/>
                  <a:gd name="T38" fmla="*/ 307 w 523"/>
                  <a:gd name="T39" fmla="*/ 253 h 344"/>
                  <a:gd name="T40" fmla="*/ 358 w 523"/>
                  <a:gd name="T41" fmla="*/ 234 h 344"/>
                  <a:gd name="T42" fmla="*/ 347 w 523"/>
                  <a:gd name="T43" fmla="*/ 206 h 344"/>
                  <a:gd name="T44" fmla="*/ 358 w 523"/>
                  <a:gd name="T45" fmla="*/ 197 h 344"/>
                  <a:gd name="T46" fmla="*/ 394 w 523"/>
                  <a:gd name="T47" fmla="*/ 173 h 344"/>
                  <a:gd name="T48" fmla="*/ 378 w 523"/>
                  <a:gd name="T49" fmla="*/ 136 h 344"/>
                  <a:gd name="T50" fmla="*/ 342 w 523"/>
                  <a:gd name="T51" fmla="*/ 129 h 344"/>
                  <a:gd name="T52" fmla="*/ 352 w 523"/>
                  <a:gd name="T53" fmla="*/ 116 h 344"/>
                  <a:gd name="T54" fmla="*/ 411 w 523"/>
                  <a:gd name="T55" fmla="*/ 102 h 344"/>
                  <a:gd name="T56" fmla="*/ 482 w 523"/>
                  <a:gd name="T57" fmla="*/ 102 h 344"/>
                  <a:gd name="T58" fmla="*/ 522 w 523"/>
                  <a:gd name="T59" fmla="*/ 85 h 344"/>
                  <a:gd name="T60" fmla="*/ 475 w 523"/>
                  <a:gd name="T61" fmla="*/ 54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23" h="344">
                    <a:moveTo>
                      <a:pt x="475" y="54"/>
                    </a:moveTo>
                    <a:cubicBezTo>
                      <a:pt x="475" y="54"/>
                      <a:pt x="494" y="41"/>
                      <a:pt x="492" y="33"/>
                    </a:cubicBezTo>
                    <a:cubicBezTo>
                      <a:pt x="491" y="25"/>
                      <a:pt x="484" y="2"/>
                      <a:pt x="452" y="1"/>
                    </a:cubicBezTo>
                    <a:cubicBezTo>
                      <a:pt x="420" y="0"/>
                      <a:pt x="395" y="1"/>
                      <a:pt x="382" y="1"/>
                    </a:cubicBezTo>
                    <a:cubicBezTo>
                      <a:pt x="368" y="1"/>
                      <a:pt x="348" y="9"/>
                      <a:pt x="340" y="9"/>
                    </a:cubicBezTo>
                    <a:cubicBezTo>
                      <a:pt x="332" y="9"/>
                      <a:pt x="323" y="0"/>
                      <a:pt x="302" y="12"/>
                    </a:cubicBezTo>
                    <a:cubicBezTo>
                      <a:pt x="302" y="12"/>
                      <a:pt x="274" y="13"/>
                      <a:pt x="267" y="14"/>
                    </a:cubicBezTo>
                    <a:cubicBezTo>
                      <a:pt x="260" y="16"/>
                      <a:pt x="234" y="18"/>
                      <a:pt x="215" y="33"/>
                    </a:cubicBezTo>
                    <a:cubicBezTo>
                      <a:pt x="215" y="33"/>
                      <a:pt x="175" y="36"/>
                      <a:pt x="150" y="62"/>
                    </a:cubicBezTo>
                    <a:cubicBezTo>
                      <a:pt x="124" y="89"/>
                      <a:pt x="99" y="101"/>
                      <a:pt x="94" y="110"/>
                    </a:cubicBezTo>
                    <a:cubicBezTo>
                      <a:pt x="88" y="120"/>
                      <a:pt x="58" y="146"/>
                      <a:pt x="47" y="154"/>
                    </a:cubicBezTo>
                    <a:cubicBezTo>
                      <a:pt x="38" y="161"/>
                      <a:pt x="13" y="172"/>
                      <a:pt x="0" y="184"/>
                    </a:cubicBezTo>
                    <a:cubicBezTo>
                      <a:pt x="0" y="195"/>
                      <a:pt x="1" y="228"/>
                      <a:pt x="15" y="256"/>
                    </a:cubicBezTo>
                    <a:cubicBezTo>
                      <a:pt x="32" y="289"/>
                      <a:pt x="62" y="344"/>
                      <a:pt x="82" y="332"/>
                    </a:cubicBezTo>
                    <a:cubicBezTo>
                      <a:pt x="82" y="332"/>
                      <a:pt x="116" y="304"/>
                      <a:pt x="120" y="304"/>
                    </a:cubicBezTo>
                    <a:cubicBezTo>
                      <a:pt x="124" y="304"/>
                      <a:pt x="133" y="303"/>
                      <a:pt x="136" y="302"/>
                    </a:cubicBezTo>
                    <a:cubicBezTo>
                      <a:pt x="143" y="300"/>
                      <a:pt x="154" y="297"/>
                      <a:pt x="171" y="296"/>
                    </a:cubicBezTo>
                    <a:cubicBezTo>
                      <a:pt x="171" y="296"/>
                      <a:pt x="199" y="302"/>
                      <a:pt x="230" y="290"/>
                    </a:cubicBezTo>
                    <a:cubicBezTo>
                      <a:pt x="260" y="278"/>
                      <a:pt x="268" y="277"/>
                      <a:pt x="278" y="273"/>
                    </a:cubicBezTo>
                    <a:cubicBezTo>
                      <a:pt x="287" y="269"/>
                      <a:pt x="299" y="253"/>
                      <a:pt x="307" y="253"/>
                    </a:cubicBezTo>
                    <a:cubicBezTo>
                      <a:pt x="315" y="253"/>
                      <a:pt x="347" y="265"/>
                      <a:pt x="358" y="234"/>
                    </a:cubicBezTo>
                    <a:cubicBezTo>
                      <a:pt x="358" y="234"/>
                      <a:pt x="362" y="220"/>
                      <a:pt x="347" y="206"/>
                    </a:cubicBezTo>
                    <a:cubicBezTo>
                      <a:pt x="347" y="206"/>
                      <a:pt x="340" y="202"/>
                      <a:pt x="358" y="197"/>
                    </a:cubicBezTo>
                    <a:cubicBezTo>
                      <a:pt x="375" y="192"/>
                      <a:pt x="394" y="182"/>
                      <a:pt x="394" y="173"/>
                    </a:cubicBezTo>
                    <a:cubicBezTo>
                      <a:pt x="394" y="164"/>
                      <a:pt x="396" y="146"/>
                      <a:pt x="378" y="136"/>
                    </a:cubicBezTo>
                    <a:cubicBezTo>
                      <a:pt x="378" y="136"/>
                      <a:pt x="344" y="134"/>
                      <a:pt x="342" y="129"/>
                    </a:cubicBezTo>
                    <a:cubicBezTo>
                      <a:pt x="339" y="124"/>
                      <a:pt x="338" y="120"/>
                      <a:pt x="352" y="116"/>
                    </a:cubicBezTo>
                    <a:cubicBezTo>
                      <a:pt x="367" y="112"/>
                      <a:pt x="399" y="106"/>
                      <a:pt x="411" y="102"/>
                    </a:cubicBezTo>
                    <a:cubicBezTo>
                      <a:pt x="423" y="98"/>
                      <a:pt x="458" y="101"/>
                      <a:pt x="482" y="102"/>
                    </a:cubicBezTo>
                    <a:cubicBezTo>
                      <a:pt x="482" y="102"/>
                      <a:pt x="516" y="110"/>
                      <a:pt x="522" y="85"/>
                    </a:cubicBezTo>
                    <a:cubicBezTo>
                      <a:pt x="522" y="85"/>
                      <a:pt x="523" y="64"/>
                      <a:pt x="475" y="5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136">
                <a:extLst>
                  <a:ext uri="{FF2B5EF4-FFF2-40B4-BE49-F238E27FC236}">
                    <a16:creationId xmlns:a16="http://schemas.microsoft.com/office/drawing/2014/main" id="{93EF4F4E-B50C-46BF-9FA2-1781F28055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7583" y="5356954"/>
                <a:ext cx="416909" cy="558683"/>
              </a:xfrm>
              <a:custGeom>
                <a:avLst/>
                <a:gdLst>
                  <a:gd name="T0" fmla="*/ 207 w 212"/>
                  <a:gd name="T1" fmla="*/ 121 h 284"/>
                  <a:gd name="T2" fmla="*/ 205 w 212"/>
                  <a:gd name="T3" fmla="*/ 121 h 284"/>
                  <a:gd name="T4" fmla="*/ 189 w 212"/>
                  <a:gd name="T5" fmla="*/ 123 h 284"/>
                  <a:gd name="T6" fmla="*/ 151 w 212"/>
                  <a:gd name="T7" fmla="*/ 151 h 284"/>
                  <a:gd name="T8" fmla="*/ 84 w 212"/>
                  <a:gd name="T9" fmla="*/ 75 h 284"/>
                  <a:gd name="T10" fmla="*/ 69 w 212"/>
                  <a:gd name="T11" fmla="*/ 3 h 284"/>
                  <a:gd name="T12" fmla="*/ 69 w 212"/>
                  <a:gd name="T13" fmla="*/ 0 h 284"/>
                  <a:gd name="T14" fmla="*/ 43 w 212"/>
                  <a:gd name="T15" fmla="*/ 19 h 284"/>
                  <a:gd name="T16" fmla="*/ 43 w 212"/>
                  <a:gd name="T17" fmla="*/ 20 h 284"/>
                  <a:gd name="T18" fmla="*/ 11 w 212"/>
                  <a:gd name="T19" fmla="*/ 77 h 284"/>
                  <a:gd name="T20" fmla="*/ 27 w 212"/>
                  <a:gd name="T21" fmla="*/ 217 h 284"/>
                  <a:gd name="T22" fmla="*/ 41 w 212"/>
                  <a:gd name="T23" fmla="*/ 284 h 284"/>
                  <a:gd name="T24" fmla="*/ 143 w 212"/>
                  <a:gd name="T25" fmla="*/ 199 h 284"/>
                  <a:gd name="T26" fmla="*/ 144 w 212"/>
                  <a:gd name="T27" fmla="*/ 199 h 284"/>
                  <a:gd name="T28" fmla="*/ 193 w 212"/>
                  <a:gd name="T29" fmla="*/ 157 h 284"/>
                  <a:gd name="T30" fmla="*/ 207 w 212"/>
                  <a:gd name="T31" fmla="*/ 12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2" h="284">
                    <a:moveTo>
                      <a:pt x="207" y="121"/>
                    </a:moveTo>
                    <a:cubicBezTo>
                      <a:pt x="207" y="121"/>
                      <a:pt x="206" y="121"/>
                      <a:pt x="205" y="121"/>
                    </a:cubicBezTo>
                    <a:cubicBezTo>
                      <a:pt x="202" y="122"/>
                      <a:pt x="193" y="123"/>
                      <a:pt x="189" y="123"/>
                    </a:cubicBezTo>
                    <a:cubicBezTo>
                      <a:pt x="185" y="123"/>
                      <a:pt x="151" y="151"/>
                      <a:pt x="151" y="151"/>
                    </a:cubicBezTo>
                    <a:cubicBezTo>
                      <a:pt x="131" y="163"/>
                      <a:pt x="101" y="108"/>
                      <a:pt x="84" y="75"/>
                    </a:cubicBezTo>
                    <a:cubicBezTo>
                      <a:pt x="70" y="47"/>
                      <a:pt x="69" y="14"/>
                      <a:pt x="69" y="3"/>
                    </a:cubicBezTo>
                    <a:cubicBezTo>
                      <a:pt x="69" y="1"/>
                      <a:pt x="69" y="0"/>
                      <a:pt x="69" y="0"/>
                    </a:cubicBezTo>
                    <a:cubicBezTo>
                      <a:pt x="69" y="0"/>
                      <a:pt x="58" y="5"/>
                      <a:pt x="43" y="19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28" y="35"/>
                      <a:pt x="11" y="77"/>
                      <a:pt x="11" y="77"/>
                    </a:cubicBezTo>
                    <a:cubicBezTo>
                      <a:pt x="0" y="161"/>
                      <a:pt x="21" y="196"/>
                      <a:pt x="27" y="217"/>
                    </a:cubicBezTo>
                    <a:cubicBezTo>
                      <a:pt x="32" y="239"/>
                      <a:pt x="41" y="284"/>
                      <a:pt x="41" y="284"/>
                    </a:cubicBezTo>
                    <a:cubicBezTo>
                      <a:pt x="77" y="238"/>
                      <a:pt x="138" y="202"/>
                      <a:pt x="143" y="199"/>
                    </a:cubicBezTo>
                    <a:cubicBezTo>
                      <a:pt x="144" y="199"/>
                      <a:pt x="144" y="199"/>
                      <a:pt x="144" y="199"/>
                    </a:cubicBezTo>
                    <a:cubicBezTo>
                      <a:pt x="144" y="199"/>
                      <a:pt x="175" y="164"/>
                      <a:pt x="193" y="157"/>
                    </a:cubicBezTo>
                    <a:cubicBezTo>
                      <a:pt x="212" y="151"/>
                      <a:pt x="207" y="121"/>
                      <a:pt x="207" y="121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137">
                <a:extLst>
                  <a:ext uri="{FF2B5EF4-FFF2-40B4-BE49-F238E27FC236}">
                    <a16:creationId xmlns:a16="http://schemas.microsoft.com/office/drawing/2014/main" id="{E64EAD00-3301-4CA9-AF01-056001E485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407" y="4284043"/>
                <a:ext cx="750917" cy="1227901"/>
              </a:xfrm>
              <a:custGeom>
                <a:avLst/>
                <a:gdLst>
                  <a:gd name="T0" fmla="*/ 142 w 381"/>
                  <a:gd name="T1" fmla="*/ 13 h 624"/>
                  <a:gd name="T2" fmla="*/ 90 w 381"/>
                  <a:gd name="T3" fmla="*/ 32 h 624"/>
                  <a:gd name="T4" fmla="*/ 14 w 381"/>
                  <a:gd name="T5" fmla="*/ 108 h 624"/>
                  <a:gd name="T6" fmla="*/ 0 w 381"/>
                  <a:gd name="T7" fmla="*/ 128 h 624"/>
                  <a:gd name="T8" fmla="*/ 56 w 381"/>
                  <a:gd name="T9" fmla="*/ 358 h 624"/>
                  <a:gd name="T10" fmla="*/ 75 w 381"/>
                  <a:gd name="T11" fmla="*/ 624 h 624"/>
                  <a:gd name="T12" fmla="*/ 94 w 381"/>
                  <a:gd name="T13" fmla="*/ 614 h 624"/>
                  <a:gd name="T14" fmla="*/ 136 w 381"/>
                  <a:gd name="T15" fmla="*/ 589 h 624"/>
                  <a:gd name="T16" fmla="*/ 178 w 381"/>
                  <a:gd name="T17" fmla="*/ 453 h 624"/>
                  <a:gd name="T18" fmla="*/ 241 w 381"/>
                  <a:gd name="T19" fmla="*/ 282 h 624"/>
                  <a:gd name="T20" fmla="*/ 301 w 381"/>
                  <a:gd name="T21" fmla="*/ 158 h 624"/>
                  <a:gd name="T22" fmla="*/ 380 w 381"/>
                  <a:gd name="T23" fmla="*/ 52 h 624"/>
                  <a:gd name="T24" fmla="*/ 381 w 381"/>
                  <a:gd name="T25" fmla="*/ 50 h 624"/>
                  <a:gd name="T26" fmla="*/ 318 w 381"/>
                  <a:gd name="T27" fmla="*/ 69 h 624"/>
                  <a:gd name="T28" fmla="*/ 270 w 381"/>
                  <a:gd name="T29" fmla="*/ 81 h 624"/>
                  <a:gd name="T30" fmla="*/ 250 w 381"/>
                  <a:gd name="T31" fmla="*/ 41 h 624"/>
                  <a:gd name="T32" fmla="*/ 247 w 381"/>
                  <a:gd name="T33" fmla="*/ 23 h 624"/>
                  <a:gd name="T34" fmla="*/ 142 w 381"/>
                  <a:gd name="T35" fmla="*/ 13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1" h="624">
                    <a:moveTo>
                      <a:pt x="142" y="13"/>
                    </a:moveTo>
                    <a:cubicBezTo>
                      <a:pt x="142" y="13"/>
                      <a:pt x="118" y="0"/>
                      <a:pt x="90" y="32"/>
                    </a:cubicBezTo>
                    <a:cubicBezTo>
                      <a:pt x="90" y="32"/>
                      <a:pt x="25" y="93"/>
                      <a:pt x="14" y="108"/>
                    </a:cubicBezTo>
                    <a:cubicBezTo>
                      <a:pt x="14" y="108"/>
                      <a:pt x="8" y="116"/>
                      <a:pt x="0" y="128"/>
                    </a:cubicBezTo>
                    <a:cubicBezTo>
                      <a:pt x="39" y="210"/>
                      <a:pt x="56" y="358"/>
                      <a:pt x="56" y="358"/>
                    </a:cubicBezTo>
                    <a:cubicBezTo>
                      <a:pt x="69" y="429"/>
                      <a:pt x="75" y="547"/>
                      <a:pt x="75" y="624"/>
                    </a:cubicBezTo>
                    <a:cubicBezTo>
                      <a:pt x="80" y="620"/>
                      <a:pt x="86" y="617"/>
                      <a:pt x="94" y="614"/>
                    </a:cubicBezTo>
                    <a:cubicBezTo>
                      <a:pt x="94" y="614"/>
                      <a:pt x="134" y="604"/>
                      <a:pt x="136" y="589"/>
                    </a:cubicBezTo>
                    <a:cubicBezTo>
                      <a:pt x="137" y="574"/>
                      <a:pt x="170" y="476"/>
                      <a:pt x="178" y="453"/>
                    </a:cubicBezTo>
                    <a:cubicBezTo>
                      <a:pt x="186" y="430"/>
                      <a:pt x="240" y="288"/>
                      <a:pt x="241" y="282"/>
                    </a:cubicBezTo>
                    <a:cubicBezTo>
                      <a:pt x="242" y="277"/>
                      <a:pt x="262" y="205"/>
                      <a:pt x="301" y="158"/>
                    </a:cubicBezTo>
                    <a:cubicBezTo>
                      <a:pt x="340" y="112"/>
                      <a:pt x="380" y="52"/>
                      <a:pt x="380" y="52"/>
                    </a:cubicBezTo>
                    <a:cubicBezTo>
                      <a:pt x="380" y="52"/>
                      <a:pt x="380" y="51"/>
                      <a:pt x="381" y="50"/>
                    </a:cubicBezTo>
                    <a:cubicBezTo>
                      <a:pt x="364" y="54"/>
                      <a:pt x="337" y="61"/>
                      <a:pt x="318" y="69"/>
                    </a:cubicBezTo>
                    <a:cubicBezTo>
                      <a:pt x="318" y="69"/>
                      <a:pt x="276" y="84"/>
                      <a:pt x="270" y="81"/>
                    </a:cubicBezTo>
                    <a:cubicBezTo>
                      <a:pt x="265" y="78"/>
                      <a:pt x="256" y="76"/>
                      <a:pt x="250" y="41"/>
                    </a:cubicBezTo>
                    <a:cubicBezTo>
                      <a:pt x="249" y="34"/>
                      <a:pt x="248" y="28"/>
                      <a:pt x="247" y="23"/>
                    </a:cubicBezTo>
                    <a:cubicBezTo>
                      <a:pt x="212" y="23"/>
                      <a:pt x="167" y="19"/>
                      <a:pt x="142" y="13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138">
                <a:extLst>
                  <a:ext uri="{FF2B5EF4-FFF2-40B4-BE49-F238E27FC236}">
                    <a16:creationId xmlns:a16="http://schemas.microsoft.com/office/drawing/2014/main" id="{7684480B-5ECD-40E4-8ED7-5AAC9C2F7A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2508" y="4303267"/>
                <a:ext cx="1766671" cy="1822628"/>
              </a:xfrm>
              <a:custGeom>
                <a:avLst/>
                <a:gdLst>
                  <a:gd name="T0" fmla="*/ 899 w 900"/>
                  <a:gd name="T1" fmla="*/ 734 h 926"/>
                  <a:gd name="T2" fmla="*/ 797 w 900"/>
                  <a:gd name="T3" fmla="*/ 819 h 926"/>
                  <a:gd name="T4" fmla="*/ 783 w 900"/>
                  <a:gd name="T5" fmla="*/ 752 h 926"/>
                  <a:gd name="T6" fmla="*/ 767 w 900"/>
                  <a:gd name="T7" fmla="*/ 612 h 926"/>
                  <a:gd name="T8" fmla="*/ 799 w 900"/>
                  <a:gd name="T9" fmla="*/ 555 h 926"/>
                  <a:gd name="T10" fmla="*/ 799 w 900"/>
                  <a:gd name="T11" fmla="*/ 554 h 926"/>
                  <a:gd name="T12" fmla="*/ 703 w 900"/>
                  <a:gd name="T13" fmla="*/ 606 h 926"/>
                  <a:gd name="T14" fmla="*/ 633 w 900"/>
                  <a:gd name="T15" fmla="*/ 648 h 926"/>
                  <a:gd name="T16" fmla="*/ 600 w 900"/>
                  <a:gd name="T17" fmla="*/ 652 h 926"/>
                  <a:gd name="T18" fmla="*/ 575 w 900"/>
                  <a:gd name="T19" fmla="*/ 590 h 926"/>
                  <a:gd name="T20" fmla="*/ 589 w 900"/>
                  <a:gd name="T21" fmla="*/ 518 h 926"/>
                  <a:gd name="T22" fmla="*/ 559 w 900"/>
                  <a:gd name="T23" fmla="*/ 460 h 926"/>
                  <a:gd name="T24" fmla="*/ 565 w 900"/>
                  <a:gd name="T25" fmla="*/ 430 h 926"/>
                  <a:gd name="T26" fmla="*/ 567 w 900"/>
                  <a:gd name="T27" fmla="*/ 419 h 926"/>
                  <a:gd name="T28" fmla="*/ 568 w 900"/>
                  <a:gd name="T29" fmla="*/ 382 h 926"/>
                  <a:gd name="T30" fmla="*/ 587 w 900"/>
                  <a:gd name="T31" fmla="*/ 343 h 926"/>
                  <a:gd name="T32" fmla="*/ 589 w 900"/>
                  <a:gd name="T33" fmla="*/ 327 h 926"/>
                  <a:gd name="T34" fmla="*/ 612 w 900"/>
                  <a:gd name="T35" fmla="*/ 304 h 926"/>
                  <a:gd name="T36" fmla="*/ 625 w 900"/>
                  <a:gd name="T37" fmla="*/ 263 h 926"/>
                  <a:gd name="T38" fmla="*/ 641 w 900"/>
                  <a:gd name="T39" fmla="*/ 218 h 926"/>
                  <a:gd name="T40" fmla="*/ 644 w 900"/>
                  <a:gd name="T41" fmla="*/ 124 h 926"/>
                  <a:gd name="T42" fmla="*/ 625 w 900"/>
                  <a:gd name="T43" fmla="*/ 114 h 926"/>
                  <a:gd name="T44" fmla="*/ 536 w 900"/>
                  <a:gd name="T45" fmla="*/ 0 h 926"/>
                  <a:gd name="T46" fmla="*/ 536 w 900"/>
                  <a:gd name="T47" fmla="*/ 0 h 926"/>
                  <a:gd name="T48" fmla="*/ 521 w 900"/>
                  <a:gd name="T49" fmla="*/ 27 h 926"/>
                  <a:gd name="T50" fmla="*/ 491 w 900"/>
                  <a:gd name="T51" fmla="*/ 75 h 926"/>
                  <a:gd name="T52" fmla="*/ 463 w 900"/>
                  <a:gd name="T53" fmla="*/ 75 h 926"/>
                  <a:gd name="T54" fmla="*/ 361 w 900"/>
                  <a:gd name="T55" fmla="*/ 22 h 926"/>
                  <a:gd name="T56" fmla="*/ 316 w 900"/>
                  <a:gd name="T57" fmla="*/ 40 h 926"/>
                  <a:gd name="T58" fmla="*/ 315 w 900"/>
                  <a:gd name="T59" fmla="*/ 42 h 926"/>
                  <a:gd name="T60" fmla="*/ 279 w 900"/>
                  <a:gd name="T61" fmla="*/ 92 h 926"/>
                  <a:gd name="T62" fmla="*/ 236 w 900"/>
                  <a:gd name="T63" fmla="*/ 148 h 926"/>
                  <a:gd name="T64" fmla="*/ 176 w 900"/>
                  <a:gd name="T65" fmla="*/ 272 h 926"/>
                  <a:gd name="T66" fmla="*/ 113 w 900"/>
                  <a:gd name="T67" fmla="*/ 443 h 926"/>
                  <a:gd name="T68" fmla="*/ 71 w 900"/>
                  <a:gd name="T69" fmla="*/ 579 h 926"/>
                  <a:gd name="T70" fmla="*/ 29 w 900"/>
                  <a:gd name="T71" fmla="*/ 604 h 926"/>
                  <a:gd name="T72" fmla="*/ 10 w 900"/>
                  <a:gd name="T73" fmla="*/ 614 h 926"/>
                  <a:gd name="T74" fmla="*/ 9 w 900"/>
                  <a:gd name="T75" fmla="*/ 653 h 926"/>
                  <a:gd name="T76" fmla="*/ 7 w 900"/>
                  <a:gd name="T77" fmla="*/ 687 h 926"/>
                  <a:gd name="T78" fmla="*/ 5 w 900"/>
                  <a:gd name="T79" fmla="*/ 724 h 926"/>
                  <a:gd name="T80" fmla="*/ 28 w 900"/>
                  <a:gd name="T81" fmla="*/ 767 h 926"/>
                  <a:gd name="T82" fmla="*/ 38 w 900"/>
                  <a:gd name="T83" fmla="*/ 818 h 926"/>
                  <a:gd name="T84" fmla="*/ 40 w 900"/>
                  <a:gd name="T85" fmla="*/ 819 h 926"/>
                  <a:gd name="T86" fmla="*/ 76 w 900"/>
                  <a:gd name="T87" fmla="*/ 799 h 926"/>
                  <a:gd name="T88" fmla="*/ 77 w 900"/>
                  <a:gd name="T89" fmla="*/ 799 h 926"/>
                  <a:gd name="T90" fmla="*/ 140 w 900"/>
                  <a:gd name="T91" fmla="*/ 735 h 926"/>
                  <a:gd name="T92" fmla="*/ 245 w 900"/>
                  <a:gd name="T93" fmla="*/ 640 h 926"/>
                  <a:gd name="T94" fmla="*/ 276 w 900"/>
                  <a:gd name="T95" fmla="*/ 636 h 926"/>
                  <a:gd name="T96" fmla="*/ 365 w 900"/>
                  <a:gd name="T97" fmla="*/ 839 h 926"/>
                  <a:gd name="T98" fmla="*/ 387 w 900"/>
                  <a:gd name="T99" fmla="*/ 878 h 926"/>
                  <a:gd name="T100" fmla="*/ 535 w 900"/>
                  <a:gd name="T101" fmla="*/ 891 h 926"/>
                  <a:gd name="T102" fmla="*/ 661 w 900"/>
                  <a:gd name="T103" fmla="*/ 914 h 926"/>
                  <a:gd name="T104" fmla="*/ 702 w 900"/>
                  <a:gd name="T105" fmla="*/ 926 h 926"/>
                  <a:gd name="T106" fmla="*/ 719 w 900"/>
                  <a:gd name="T107" fmla="*/ 916 h 926"/>
                  <a:gd name="T108" fmla="*/ 749 w 900"/>
                  <a:gd name="T109" fmla="*/ 902 h 926"/>
                  <a:gd name="T110" fmla="*/ 800 w 900"/>
                  <a:gd name="T111" fmla="*/ 891 h 926"/>
                  <a:gd name="T112" fmla="*/ 872 w 900"/>
                  <a:gd name="T113" fmla="*/ 867 h 926"/>
                  <a:gd name="T114" fmla="*/ 899 w 900"/>
                  <a:gd name="T115" fmla="*/ 756 h 926"/>
                  <a:gd name="T116" fmla="*/ 899 w 900"/>
                  <a:gd name="T117" fmla="*/ 734 h 926"/>
                  <a:gd name="connsiteX0" fmla="*/ 9969 w 9969"/>
                  <a:gd name="connsiteY0" fmla="*/ 7927 h 10000"/>
                  <a:gd name="connsiteX1" fmla="*/ 8836 w 9969"/>
                  <a:gd name="connsiteY1" fmla="*/ 8844 h 10000"/>
                  <a:gd name="connsiteX2" fmla="*/ 8680 w 9969"/>
                  <a:gd name="connsiteY2" fmla="*/ 8121 h 10000"/>
                  <a:gd name="connsiteX3" fmla="*/ 8502 w 9969"/>
                  <a:gd name="connsiteY3" fmla="*/ 6609 h 10000"/>
                  <a:gd name="connsiteX4" fmla="*/ 8858 w 9969"/>
                  <a:gd name="connsiteY4" fmla="*/ 5994 h 10000"/>
                  <a:gd name="connsiteX5" fmla="*/ 8858 w 9969"/>
                  <a:gd name="connsiteY5" fmla="*/ 5983 h 10000"/>
                  <a:gd name="connsiteX6" fmla="*/ 7791 w 9969"/>
                  <a:gd name="connsiteY6" fmla="*/ 6544 h 10000"/>
                  <a:gd name="connsiteX7" fmla="*/ 7013 w 9969"/>
                  <a:gd name="connsiteY7" fmla="*/ 6998 h 10000"/>
                  <a:gd name="connsiteX8" fmla="*/ 6647 w 9969"/>
                  <a:gd name="connsiteY8" fmla="*/ 7041 h 10000"/>
                  <a:gd name="connsiteX9" fmla="*/ 6369 w 9969"/>
                  <a:gd name="connsiteY9" fmla="*/ 6371 h 10000"/>
                  <a:gd name="connsiteX10" fmla="*/ 6524 w 9969"/>
                  <a:gd name="connsiteY10" fmla="*/ 5594 h 10000"/>
                  <a:gd name="connsiteX11" fmla="*/ 6191 w 9969"/>
                  <a:gd name="connsiteY11" fmla="*/ 4968 h 10000"/>
                  <a:gd name="connsiteX12" fmla="*/ 6258 w 9969"/>
                  <a:gd name="connsiteY12" fmla="*/ 4644 h 10000"/>
                  <a:gd name="connsiteX13" fmla="*/ 6280 w 9969"/>
                  <a:gd name="connsiteY13" fmla="*/ 4525 h 10000"/>
                  <a:gd name="connsiteX14" fmla="*/ 6291 w 9969"/>
                  <a:gd name="connsiteY14" fmla="*/ 4125 h 10000"/>
                  <a:gd name="connsiteX15" fmla="*/ 6502 w 9969"/>
                  <a:gd name="connsiteY15" fmla="*/ 3704 h 10000"/>
                  <a:gd name="connsiteX16" fmla="*/ 6524 w 9969"/>
                  <a:gd name="connsiteY16" fmla="*/ 3531 h 10000"/>
                  <a:gd name="connsiteX17" fmla="*/ 6780 w 9969"/>
                  <a:gd name="connsiteY17" fmla="*/ 3283 h 10000"/>
                  <a:gd name="connsiteX18" fmla="*/ 6924 w 9969"/>
                  <a:gd name="connsiteY18" fmla="*/ 2840 h 10000"/>
                  <a:gd name="connsiteX19" fmla="*/ 7102 w 9969"/>
                  <a:gd name="connsiteY19" fmla="*/ 2354 h 10000"/>
                  <a:gd name="connsiteX20" fmla="*/ 7136 w 9969"/>
                  <a:gd name="connsiteY20" fmla="*/ 1339 h 10000"/>
                  <a:gd name="connsiteX21" fmla="*/ 6924 w 9969"/>
                  <a:gd name="connsiteY21" fmla="*/ 1231 h 10000"/>
                  <a:gd name="connsiteX22" fmla="*/ 5936 w 9969"/>
                  <a:gd name="connsiteY22" fmla="*/ 0 h 10000"/>
                  <a:gd name="connsiteX23" fmla="*/ 5936 w 9969"/>
                  <a:gd name="connsiteY23" fmla="*/ 0 h 10000"/>
                  <a:gd name="connsiteX24" fmla="*/ 5769 w 9969"/>
                  <a:gd name="connsiteY24" fmla="*/ 292 h 10000"/>
                  <a:gd name="connsiteX25" fmla="*/ 5436 w 9969"/>
                  <a:gd name="connsiteY25" fmla="*/ 810 h 10000"/>
                  <a:gd name="connsiteX26" fmla="*/ 5124 w 9969"/>
                  <a:gd name="connsiteY26" fmla="*/ 810 h 10000"/>
                  <a:gd name="connsiteX27" fmla="*/ 3991 w 9969"/>
                  <a:gd name="connsiteY27" fmla="*/ 238 h 10000"/>
                  <a:gd name="connsiteX28" fmla="*/ 3491 w 9969"/>
                  <a:gd name="connsiteY28" fmla="*/ 432 h 10000"/>
                  <a:gd name="connsiteX29" fmla="*/ 3480 w 9969"/>
                  <a:gd name="connsiteY29" fmla="*/ 454 h 10000"/>
                  <a:gd name="connsiteX30" fmla="*/ 3080 w 9969"/>
                  <a:gd name="connsiteY30" fmla="*/ 994 h 10000"/>
                  <a:gd name="connsiteX31" fmla="*/ 2602 w 9969"/>
                  <a:gd name="connsiteY31" fmla="*/ 1598 h 10000"/>
                  <a:gd name="connsiteX32" fmla="*/ 1936 w 9969"/>
                  <a:gd name="connsiteY32" fmla="*/ 2937 h 10000"/>
                  <a:gd name="connsiteX33" fmla="*/ 1236 w 9969"/>
                  <a:gd name="connsiteY33" fmla="*/ 4784 h 10000"/>
                  <a:gd name="connsiteX34" fmla="*/ 769 w 9969"/>
                  <a:gd name="connsiteY34" fmla="*/ 6253 h 10000"/>
                  <a:gd name="connsiteX35" fmla="*/ 302 w 9969"/>
                  <a:gd name="connsiteY35" fmla="*/ 6523 h 10000"/>
                  <a:gd name="connsiteX36" fmla="*/ 91 w 9969"/>
                  <a:gd name="connsiteY36" fmla="*/ 6631 h 10000"/>
                  <a:gd name="connsiteX37" fmla="*/ 80 w 9969"/>
                  <a:gd name="connsiteY37" fmla="*/ 7052 h 10000"/>
                  <a:gd name="connsiteX38" fmla="*/ 58 w 9969"/>
                  <a:gd name="connsiteY38" fmla="*/ 7419 h 10000"/>
                  <a:gd name="connsiteX39" fmla="*/ 36 w 9969"/>
                  <a:gd name="connsiteY39" fmla="*/ 7819 h 10000"/>
                  <a:gd name="connsiteX40" fmla="*/ 291 w 9969"/>
                  <a:gd name="connsiteY40" fmla="*/ 8283 h 10000"/>
                  <a:gd name="connsiteX41" fmla="*/ 402 w 9969"/>
                  <a:gd name="connsiteY41" fmla="*/ 8834 h 10000"/>
                  <a:gd name="connsiteX42" fmla="*/ 424 w 9969"/>
                  <a:gd name="connsiteY42" fmla="*/ 8844 h 10000"/>
                  <a:gd name="connsiteX43" fmla="*/ 824 w 9969"/>
                  <a:gd name="connsiteY43" fmla="*/ 8629 h 10000"/>
                  <a:gd name="connsiteX44" fmla="*/ 856 w 9969"/>
                  <a:gd name="connsiteY44" fmla="*/ 8659 h 10000"/>
                  <a:gd name="connsiteX45" fmla="*/ 1536 w 9969"/>
                  <a:gd name="connsiteY45" fmla="*/ 7937 h 10000"/>
                  <a:gd name="connsiteX46" fmla="*/ 2702 w 9969"/>
                  <a:gd name="connsiteY46" fmla="*/ 6911 h 10000"/>
                  <a:gd name="connsiteX47" fmla="*/ 3047 w 9969"/>
                  <a:gd name="connsiteY47" fmla="*/ 6868 h 10000"/>
                  <a:gd name="connsiteX48" fmla="*/ 4036 w 9969"/>
                  <a:gd name="connsiteY48" fmla="*/ 9060 h 10000"/>
                  <a:gd name="connsiteX49" fmla="*/ 4280 w 9969"/>
                  <a:gd name="connsiteY49" fmla="*/ 9482 h 10000"/>
                  <a:gd name="connsiteX50" fmla="*/ 5924 w 9969"/>
                  <a:gd name="connsiteY50" fmla="*/ 9622 h 10000"/>
                  <a:gd name="connsiteX51" fmla="*/ 7324 w 9969"/>
                  <a:gd name="connsiteY51" fmla="*/ 9870 h 10000"/>
                  <a:gd name="connsiteX52" fmla="*/ 7780 w 9969"/>
                  <a:gd name="connsiteY52" fmla="*/ 10000 h 10000"/>
                  <a:gd name="connsiteX53" fmla="*/ 7969 w 9969"/>
                  <a:gd name="connsiteY53" fmla="*/ 9892 h 10000"/>
                  <a:gd name="connsiteX54" fmla="*/ 8302 w 9969"/>
                  <a:gd name="connsiteY54" fmla="*/ 9741 h 10000"/>
                  <a:gd name="connsiteX55" fmla="*/ 8869 w 9969"/>
                  <a:gd name="connsiteY55" fmla="*/ 9622 h 10000"/>
                  <a:gd name="connsiteX56" fmla="*/ 9669 w 9969"/>
                  <a:gd name="connsiteY56" fmla="*/ 9363 h 10000"/>
                  <a:gd name="connsiteX57" fmla="*/ 9969 w 9969"/>
                  <a:gd name="connsiteY57" fmla="*/ 8164 h 10000"/>
                  <a:gd name="connsiteX58" fmla="*/ 9969 w 9969"/>
                  <a:gd name="connsiteY58" fmla="*/ 7927 h 10000"/>
                  <a:gd name="connsiteX0" fmla="*/ 10000 w 10000"/>
                  <a:gd name="connsiteY0" fmla="*/ 7927 h 10000"/>
                  <a:gd name="connsiteX1" fmla="*/ 8863 w 10000"/>
                  <a:gd name="connsiteY1" fmla="*/ 8844 h 10000"/>
                  <a:gd name="connsiteX2" fmla="*/ 8707 w 10000"/>
                  <a:gd name="connsiteY2" fmla="*/ 8121 h 10000"/>
                  <a:gd name="connsiteX3" fmla="*/ 8528 w 10000"/>
                  <a:gd name="connsiteY3" fmla="*/ 6609 h 10000"/>
                  <a:gd name="connsiteX4" fmla="*/ 8886 w 10000"/>
                  <a:gd name="connsiteY4" fmla="*/ 5994 h 10000"/>
                  <a:gd name="connsiteX5" fmla="*/ 8886 w 10000"/>
                  <a:gd name="connsiteY5" fmla="*/ 5983 h 10000"/>
                  <a:gd name="connsiteX6" fmla="*/ 7815 w 10000"/>
                  <a:gd name="connsiteY6" fmla="*/ 6544 h 10000"/>
                  <a:gd name="connsiteX7" fmla="*/ 7035 w 10000"/>
                  <a:gd name="connsiteY7" fmla="*/ 6998 h 10000"/>
                  <a:gd name="connsiteX8" fmla="*/ 6668 w 10000"/>
                  <a:gd name="connsiteY8" fmla="*/ 7041 h 10000"/>
                  <a:gd name="connsiteX9" fmla="*/ 6389 w 10000"/>
                  <a:gd name="connsiteY9" fmla="*/ 6371 h 10000"/>
                  <a:gd name="connsiteX10" fmla="*/ 6544 w 10000"/>
                  <a:gd name="connsiteY10" fmla="*/ 5594 h 10000"/>
                  <a:gd name="connsiteX11" fmla="*/ 6210 w 10000"/>
                  <a:gd name="connsiteY11" fmla="*/ 4968 h 10000"/>
                  <a:gd name="connsiteX12" fmla="*/ 6277 w 10000"/>
                  <a:gd name="connsiteY12" fmla="*/ 4644 h 10000"/>
                  <a:gd name="connsiteX13" fmla="*/ 6300 w 10000"/>
                  <a:gd name="connsiteY13" fmla="*/ 4525 h 10000"/>
                  <a:gd name="connsiteX14" fmla="*/ 6311 w 10000"/>
                  <a:gd name="connsiteY14" fmla="*/ 4125 h 10000"/>
                  <a:gd name="connsiteX15" fmla="*/ 6522 w 10000"/>
                  <a:gd name="connsiteY15" fmla="*/ 3704 h 10000"/>
                  <a:gd name="connsiteX16" fmla="*/ 6544 w 10000"/>
                  <a:gd name="connsiteY16" fmla="*/ 3531 h 10000"/>
                  <a:gd name="connsiteX17" fmla="*/ 6801 w 10000"/>
                  <a:gd name="connsiteY17" fmla="*/ 3283 h 10000"/>
                  <a:gd name="connsiteX18" fmla="*/ 6946 w 10000"/>
                  <a:gd name="connsiteY18" fmla="*/ 2840 h 10000"/>
                  <a:gd name="connsiteX19" fmla="*/ 7124 w 10000"/>
                  <a:gd name="connsiteY19" fmla="*/ 2354 h 10000"/>
                  <a:gd name="connsiteX20" fmla="*/ 7158 w 10000"/>
                  <a:gd name="connsiteY20" fmla="*/ 1339 h 10000"/>
                  <a:gd name="connsiteX21" fmla="*/ 6946 w 10000"/>
                  <a:gd name="connsiteY21" fmla="*/ 1231 h 10000"/>
                  <a:gd name="connsiteX22" fmla="*/ 5954 w 10000"/>
                  <a:gd name="connsiteY22" fmla="*/ 0 h 10000"/>
                  <a:gd name="connsiteX23" fmla="*/ 5954 w 10000"/>
                  <a:gd name="connsiteY23" fmla="*/ 0 h 10000"/>
                  <a:gd name="connsiteX24" fmla="*/ 5787 w 10000"/>
                  <a:gd name="connsiteY24" fmla="*/ 292 h 10000"/>
                  <a:gd name="connsiteX25" fmla="*/ 5453 w 10000"/>
                  <a:gd name="connsiteY25" fmla="*/ 810 h 10000"/>
                  <a:gd name="connsiteX26" fmla="*/ 5140 w 10000"/>
                  <a:gd name="connsiteY26" fmla="*/ 810 h 10000"/>
                  <a:gd name="connsiteX27" fmla="*/ 4003 w 10000"/>
                  <a:gd name="connsiteY27" fmla="*/ 238 h 10000"/>
                  <a:gd name="connsiteX28" fmla="*/ 3502 w 10000"/>
                  <a:gd name="connsiteY28" fmla="*/ 432 h 10000"/>
                  <a:gd name="connsiteX29" fmla="*/ 3491 w 10000"/>
                  <a:gd name="connsiteY29" fmla="*/ 454 h 10000"/>
                  <a:gd name="connsiteX30" fmla="*/ 3090 w 10000"/>
                  <a:gd name="connsiteY30" fmla="*/ 994 h 10000"/>
                  <a:gd name="connsiteX31" fmla="*/ 2610 w 10000"/>
                  <a:gd name="connsiteY31" fmla="*/ 1598 h 10000"/>
                  <a:gd name="connsiteX32" fmla="*/ 1942 w 10000"/>
                  <a:gd name="connsiteY32" fmla="*/ 2937 h 10000"/>
                  <a:gd name="connsiteX33" fmla="*/ 1240 w 10000"/>
                  <a:gd name="connsiteY33" fmla="*/ 4784 h 10000"/>
                  <a:gd name="connsiteX34" fmla="*/ 771 w 10000"/>
                  <a:gd name="connsiteY34" fmla="*/ 6253 h 10000"/>
                  <a:gd name="connsiteX35" fmla="*/ 303 w 10000"/>
                  <a:gd name="connsiteY35" fmla="*/ 6523 h 10000"/>
                  <a:gd name="connsiteX36" fmla="*/ 91 w 10000"/>
                  <a:gd name="connsiteY36" fmla="*/ 6631 h 10000"/>
                  <a:gd name="connsiteX37" fmla="*/ 80 w 10000"/>
                  <a:gd name="connsiteY37" fmla="*/ 7052 h 10000"/>
                  <a:gd name="connsiteX38" fmla="*/ 58 w 10000"/>
                  <a:gd name="connsiteY38" fmla="*/ 7419 h 10000"/>
                  <a:gd name="connsiteX39" fmla="*/ 36 w 10000"/>
                  <a:gd name="connsiteY39" fmla="*/ 7819 h 10000"/>
                  <a:gd name="connsiteX40" fmla="*/ 292 w 10000"/>
                  <a:gd name="connsiteY40" fmla="*/ 8283 h 10000"/>
                  <a:gd name="connsiteX41" fmla="*/ 403 w 10000"/>
                  <a:gd name="connsiteY41" fmla="*/ 8834 h 10000"/>
                  <a:gd name="connsiteX42" fmla="*/ 425 w 10000"/>
                  <a:gd name="connsiteY42" fmla="*/ 8844 h 10000"/>
                  <a:gd name="connsiteX43" fmla="*/ 796 w 10000"/>
                  <a:gd name="connsiteY43" fmla="*/ 8678 h 10000"/>
                  <a:gd name="connsiteX44" fmla="*/ 859 w 10000"/>
                  <a:gd name="connsiteY44" fmla="*/ 8659 h 10000"/>
                  <a:gd name="connsiteX45" fmla="*/ 1541 w 10000"/>
                  <a:gd name="connsiteY45" fmla="*/ 7937 h 10000"/>
                  <a:gd name="connsiteX46" fmla="*/ 2710 w 10000"/>
                  <a:gd name="connsiteY46" fmla="*/ 6911 h 10000"/>
                  <a:gd name="connsiteX47" fmla="*/ 3056 w 10000"/>
                  <a:gd name="connsiteY47" fmla="*/ 6868 h 10000"/>
                  <a:gd name="connsiteX48" fmla="*/ 4049 w 10000"/>
                  <a:gd name="connsiteY48" fmla="*/ 9060 h 10000"/>
                  <a:gd name="connsiteX49" fmla="*/ 4293 w 10000"/>
                  <a:gd name="connsiteY49" fmla="*/ 9482 h 10000"/>
                  <a:gd name="connsiteX50" fmla="*/ 5942 w 10000"/>
                  <a:gd name="connsiteY50" fmla="*/ 9622 h 10000"/>
                  <a:gd name="connsiteX51" fmla="*/ 7347 w 10000"/>
                  <a:gd name="connsiteY51" fmla="*/ 9870 h 10000"/>
                  <a:gd name="connsiteX52" fmla="*/ 7804 w 10000"/>
                  <a:gd name="connsiteY52" fmla="*/ 10000 h 10000"/>
                  <a:gd name="connsiteX53" fmla="*/ 7994 w 10000"/>
                  <a:gd name="connsiteY53" fmla="*/ 9892 h 10000"/>
                  <a:gd name="connsiteX54" fmla="*/ 8328 w 10000"/>
                  <a:gd name="connsiteY54" fmla="*/ 9741 h 10000"/>
                  <a:gd name="connsiteX55" fmla="*/ 8897 w 10000"/>
                  <a:gd name="connsiteY55" fmla="*/ 9622 h 10000"/>
                  <a:gd name="connsiteX56" fmla="*/ 9699 w 10000"/>
                  <a:gd name="connsiteY56" fmla="*/ 9363 h 10000"/>
                  <a:gd name="connsiteX57" fmla="*/ 10000 w 10000"/>
                  <a:gd name="connsiteY57" fmla="*/ 8164 h 10000"/>
                  <a:gd name="connsiteX58" fmla="*/ 10000 w 10000"/>
                  <a:gd name="connsiteY58" fmla="*/ 7927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000" h="10000">
                    <a:moveTo>
                      <a:pt x="10000" y="7927"/>
                    </a:moveTo>
                    <a:cubicBezTo>
                      <a:pt x="9944" y="7959"/>
                      <a:pt x="9265" y="8348"/>
                      <a:pt x="8863" y="8844"/>
                    </a:cubicBezTo>
                    <a:cubicBezTo>
                      <a:pt x="8863" y="8844"/>
                      <a:pt x="8763" y="8359"/>
                      <a:pt x="8707" y="8121"/>
                    </a:cubicBezTo>
                    <a:cubicBezTo>
                      <a:pt x="8640" y="7894"/>
                      <a:pt x="8406" y="7516"/>
                      <a:pt x="8528" y="6609"/>
                    </a:cubicBezTo>
                    <a:cubicBezTo>
                      <a:pt x="8528" y="6609"/>
                      <a:pt x="8718" y="6156"/>
                      <a:pt x="8886" y="5994"/>
                    </a:cubicBezTo>
                    <a:lnTo>
                      <a:pt x="8886" y="5983"/>
                    </a:lnTo>
                    <a:cubicBezTo>
                      <a:pt x="8651" y="6069"/>
                      <a:pt x="8083" y="6458"/>
                      <a:pt x="7815" y="6544"/>
                    </a:cubicBezTo>
                    <a:cubicBezTo>
                      <a:pt x="7481" y="6641"/>
                      <a:pt x="7235" y="6857"/>
                      <a:pt x="7035" y="6998"/>
                    </a:cubicBezTo>
                    <a:cubicBezTo>
                      <a:pt x="6845" y="7149"/>
                      <a:pt x="6668" y="7041"/>
                      <a:pt x="6668" y="7041"/>
                    </a:cubicBezTo>
                    <a:cubicBezTo>
                      <a:pt x="6668" y="7041"/>
                      <a:pt x="6411" y="6458"/>
                      <a:pt x="6389" y="6371"/>
                    </a:cubicBezTo>
                    <a:cubicBezTo>
                      <a:pt x="6356" y="6285"/>
                      <a:pt x="6478" y="5950"/>
                      <a:pt x="6544" y="5594"/>
                    </a:cubicBezTo>
                    <a:cubicBezTo>
                      <a:pt x="6623" y="5227"/>
                      <a:pt x="6300" y="5011"/>
                      <a:pt x="6210" y="4968"/>
                    </a:cubicBezTo>
                    <a:cubicBezTo>
                      <a:pt x="6121" y="4924"/>
                      <a:pt x="6277" y="4644"/>
                      <a:pt x="6277" y="4644"/>
                    </a:cubicBezTo>
                    <a:cubicBezTo>
                      <a:pt x="6285" y="4604"/>
                      <a:pt x="6292" y="4565"/>
                      <a:pt x="6300" y="4525"/>
                    </a:cubicBezTo>
                    <a:cubicBezTo>
                      <a:pt x="6411" y="4384"/>
                      <a:pt x="6356" y="4212"/>
                      <a:pt x="6311" y="4125"/>
                    </a:cubicBezTo>
                    <a:cubicBezTo>
                      <a:pt x="6266" y="4039"/>
                      <a:pt x="6478" y="3834"/>
                      <a:pt x="6522" y="3704"/>
                    </a:cubicBezTo>
                    <a:cubicBezTo>
                      <a:pt x="6567" y="3575"/>
                      <a:pt x="6544" y="3531"/>
                      <a:pt x="6544" y="3531"/>
                    </a:cubicBezTo>
                    <a:cubicBezTo>
                      <a:pt x="6544" y="3531"/>
                      <a:pt x="6701" y="3434"/>
                      <a:pt x="6801" y="3283"/>
                    </a:cubicBezTo>
                    <a:cubicBezTo>
                      <a:pt x="6901" y="3143"/>
                      <a:pt x="6946" y="2840"/>
                      <a:pt x="6946" y="2840"/>
                    </a:cubicBezTo>
                    <a:cubicBezTo>
                      <a:pt x="7035" y="2743"/>
                      <a:pt x="7124" y="2354"/>
                      <a:pt x="7124" y="2354"/>
                    </a:cubicBezTo>
                    <a:cubicBezTo>
                      <a:pt x="7281" y="1641"/>
                      <a:pt x="7213" y="1447"/>
                      <a:pt x="7158" y="1339"/>
                    </a:cubicBezTo>
                    <a:cubicBezTo>
                      <a:pt x="7102" y="1242"/>
                      <a:pt x="6946" y="1231"/>
                      <a:pt x="6946" y="1231"/>
                    </a:cubicBezTo>
                    <a:cubicBezTo>
                      <a:pt x="6857" y="1069"/>
                      <a:pt x="5954" y="0"/>
                      <a:pt x="5954" y="0"/>
                    </a:cubicBezTo>
                    <a:lnTo>
                      <a:pt x="5954" y="0"/>
                    </a:lnTo>
                    <a:cubicBezTo>
                      <a:pt x="5876" y="11"/>
                      <a:pt x="5787" y="292"/>
                      <a:pt x="5787" y="292"/>
                    </a:cubicBezTo>
                    <a:cubicBezTo>
                      <a:pt x="5742" y="691"/>
                      <a:pt x="5541" y="778"/>
                      <a:pt x="5453" y="810"/>
                    </a:cubicBezTo>
                    <a:cubicBezTo>
                      <a:pt x="5364" y="842"/>
                      <a:pt x="5140" y="810"/>
                      <a:pt x="5140" y="810"/>
                    </a:cubicBezTo>
                    <a:cubicBezTo>
                      <a:pt x="4973" y="864"/>
                      <a:pt x="4126" y="302"/>
                      <a:pt x="4003" y="238"/>
                    </a:cubicBezTo>
                    <a:cubicBezTo>
                      <a:pt x="3903" y="173"/>
                      <a:pt x="3591" y="378"/>
                      <a:pt x="3502" y="432"/>
                    </a:cubicBezTo>
                    <a:cubicBezTo>
                      <a:pt x="3491" y="443"/>
                      <a:pt x="3491" y="454"/>
                      <a:pt x="3491" y="454"/>
                    </a:cubicBezTo>
                    <a:cubicBezTo>
                      <a:pt x="3491" y="454"/>
                      <a:pt x="3323" y="691"/>
                      <a:pt x="3090" y="994"/>
                    </a:cubicBezTo>
                    <a:cubicBezTo>
                      <a:pt x="2945" y="1188"/>
                      <a:pt x="2778" y="1404"/>
                      <a:pt x="2610" y="1598"/>
                    </a:cubicBezTo>
                    <a:cubicBezTo>
                      <a:pt x="2176" y="2106"/>
                      <a:pt x="1953" y="2883"/>
                      <a:pt x="1942" y="2937"/>
                    </a:cubicBezTo>
                    <a:cubicBezTo>
                      <a:pt x="1930" y="3002"/>
                      <a:pt x="1328" y="4536"/>
                      <a:pt x="1240" y="4784"/>
                    </a:cubicBezTo>
                    <a:cubicBezTo>
                      <a:pt x="1151" y="5032"/>
                      <a:pt x="782" y="6091"/>
                      <a:pt x="771" y="6253"/>
                    </a:cubicBezTo>
                    <a:cubicBezTo>
                      <a:pt x="749" y="6415"/>
                      <a:pt x="303" y="6523"/>
                      <a:pt x="303" y="6523"/>
                    </a:cubicBezTo>
                    <a:cubicBezTo>
                      <a:pt x="214" y="6555"/>
                      <a:pt x="147" y="6587"/>
                      <a:pt x="91" y="6631"/>
                    </a:cubicBezTo>
                    <a:cubicBezTo>
                      <a:pt x="91" y="6793"/>
                      <a:pt x="91" y="6933"/>
                      <a:pt x="80" y="7052"/>
                    </a:cubicBezTo>
                    <a:cubicBezTo>
                      <a:pt x="80" y="7246"/>
                      <a:pt x="69" y="7376"/>
                      <a:pt x="58" y="7419"/>
                    </a:cubicBezTo>
                    <a:cubicBezTo>
                      <a:pt x="-20" y="7635"/>
                      <a:pt x="-9" y="7797"/>
                      <a:pt x="36" y="7819"/>
                    </a:cubicBezTo>
                    <a:cubicBezTo>
                      <a:pt x="80" y="7851"/>
                      <a:pt x="203" y="8121"/>
                      <a:pt x="292" y="8283"/>
                    </a:cubicBezTo>
                    <a:cubicBezTo>
                      <a:pt x="370" y="8423"/>
                      <a:pt x="359" y="8758"/>
                      <a:pt x="403" y="8834"/>
                    </a:cubicBezTo>
                    <a:cubicBezTo>
                      <a:pt x="403" y="8834"/>
                      <a:pt x="414" y="8844"/>
                      <a:pt x="425" y="8844"/>
                    </a:cubicBezTo>
                    <a:cubicBezTo>
                      <a:pt x="493" y="8834"/>
                      <a:pt x="723" y="8709"/>
                      <a:pt x="796" y="8678"/>
                    </a:cubicBezTo>
                    <a:cubicBezTo>
                      <a:pt x="868" y="8647"/>
                      <a:pt x="735" y="8783"/>
                      <a:pt x="859" y="8659"/>
                    </a:cubicBezTo>
                    <a:cubicBezTo>
                      <a:pt x="983" y="8536"/>
                      <a:pt x="1428" y="7991"/>
                      <a:pt x="1541" y="7937"/>
                    </a:cubicBezTo>
                    <a:cubicBezTo>
                      <a:pt x="1674" y="7862"/>
                      <a:pt x="2421" y="7214"/>
                      <a:pt x="2710" y="6911"/>
                    </a:cubicBezTo>
                    <a:cubicBezTo>
                      <a:pt x="3011" y="6609"/>
                      <a:pt x="3056" y="6868"/>
                      <a:pt x="3056" y="6868"/>
                    </a:cubicBezTo>
                    <a:cubicBezTo>
                      <a:pt x="3112" y="7041"/>
                      <a:pt x="4049" y="9060"/>
                      <a:pt x="4049" y="9060"/>
                    </a:cubicBezTo>
                    <a:cubicBezTo>
                      <a:pt x="4115" y="9222"/>
                      <a:pt x="4193" y="9363"/>
                      <a:pt x="4293" y="9482"/>
                    </a:cubicBezTo>
                    <a:lnTo>
                      <a:pt x="5942" y="9622"/>
                    </a:lnTo>
                    <a:cubicBezTo>
                      <a:pt x="6055" y="9622"/>
                      <a:pt x="7035" y="9719"/>
                      <a:pt x="7347" y="9870"/>
                    </a:cubicBezTo>
                    <a:cubicBezTo>
                      <a:pt x="7503" y="9935"/>
                      <a:pt x="7671" y="9978"/>
                      <a:pt x="7804" y="10000"/>
                    </a:cubicBezTo>
                    <a:cubicBezTo>
                      <a:pt x="7927" y="9968"/>
                      <a:pt x="7927" y="9914"/>
                      <a:pt x="7994" y="9892"/>
                    </a:cubicBezTo>
                    <a:cubicBezTo>
                      <a:pt x="8094" y="9870"/>
                      <a:pt x="8149" y="9708"/>
                      <a:pt x="8328" y="9741"/>
                    </a:cubicBezTo>
                    <a:cubicBezTo>
                      <a:pt x="8506" y="9762"/>
                      <a:pt x="8796" y="9698"/>
                      <a:pt x="8897" y="9622"/>
                    </a:cubicBezTo>
                    <a:cubicBezTo>
                      <a:pt x="8997" y="9546"/>
                      <a:pt x="9699" y="9363"/>
                      <a:pt x="9699" y="9363"/>
                    </a:cubicBezTo>
                    <a:cubicBezTo>
                      <a:pt x="9754" y="9320"/>
                      <a:pt x="9933" y="8456"/>
                      <a:pt x="10000" y="8164"/>
                    </a:cubicBezTo>
                    <a:cubicBezTo>
                      <a:pt x="10011" y="8078"/>
                      <a:pt x="10011" y="7991"/>
                      <a:pt x="10000" y="7927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139">
                <a:extLst>
                  <a:ext uri="{FF2B5EF4-FFF2-40B4-BE49-F238E27FC236}">
                    <a16:creationId xmlns:a16="http://schemas.microsoft.com/office/drawing/2014/main" id="{7EC51F06-BE4A-499C-8332-FF9E7E07A4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17001" y="4323692"/>
                <a:ext cx="82901" cy="4806"/>
              </a:xfrm>
              <a:custGeom>
                <a:avLst/>
                <a:gdLst>
                  <a:gd name="T0" fmla="*/ 0 w 42"/>
                  <a:gd name="T1" fmla="*/ 3 h 3"/>
                  <a:gd name="T2" fmla="*/ 42 w 42"/>
                  <a:gd name="T3" fmla="*/ 0 h 3"/>
                  <a:gd name="T4" fmla="*/ 0 w 4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3">
                    <a:moveTo>
                      <a:pt x="0" y="3"/>
                    </a:moveTo>
                    <a:cubicBezTo>
                      <a:pt x="18" y="3"/>
                      <a:pt x="33" y="2"/>
                      <a:pt x="42" y="0"/>
                    </a:cubicBezTo>
                    <a:cubicBezTo>
                      <a:pt x="33" y="2"/>
                      <a:pt x="18" y="2"/>
                      <a:pt x="0" y="3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140">
                <a:extLst>
                  <a:ext uri="{FF2B5EF4-FFF2-40B4-BE49-F238E27FC236}">
                    <a16:creationId xmlns:a16="http://schemas.microsoft.com/office/drawing/2014/main" id="{3FFA8F20-3FD8-45FE-B8EA-E1909FE2A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0122" y="2974328"/>
                <a:ext cx="1015146" cy="716318"/>
              </a:xfrm>
              <a:custGeom>
                <a:avLst/>
                <a:gdLst>
                  <a:gd name="T0" fmla="*/ 452 w 469"/>
                  <a:gd name="T1" fmla="*/ 217 h 340"/>
                  <a:gd name="T2" fmla="*/ 418 w 469"/>
                  <a:gd name="T3" fmla="*/ 159 h 340"/>
                  <a:gd name="T4" fmla="*/ 337 w 469"/>
                  <a:gd name="T5" fmla="*/ 78 h 340"/>
                  <a:gd name="T6" fmla="*/ 254 w 469"/>
                  <a:gd name="T7" fmla="*/ 31 h 340"/>
                  <a:gd name="T8" fmla="*/ 119 w 469"/>
                  <a:gd name="T9" fmla="*/ 7 h 340"/>
                  <a:gd name="T10" fmla="*/ 82 w 469"/>
                  <a:gd name="T11" fmla="*/ 8 h 340"/>
                  <a:gd name="T12" fmla="*/ 48 w 469"/>
                  <a:gd name="T13" fmla="*/ 35 h 340"/>
                  <a:gd name="T14" fmla="*/ 2 w 469"/>
                  <a:gd name="T15" fmla="*/ 66 h 340"/>
                  <a:gd name="T16" fmla="*/ 4 w 469"/>
                  <a:gd name="T17" fmla="*/ 68 h 340"/>
                  <a:gd name="T18" fmla="*/ 50 w 469"/>
                  <a:gd name="T19" fmla="*/ 158 h 340"/>
                  <a:gd name="T20" fmla="*/ 3 w 469"/>
                  <a:gd name="T21" fmla="*/ 211 h 340"/>
                  <a:gd name="T22" fmla="*/ 0 w 469"/>
                  <a:gd name="T23" fmla="*/ 228 h 340"/>
                  <a:gd name="T24" fmla="*/ 4 w 469"/>
                  <a:gd name="T25" fmla="*/ 260 h 340"/>
                  <a:gd name="T26" fmla="*/ 4 w 469"/>
                  <a:gd name="T27" fmla="*/ 263 h 340"/>
                  <a:gd name="T28" fmla="*/ 50 w 469"/>
                  <a:gd name="T29" fmla="*/ 312 h 340"/>
                  <a:gd name="T30" fmla="*/ 70 w 469"/>
                  <a:gd name="T31" fmla="*/ 328 h 340"/>
                  <a:gd name="T32" fmla="*/ 175 w 469"/>
                  <a:gd name="T33" fmla="*/ 278 h 340"/>
                  <a:gd name="T34" fmla="*/ 231 w 469"/>
                  <a:gd name="T35" fmla="*/ 210 h 340"/>
                  <a:gd name="T36" fmla="*/ 256 w 469"/>
                  <a:gd name="T37" fmla="*/ 156 h 340"/>
                  <a:gd name="T38" fmla="*/ 302 w 469"/>
                  <a:gd name="T39" fmla="*/ 162 h 340"/>
                  <a:gd name="T40" fmla="*/ 360 w 469"/>
                  <a:gd name="T41" fmla="*/ 200 h 340"/>
                  <a:gd name="T42" fmla="*/ 354 w 469"/>
                  <a:gd name="T43" fmla="*/ 205 h 340"/>
                  <a:gd name="T44" fmla="*/ 345 w 469"/>
                  <a:gd name="T45" fmla="*/ 210 h 340"/>
                  <a:gd name="T46" fmla="*/ 383 w 469"/>
                  <a:gd name="T47" fmla="*/ 228 h 340"/>
                  <a:gd name="T48" fmla="*/ 367 w 469"/>
                  <a:gd name="T49" fmla="*/ 230 h 340"/>
                  <a:gd name="T50" fmla="*/ 395 w 469"/>
                  <a:gd name="T51" fmla="*/ 236 h 340"/>
                  <a:gd name="T52" fmla="*/ 439 w 469"/>
                  <a:gd name="T53" fmla="*/ 285 h 340"/>
                  <a:gd name="T54" fmla="*/ 440 w 469"/>
                  <a:gd name="T55" fmla="*/ 320 h 340"/>
                  <a:gd name="T56" fmla="*/ 465 w 469"/>
                  <a:gd name="T57" fmla="*/ 292 h 340"/>
                  <a:gd name="T58" fmla="*/ 452 w 469"/>
                  <a:gd name="T59" fmla="*/ 217 h 340"/>
                  <a:gd name="connsiteX0" fmla="*/ 9638 w 9923"/>
                  <a:gd name="connsiteY0" fmla="*/ 6231 h 9668"/>
                  <a:gd name="connsiteX1" fmla="*/ 8913 w 9923"/>
                  <a:gd name="connsiteY1" fmla="*/ 4525 h 9668"/>
                  <a:gd name="connsiteX2" fmla="*/ 7186 w 9923"/>
                  <a:gd name="connsiteY2" fmla="*/ 2143 h 9668"/>
                  <a:gd name="connsiteX3" fmla="*/ 5416 w 9923"/>
                  <a:gd name="connsiteY3" fmla="*/ 761 h 9668"/>
                  <a:gd name="connsiteX4" fmla="*/ 2537 w 9923"/>
                  <a:gd name="connsiteY4" fmla="*/ 55 h 9668"/>
                  <a:gd name="connsiteX5" fmla="*/ 1748 w 9923"/>
                  <a:gd name="connsiteY5" fmla="*/ 84 h 9668"/>
                  <a:gd name="connsiteX6" fmla="*/ 1023 w 9923"/>
                  <a:gd name="connsiteY6" fmla="*/ 878 h 9668"/>
                  <a:gd name="connsiteX7" fmla="*/ 43 w 9923"/>
                  <a:gd name="connsiteY7" fmla="*/ 1790 h 9668"/>
                  <a:gd name="connsiteX8" fmla="*/ 85 w 9923"/>
                  <a:gd name="connsiteY8" fmla="*/ 1849 h 9668"/>
                  <a:gd name="connsiteX9" fmla="*/ 1066 w 9923"/>
                  <a:gd name="connsiteY9" fmla="*/ 4496 h 9668"/>
                  <a:gd name="connsiteX10" fmla="*/ 64 w 9923"/>
                  <a:gd name="connsiteY10" fmla="*/ 6055 h 9668"/>
                  <a:gd name="connsiteX11" fmla="*/ 0 w 9923"/>
                  <a:gd name="connsiteY11" fmla="*/ 6555 h 9668"/>
                  <a:gd name="connsiteX12" fmla="*/ 85 w 9923"/>
                  <a:gd name="connsiteY12" fmla="*/ 7496 h 9668"/>
                  <a:gd name="connsiteX13" fmla="*/ 85 w 9923"/>
                  <a:gd name="connsiteY13" fmla="*/ 7584 h 9668"/>
                  <a:gd name="connsiteX14" fmla="*/ 1066 w 9923"/>
                  <a:gd name="connsiteY14" fmla="*/ 9025 h 9668"/>
                  <a:gd name="connsiteX15" fmla="*/ 1493 w 9923"/>
                  <a:gd name="connsiteY15" fmla="*/ 9496 h 9668"/>
                  <a:gd name="connsiteX16" fmla="*/ 3731 w 9923"/>
                  <a:gd name="connsiteY16" fmla="*/ 8025 h 9668"/>
                  <a:gd name="connsiteX17" fmla="*/ 4925 w 9923"/>
                  <a:gd name="connsiteY17" fmla="*/ 6025 h 9668"/>
                  <a:gd name="connsiteX18" fmla="*/ 5458 w 9923"/>
                  <a:gd name="connsiteY18" fmla="*/ 4437 h 9668"/>
                  <a:gd name="connsiteX19" fmla="*/ 6439 w 9923"/>
                  <a:gd name="connsiteY19" fmla="*/ 4614 h 9668"/>
                  <a:gd name="connsiteX20" fmla="*/ 7548 w 9923"/>
                  <a:gd name="connsiteY20" fmla="*/ 5878 h 9668"/>
                  <a:gd name="connsiteX21" fmla="*/ 7356 w 9923"/>
                  <a:gd name="connsiteY21" fmla="*/ 6025 h 9668"/>
                  <a:gd name="connsiteX22" fmla="*/ 8166 w 9923"/>
                  <a:gd name="connsiteY22" fmla="*/ 6555 h 9668"/>
                  <a:gd name="connsiteX23" fmla="*/ 7825 w 9923"/>
                  <a:gd name="connsiteY23" fmla="*/ 6614 h 9668"/>
                  <a:gd name="connsiteX24" fmla="*/ 8422 w 9923"/>
                  <a:gd name="connsiteY24" fmla="*/ 6790 h 9668"/>
                  <a:gd name="connsiteX25" fmla="*/ 9360 w 9923"/>
                  <a:gd name="connsiteY25" fmla="*/ 8231 h 9668"/>
                  <a:gd name="connsiteX26" fmla="*/ 9382 w 9923"/>
                  <a:gd name="connsiteY26" fmla="*/ 9261 h 9668"/>
                  <a:gd name="connsiteX27" fmla="*/ 9915 w 9923"/>
                  <a:gd name="connsiteY27" fmla="*/ 8437 h 9668"/>
                  <a:gd name="connsiteX28" fmla="*/ 9638 w 9923"/>
                  <a:gd name="connsiteY28" fmla="*/ 6231 h 9668"/>
                  <a:gd name="connsiteX0" fmla="*/ 9713 w 10000"/>
                  <a:gd name="connsiteY0" fmla="*/ 6445 h 9999"/>
                  <a:gd name="connsiteX1" fmla="*/ 8982 w 10000"/>
                  <a:gd name="connsiteY1" fmla="*/ 4680 h 9999"/>
                  <a:gd name="connsiteX2" fmla="*/ 7242 w 10000"/>
                  <a:gd name="connsiteY2" fmla="*/ 2217 h 9999"/>
                  <a:gd name="connsiteX3" fmla="*/ 5458 w 10000"/>
                  <a:gd name="connsiteY3" fmla="*/ 787 h 9999"/>
                  <a:gd name="connsiteX4" fmla="*/ 2557 w 10000"/>
                  <a:gd name="connsiteY4" fmla="*/ 57 h 9999"/>
                  <a:gd name="connsiteX5" fmla="*/ 1762 w 10000"/>
                  <a:gd name="connsiteY5" fmla="*/ 87 h 9999"/>
                  <a:gd name="connsiteX6" fmla="*/ 1031 w 10000"/>
                  <a:gd name="connsiteY6" fmla="*/ 908 h 9999"/>
                  <a:gd name="connsiteX7" fmla="*/ 43 w 10000"/>
                  <a:gd name="connsiteY7" fmla="*/ 1851 h 9999"/>
                  <a:gd name="connsiteX8" fmla="*/ 86 w 10000"/>
                  <a:gd name="connsiteY8" fmla="*/ 1912 h 9999"/>
                  <a:gd name="connsiteX9" fmla="*/ 1074 w 10000"/>
                  <a:gd name="connsiteY9" fmla="*/ 4650 h 9999"/>
                  <a:gd name="connsiteX10" fmla="*/ 64 w 10000"/>
                  <a:gd name="connsiteY10" fmla="*/ 6263 h 9999"/>
                  <a:gd name="connsiteX11" fmla="*/ 0 w 10000"/>
                  <a:gd name="connsiteY11" fmla="*/ 6780 h 9999"/>
                  <a:gd name="connsiteX12" fmla="*/ 86 w 10000"/>
                  <a:gd name="connsiteY12" fmla="*/ 7753 h 9999"/>
                  <a:gd name="connsiteX13" fmla="*/ 86 w 10000"/>
                  <a:gd name="connsiteY13" fmla="*/ 7844 h 9999"/>
                  <a:gd name="connsiteX14" fmla="*/ 1074 w 10000"/>
                  <a:gd name="connsiteY14" fmla="*/ 9335 h 9999"/>
                  <a:gd name="connsiteX15" fmla="*/ 1505 w 10000"/>
                  <a:gd name="connsiteY15" fmla="*/ 9822 h 9999"/>
                  <a:gd name="connsiteX16" fmla="*/ 3760 w 10000"/>
                  <a:gd name="connsiteY16" fmla="*/ 8301 h 9999"/>
                  <a:gd name="connsiteX17" fmla="*/ 4963 w 10000"/>
                  <a:gd name="connsiteY17" fmla="*/ 6232 h 9999"/>
                  <a:gd name="connsiteX18" fmla="*/ 5500 w 10000"/>
                  <a:gd name="connsiteY18" fmla="*/ 4589 h 9999"/>
                  <a:gd name="connsiteX19" fmla="*/ 6489 w 10000"/>
                  <a:gd name="connsiteY19" fmla="*/ 4772 h 9999"/>
                  <a:gd name="connsiteX20" fmla="*/ 7413 w 10000"/>
                  <a:gd name="connsiteY20" fmla="*/ 6232 h 9999"/>
                  <a:gd name="connsiteX21" fmla="*/ 8229 w 10000"/>
                  <a:gd name="connsiteY21" fmla="*/ 6780 h 9999"/>
                  <a:gd name="connsiteX22" fmla="*/ 7886 w 10000"/>
                  <a:gd name="connsiteY22" fmla="*/ 6841 h 9999"/>
                  <a:gd name="connsiteX23" fmla="*/ 8487 w 10000"/>
                  <a:gd name="connsiteY23" fmla="*/ 7023 h 9999"/>
                  <a:gd name="connsiteX24" fmla="*/ 9433 w 10000"/>
                  <a:gd name="connsiteY24" fmla="*/ 8514 h 9999"/>
                  <a:gd name="connsiteX25" fmla="*/ 9455 w 10000"/>
                  <a:gd name="connsiteY25" fmla="*/ 9579 h 9999"/>
                  <a:gd name="connsiteX26" fmla="*/ 9992 w 10000"/>
                  <a:gd name="connsiteY26" fmla="*/ 8727 h 9999"/>
                  <a:gd name="connsiteX27" fmla="*/ 9713 w 10000"/>
                  <a:gd name="connsiteY27" fmla="*/ 6445 h 9999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8229 w 10000"/>
                  <a:gd name="connsiteY21" fmla="*/ 6781 h 10000"/>
                  <a:gd name="connsiteX22" fmla="*/ 7886 w 10000"/>
                  <a:gd name="connsiteY22" fmla="*/ 6842 h 10000"/>
                  <a:gd name="connsiteX23" fmla="*/ 8487 w 10000"/>
                  <a:gd name="connsiteY23" fmla="*/ 7024 h 10000"/>
                  <a:gd name="connsiteX24" fmla="*/ 9433 w 10000"/>
                  <a:gd name="connsiteY24" fmla="*/ 8515 h 10000"/>
                  <a:gd name="connsiteX25" fmla="*/ 9455 w 10000"/>
                  <a:gd name="connsiteY25" fmla="*/ 9580 h 10000"/>
                  <a:gd name="connsiteX26" fmla="*/ 9992 w 10000"/>
                  <a:gd name="connsiteY26" fmla="*/ 8728 h 10000"/>
                  <a:gd name="connsiteX27" fmla="*/ 9713 w 10000"/>
                  <a:gd name="connsiteY27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7886 w 10000"/>
                  <a:gd name="connsiteY21" fmla="*/ 6842 h 10000"/>
                  <a:gd name="connsiteX22" fmla="*/ 8487 w 10000"/>
                  <a:gd name="connsiteY22" fmla="*/ 7024 h 10000"/>
                  <a:gd name="connsiteX23" fmla="*/ 9433 w 10000"/>
                  <a:gd name="connsiteY23" fmla="*/ 8515 h 10000"/>
                  <a:gd name="connsiteX24" fmla="*/ 9455 w 10000"/>
                  <a:gd name="connsiteY24" fmla="*/ 9580 h 10000"/>
                  <a:gd name="connsiteX25" fmla="*/ 9992 w 10000"/>
                  <a:gd name="connsiteY25" fmla="*/ 8728 h 10000"/>
                  <a:gd name="connsiteX26" fmla="*/ 9713 w 10000"/>
                  <a:gd name="connsiteY26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7886 w 10000"/>
                  <a:gd name="connsiteY21" fmla="*/ 6842 h 10000"/>
                  <a:gd name="connsiteX22" fmla="*/ 9433 w 10000"/>
                  <a:gd name="connsiteY22" fmla="*/ 8515 h 10000"/>
                  <a:gd name="connsiteX23" fmla="*/ 9455 w 10000"/>
                  <a:gd name="connsiteY23" fmla="*/ 9580 h 10000"/>
                  <a:gd name="connsiteX24" fmla="*/ 9992 w 10000"/>
                  <a:gd name="connsiteY24" fmla="*/ 8728 h 10000"/>
                  <a:gd name="connsiteX25" fmla="*/ 9713 w 10000"/>
                  <a:gd name="connsiteY25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9433 w 10000"/>
                  <a:gd name="connsiteY21" fmla="*/ 8515 h 10000"/>
                  <a:gd name="connsiteX22" fmla="*/ 9455 w 10000"/>
                  <a:gd name="connsiteY22" fmla="*/ 9580 h 10000"/>
                  <a:gd name="connsiteX23" fmla="*/ 9992 w 10000"/>
                  <a:gd name="connsiteY23" fmla="*/ 8728 h 10000"/>
                  <a:gd name="connsiteX24" fmla="*/ 9713 w 10000"/>
                  <a:gd name="connsiteY24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361 w 10000"/>
                  <a:gd name="connsiteY20" fmla="*/ 6675 h 10000"/>
                  <a:gd name="connsiteX21" fmla="*/ 9433 w 10000"/>
                  <a:gd name="connsiteY21" fmla="*/ 8515 h 10000"/>
                  <a:gd name="connsiteX22" fmla="*/ 9455 w 10000"/>
                  <a:gd name="connsiteY22" fmla="*/ 9580 h 10000"/>
                  <a:gd name="connsiteX23" fmla="*/ 9992 w 10000"/>
                  <a:gd name="connsiteY23" fmla="*/ 8728 h 10000"/>
                  <a:gd name="connsiteX24" fmla="*/ 9713 w 10000"/>
                  <a:gd name="connsiteY24" fmla="*/ 644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000" h="10000">
                    <a:moveTo>
                      <a:pt x="9713" y="6446"/>
                    </a:moveTo>
                    <a:cubicBezTo>
                      <a:pt x="9347" y="5595"/>
                      <a:pt x="9153" y="5108"/>
                      <a:pt x="8982" y="4680"/>
                    </a:cubicBezTo>
                    <a:cubicBezTo>
                      <a:pt x="8810" y="4255"/>
                      <a:pt x="7994" y="2825"/>
                      <a:pt x="7242" y="2217"/>
                    </a:cubicBezTo>
                    <a:cubicBezTo>
                      <a:pt x="6489" y="1608"/>
                      <a:pt x="6124" y="1304"/>
                      <a:pt x="5458" y="787"/>
                    </a:cubicBezTo>
                    <a:cubicBezTo>
                      <a:pt x="4792" y="270"/>
                      <a:pt x="3116" y="-156"/>
                      <a:pt x="2557" y="57"/>
                    </a:cubicBezTo>
                    <a:cubicBezTo>
                      <a:pt x="2557" y="57"/>
                      <a:pt x="2106" y="-4"/>
                      <a:pt x="1762" y="87"/>
                    </a:cubicBezTo>
                    <a:cubicBezTo>
                      <a:pt x="1418" y="179"/>
                      <a:pt x="1203" y="574"/>
                      <a:pt x="1031" y="908"/>
                    </a:cubicBezTo>
                    <a:cubicBezTo>
                      <a:pt x="860" y="1213"/>
                      <a:pt x="279" y="1547"/>
                      <a:pt x="43" y="1851"/>
                    </a:cubicBezTo>
                    <a:cubicBezTo>
                      <a:pt x="64" y="1882"/>
                      <a:pt x="86" y="1882"/>
                      <a:pt x="86" y="1912"/>
                    </a:cubicBezTo>
                    <a:cubicBezTo>
                      <a:pt x="666" y="2308"/>
                      <a:pt x="1247" y="2947"/>
                      <a:pt x="1074" y="4650"/>
                    </a:cubicBezTo>
                    <a:cubicBezTo>
                      <a:pt x="945" y="5960"/>
                      <a:pt x="344" y="6203"/>
                      <a:pt x="64" y="6264"/>
                    </a:cubicBezTo>
                    <a:cubicBezTo>
                      <a:pt x="21" y="6538"/>
                      <a:pt x="0" y="6720"/>
                      <a:pt x="0" y="6781"/>
                    </a:cubicBezTo>
                    <a:cubicBezTo>
                      <a:pt x="0" y="6963"/>
                      <a:pt x="86" y="7754"/>
                      <a:pt x="86" y="7754"/>
                    </a:cubicBezTo>
                    <a:lnTo>
                      <a:pt x="86" y="7845"/>
                    </a:lnTo>
                    <a:cubicBezTo>
                      <a:pt x="429" y="8242"/>
                      <a:pt x="945" y="8850"/>
                      <a:pt x="1074" y="9336"/>
                    </a:cubicBezTo>
                    <a:cubicBezTo>
                      <a:pt x="1247" y="9975"/>
                      <a:pt x="1332" y="10188"/>
                      <a:pt x="1505" y="9823"/>
                    </a:cubicBezTo>
                    <a:cubicBezTo>
                      <a:pt x="1676" y="9458"/>
                      <a:pt x="3438" y="8759"/>
                      <a:pt x="3760" y="8302"/>
                    </a:cubicBezTo>
                    <a:cubicBezTo>
                      <a:pt x="4082" y="7876"/>
                      <a:pt x="4340" y="7024"/>
                      <a:pt x="4963" y="6233"/>
                    </a:cubicBezTo>
                    <a:cubicBezTo>
                      <a:pt x="5587" y="5473"/>
                      <a:pt x="5415" y="4893"/>
                      <a:pt x="5500" y="4589"/>
                    </a:cubicBezTo>
                    <a:cubicBezTo>
                      <a:pt x="5587" y="4255"/>
                      <a:pt x="5844" y="4427"/>
                      <a:pt x="6359" y="5066"/>
                    </a:cubicBezTo>
                    <a:cubicBezTo>
                      <a:pt x="6678" y="5341"/>
                      <a:pt x="6849" y="6100"/>
                      <a:pt x="7361" y="6675"/>
                    </a:cubicBezTo>
                    <a:cubicBezTo>
                      <a:pt x="7873" y="7250"/>
                      <a:pt x="9093" y="7957"/>
                      <a:pt x="9433" y="8515"/>
                    </a:cubicBezTo>
                    <a:cubicBezTo>
                      <a:pt x="9476" y="8667"/>
                      <a:pt x="9455" y="9336"/>
                      <a:pt x="9455" y="9580"/>
                    </a:cubicBezTo>
                    <a:cubicBezTo>
                      <a:pt x="9605" y="9519"/>
                      <a:pt x="9798" y="9306"/>
                      <a:pt x="9992" y="8728"/>
                    </a:cubicBezTo>
                    <a:cubicBezTo>
                      <a:pt x="9992" y="8728"/>
                      <a:pt x="10078" y="7298"/>
                      <a:pt x="9713" y="6446"/>
                    </a:cubicBezTo>
                    <a:close/>
                  </a:path>
                </a:pathLst>
              </a:custGeom>
              <a:solidFill>
                <a:srgbClr val="C69C6D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141">
                <a:extLst>
                  <a:ext uri="{FF2B5EF4-FFF2-40B4-BE49-F238E27FC236}">
                    <a16:creationId xmlns:a16="http://schemas.microsoft.com/office/drawing/2014/main" id="{0AB7D174-3A94-4AF6-9274-13F84F53B5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1243" y="2818701"/>
                <a:ext cx="1456790" cy="1275458"/>
              </a:xfrm>
              <a:custGeom>
                <a:avLst/>
                <a:gdLst>
                  <a:gd name="T0" fmla="*/ 689 w 743"/>
                  <a:gd name="T1" fmla="*/ 151 h 655"/>
                  <a:gd name="T2" fmla="*/ 687 w 743"/>
                  <a:gd name="T3" fmla="*/ 149 h 655"/>
                  <a:gd name="T4" fmla="*/ 576 w 743"/>
                  <a:gd name="T5" fmla="*/ 84 h 655"/>
                  <a:gd name="T6" fmla="*/ 501 w 743"/>
                  <a:gd name="T7" fmla="*/ 64 h 655"/>
                  <a:gd name="T8" fmla="*/ 391 w 743"/>
                  <a:gd name="T9" fmla="*/ 36 h 655"/>
                  <a:gd name="T10" fmla="*/ 393 w 743"/>
                  <a:gd name="T11" fmla="*/ 24 h 655"/>
                  <a:gd name="T12" fmla="*/ 363 w 743"/>
                  <a:gd name="T13" fmla="*/ 31 h 655"/>
                  <a:gd name="T14" fmla="*/ 353 w 743"/>
                  <a:gd name="T15" fmla="*/ 9 h 655"/>
                  <a:gd name="T16" fmla="*/ 340 w 743"/>
                  <a:gd name="T17" fmla="*/ 28 h 655"/>
                  <a:gd name="T18" fmla="*/ 240 w 743"/>
                  <a:gd name="T19" fmla="*/ 23 h 655"/>
                  <a:gd name="T20" fmla="*/ 124 w 743"/>
                  <a:gd name="T21" fmla="*/ 60 h 655"/>
                  <a:gd name="T22" fmla="*/ 56 w 743"/>
                  <a:gd name="T23" fmla="*/ 156 h 655"/>
                  <a:gd name="T24" fmla="*/ 34 w 743"/>
                  <a:gd name="T25" fmla="*/ 227 h 655"/>
                  <a:gd name="T26" fmla="*/ 34 w 743"/>
                  <a:gd name="T27" fmla="*/ 285 h 655"/>
                  <a:gd name="T28" fmla="*/ 17 w 743"/>
                  <a:gd name="T29" fmla="*/ 319 h 655"/>
                  <a:gd name="T30" fmla="*/ 11 w 743"/>
                  <a:gd name="T31" fmla="*/ 352 h 655"/>
                  <a:gd name="T32" fmla="*/ 3 w 743"/>
                  <a:gd name="T33" fmla="*/ 414 h 655"/>
                  <a:gd name="T34" fmla="*/ 8 w 743"/>
                  <a:gd name="T35" fmla="*/ 439 h 655"/>
                  <a:gd name="T36" fmla="*/ 65 w 743"/>
                  <a:gd name="T37" fmla="*/ 555 h 655"/>
                  <a:gd name="T38" fmla="*/ 67 w 743"/>
                  <a:gd name="T39" fmla="*/ 576 h 655"/>
                  <a:gd name="T40" fmla="*/ 69 w 743"/>
                  <a:gd name="T41" fmla="*/ 581 h 655"/>
                  <a:gd name="T42" fmla="*/ 113 w 743"/>
                  <a:gd name="T43" fmla="*/ 639 h 655"/>
                  <a:gd name="T44" fmla="*/ 117 w 743"/>
                  <a:gd name="T45" fmla="*/ 642 h 655"/>
                  <a:gd name="T46" fmla="*/ 124 w 743"/>
                  <a:gd name="T47" fmla="*/ 647 h 655"/>
                  <a:gd name="T48" fmla="*/ 163 w 743"/>
                  <a:gd name="T49" fmla="*/ 645 h 655"/>
                  <a:gd name="T50" fmla="*/ 139 w 743"/>
                  <a:gd name="T51" fmla="*/ 628 h 655"/>
                  <a:gd name="T52" fmla="*/ 184 w 743"/>
                  <a:gd name="T53" fmla="*/ 621 h 655"/>
                  <a:gd name="T54" fmla="*/ 217 w 743"/>
                  <a:gd name="T55" fmla="*/ 544 h 655"/>
                  <a:gd name="T56" fmla="*/ 227 w 743"/>
                  <a:gd name="T57" fmla="*/ 485 h 655"/>
                  <a:gd name="T58" fmla="*/ 299 w 743"/>
                  <a:gd name="T59" fmla="*/ 421 h 655"/>
                  <a:gd name="T60" fmla="*/ 293 w 743"/>
                  <a:gd name="T61" fmla="*/ 461 h 655"/>
                  <a:gd name="T62" fmla="*/ 251 w 743"/>
                  <a:gd name="T63" fmla="*/ 489 h 655"/>
                  <a:gd name="T64" fmla="*/ 305 w 743"/>
                  <a:gd name="T65" fmla="*/ 485 h 655"/>
                  <a:gd name="T66" fmla="*/ 284 w 743"/>
                  <a:gd name="T67" fmla="*/ 507 h 655"/>
                  <a:gd name="T68" fmla="*/ 389 w 743"/>
                  <a:gd name="T69" fmla="*/ 465 h 655"/>
                  <a:gd name="T70" fmla="*/ 389 w 743"/>
                  <a:gd name="T71" fmla="*/ 388 h 655"/>
                  <a:gd name="T72" fmla="*/ 424 w 743"/>
                  <a:gd name="T73" fmla="*/ 331 h 655"/>
                  <a:gd name="T74" fmla="*/ 523 w 743"/>
                  <a:gd name="T75" fmla="*/ 283 h 655"/>
                  <a:gd name="T76" fmla="*/ 589 w 743"/>
                  <a:gd name="T77" fmla="*/ 227 h 655"/>
                  <a:gd name="T78" fmla="*/ 603 w 743"/>
                  <a:gd name="T79" fmla="*/ 204 h 655"/>
                  <a:gd name="T80" fmla="*/ 611 w 743"/>
                  <a:gd name="T81" fmla="*/ 228 h 655"/>
                  <a:gd name="T82" fmla="*/ 628 w 743"/>
                  <a:gd name="T83" fmla="*/ 213 h 655"/>
                  <a:gd name="T84" fmla="*/ 648 w 743"/>
                  <a:gd name="T85" fmla="*/ 233 h 655"/>
                  <a:gd name="T86" fmla="*/ 669 w 743"/>
                  <a:gd name="T87" fmla="*/ 249 h 655"/>
                  <a:gd name="T88" fmla="*/ 683 w 743"/>
                  <a:gd name="T89" fmla="*/ 277 h 655"/>
                  <a:gd name="T90" fmla="*/ 693 w 743"/>
                  <a:gd name="T91" fmla="*/ 243 h 655"/>
                  <a:gd name="T92" fmla="*/ 681 w 743"/>
                  <a:gd name="T93" fmla="*/ 295 h 655"/>
                  <a:gd name="T94" fmla="*/ 688 w 743"/>
                  <a:gd name="T95" fmla="*/ 294 h 655"/>
                  <a:gd name="T96" fmla="*/ 735 w 743"/>
                  <a:gd name="T97" fmla="*/ 241 h 655"/>
                  <a:gd name="T98" fmla="*/ 689 w 743"/>
                  <a:gd name="T99" fmla="*/ 151 h 655"/>
                  <a:gd name="connsiteX0" fmla="*/ 9247 w 9885"/>
                  <a:gd name="connsiteY0" fmla="*/ 2199 h 9818"/>
                  <a:gd name="connsiteX1" fmla="*/ 9220 w 9885"/>
                  <a:gd name="connsiteY1" fmla="*/ 2169 h 9818"/>
                  <a:gd name="connsiteX2" fmla="*/ 7726 w 9885"/>
                  <a:gd name="connsiteY2" fmla="*/ 1176 h 9818"/>
                  <a:gd name="connsiteX3" fmla="*/ 6717 w 9885"/>
                  <a:gd name="connsiteY3" fmla="*/ 871 h 9818"/>
                  <a:gd name="connsiteX4" fmla="*/ 5236 w 9885"/>
                  <a:gd name="connsiteY4" fmla="*/ 444 h 9818"/>
                  <a:gd name="connsiteX5" fmla="*/ 5263 w 9885"/>
                  <a:gd name="connsiteY5" fmla="*/ 260 h 9818"/>
                  <a:gd name="connsiteX6" fmla="*/ 4860 w 9885"/>
                  <a:gd name="connsiteY6" fmla="*/ 367 h 9818"/>
                  <a:gd name="connsiteX7" fmla="*/ 4725 w 9885"/>
                  <a:gd name="connsiteY7" fmla="*/ 31 h 9818"/>
                  <a:gd name="connsiteX8" fmla="*/ 4550 w 9885"/>
                  <a:gd name="connsiteY8" fmla="*/ 321 h 9818"/>
                  <a:gd name="connsiteX9" fmla="*/ 3204 w 9885"/>
                  <a:gd name="connsiteY9" fmla="*/ 245 h 9818"/>
                  <a:gd name="connsiteX10" fmla="*/ 1643 w 9885"/>
                  <a:gd name="connsiteY10" fmla="*/ 810 h 9818"/>
                  <a:gd name="connsiteX11" fmla="*/ 728 w 9885"/>
                  <a:gd name="connsiteY11" fmla="*/ 2276 h 9818"/>
                  <a:gd name="connsiteX12" fmla="*/ 432 w 9885"/>
                  <a:gd name="connsiteY12" fmla="*/ 3360 h 9818"/>
                  <a:gd name="connsiteX13" fmla="*/ 432 w 9885"/>
                  <a:gd name="connsiteY13" fmla="*/ 4245 h 9818"/>
                  <a:gd name="connsiteX14" fmla="*/ 203 w 9885"/>
                  <a:gd name="connsiteY14" fmla="*/ 4764 h 9818"/>
                  <a:gd name="connsiteX15" fmla="*/ 122 w 9885"/>
                  <a:gd name="connsiteY15" fmla="*/ 5268 h 9818"/>
                  <a:gd name="connsiteX16" fmla="*/ 14 w 9885"/>
                  <a:gd name="connsiteY16" fmla="*/ 6215 h 9818"/>
                  <a:gd name="connsiteX17" fmla="*/ 82 w 9885"/>
                  <a:gd name="connsiteY17" fmla="*/ 6596 h 9818"/>
                  <a:gd name="connsiteX18" fmla="*/ 849 w 9885"/>
                  <a:gd name="connsiteY18" fmla="*/ 8367 h 9818"/>
                  <a:gd name="connsiteX19" fmla="*/ 876 w 9885"/>
                  <a:gd name="connsiteY19" fmla="*/ 8688 h 9818"/>
                  <a:gd name="connsiteX20" fmla="*/ 903 w 9885"/>
                  <a:gd name="connsiteY20" fmla="*/ 8932 h 9818"/>
                  <a:gd name="connsiteX21" fmla="*/ 1495 w 9885"/>
                  <a:gd name="connsiteY21" fmla="*/ 9650 h 9818"/>
                  <a:gd name="connsiteX22" fmla="*/ 1549 w 9885"/>
                  <a:gd name="connsiteY22" fmla="*/ 9696 h 9818"/>
                  <a:gd name="connsiteX23" fmla="*/ 1643 w 9885"/>
                  <a:gd name="connsiteY23" fmla="*/ 9772 h 9818"/>
                  <a:gd name="connsiteX24" fmla="*/ 2168 w 9885"/>
                  <a:gd name="connsiteY24" fmla="*/ 9741 h 9818"/>
                  <a:gd name="connsiteX25" fmla="*/ 1845 w 9885"/>
                  <a:gd name="connsiteY25" fmla="*/ 9482 h 9818"/>
                  <a:gd name="connsiteX26" fmla="*/ 2450 w 9885"/>
                  <a:gd name="connsiteY26" fmla="*/ 9375 h 9818"/>
                  <a:gd name="connsiteX27" fmla="*/ 2895 w 9885"/>
                  <a:gd name="connsiteY27" fmla="*/ 8199 h 9818"/>
                  <a:gd name="connsiteX28" fmla="*/ 3029 w 9885"/>
                  <a:gd name="connsiteY28" fmla="*/ 7299 h 9818"/>
                  <a:gd name="connsiteX29" fmla="*/ 3998 w 9885"/>
                  <a:gd name="connsiteY29" fmla="*/ 6321 h 9818"/>
                  <a:gd name="connsiteX30" fmla="*/ 3917 w 9885"/>
                  <a:gd name="connsiteY30" fmla="*/ 6932 h 9818"/>
                  <a:gd name="connsiteX31" fmla="*/ 3352 w 9885"/>
                  <a:gd name="connsiteY31" fmla="*/ 7360 h 9818"/>
                  <a:gd name="connsiteX32" fmla="*/ 4079 w 9885"/>
                  <a:gd name="connsiteY32" fmla="*/ 7299 h 9818"/>
                  <a:gd name="connsiteX33" fmla="*/ 3796 w 9885"/>
                  <a:gd name="connsiteY33" fmla="*/ 7634 h 9818"/>
                  <a:gd name="connsiteX34" fmla="*/ 5210 w 9885"/>
                  <a:gd name="connsiteY34" fmla="*/ 6993 h 9818"/>
                  <a:gd name="connsiteX35" fmla="*/ 5210 w 9885"/>
                  <a:gd name="connsiteY35" fmla="*/ 5818 h 9818"/>
                  <a:gd name="connsiteX36" fmla="*/ 5681 w 9885"/>
                  <a:gd name="connsiteY36" fmla="*/ 4947 h 9818"/>
                  <a:gd name="connsiteX37" fmla="*/ 7013 w 9885"/>
                  <a:gd name="connsiteY37" fmla="*/ 4215 h 9818"/>
                  <a:gd name="connsiteX38" fmla="*/ 7901 w 9885"/>
                  <a:gd name="connsiteY38" fmla="*/ 3360 h 9818"/>
                  <a:gd name="connsiteX39" fmla="*/ 8090 w 9885"/>
                  <a:gd name="connsiteY39" fmla="*/ 3009 h 9818"/>
                  <a:gd name="connsiteX40" fmla="*/ 8197 w 9885"/>
                  <a:gd name="connsiteY40" fmla="*/ 3375 h 9818"/>
                  <a:gd name="connsiteX41" fmla="*/ 8426 w 9885"/>
                  <a:gd name="connsiteY41" fmla="*/ 3146 h 9818"/>
                  <a:gd name="connsiteX42" fmla="*/ 8695 w 9885"/>
                  <a:gd name="connsiteY42" fmla="*/ 3451 h 9818"/>
                  <a:gd name="connsiteX43" fmla="*/ 8978 w 9885"/>
                  <a:gd name="connsiteY43" fmla="*/ 3696 h 9818"/>
                  <a:gd name="connsiteX44" fmla="*/ 9166 w 9885"/>
                  <a:gd name="connsiteY44" fmla="*/ 4123 h 9818"/>
                  <a:gd name="connsiteX45" fmla="*/ 9301 w 9885"/>
                  <a:gd name="connsiteY45" fmla="*/ 3604 h 9818"/>
                  <a:gd name="connsiteX46" fmla="*/ 9140 w 9885"/>
                  <a:gd name="connsiteY46" fmla="*/ 4398 h 9818"/>
                  <a:gd name="connsiteX47" fmla="*/ 9234 w 9885"/>
                  <a:gd name="connsiteY47" fmla="*/ 4383 h 9818"/>
                  <a:gd name="connsiteX48" fmla="*/ 9866 w 9885"/>
                  <a:gd name="connsiteY48" fmla="*/ 3573 h 9818"/>
                  <a:gd name="connsiteX49" fmla="*/ 9247 w 9885"/>
                  <a:gd name="connsiteY49" fmla="*/ 2199 h 9818"/>
                  <a:gd name="connsiteX0" fmla="*/ 9355 w 10000"/>
                  <a:gd name="connsiteY0" fmla="*/ 2240 h 9999"/>
                  <a:gd name="connsiteX1" fmla="*/ 9327 w 10000"/>
                  <a:gd name="connsiteY1" fmla="*/ 2209 h 9999"/>
                  <a:gd name="connsiteX2" fmla="*/ 7816 w 10000"/>
                  <a:gd name="connsiteY2" fmla="*/ 1198 h 9999"/>
                  <a:gd name="connsiteX3" fmla="*/ 6795 w 10000"/>
                  <a:gd name="connsiteY3" fmla="*/ 887 h 9999"/>
                  <a:gd name="connsiteX4" fmla="*/ 5297 w 10000"/>
                  <a:gd name="connsiteY4" fmla="*/ 452 h 9999"/>
                  <a:gd name="connsiteX5" fmla="*/ 5324 w 10000"/>
                  <a:gd name="connsiteY5" fmla="*/ 265 h 9999"/>
                  <a:gd name="connsiteX6" fmla="*/ 4917 w 10000"/>
                  <a:gd name="connsiteY6" fmla="*/ 374 h 9999"/>
                  <a:gd name="connsiteX7" fmla="*/ 4780 w 10000"/>
                  <a:gd name="connsiteY7" fmla="*/ 32 h 9999"/>
                  <a:gd name="connsiteX8" fmla="*/ 4603 w 10000"/>
                  <a:gd name="connsiteY8" fmla="*/ 327 h 9999"/>
                  <a:gd name="connsiteX9" fmla="*/ 3241 w 10000"/>
                  <a:gd name="connsiteY9" fmla="*/ 250 h 9999"/>
                  <a:gd name="connsiteX10" fmla="*/ 1662 w 10000"/>
                  <a:gd name="connsiteY10" fmla="*/ 825 h 9999"/>
                  <a:gd name="connsiteX11" fmla="*/ 736 w 10000"/>
                  <a:gd name="connsiteY11" fmla="*/ 2318 h 9999"/>
                  <a:gd name="connsiteX12" fmla="*/ 437 w 10000"/>
                  <a:gd name="connsiteY12" fmla="*/ 3422 h 9999"/>
                  <a:gd name="connsiteX13" fmla="*/ 437 w 10000"/>
                  <a:gd name="connsiteY13" fmla="*/ 4324 h 9999"/>
                  <a:gd name="connsiteX14" fmla="*/ 205 w 10000"/>
                  <a:gd name="connsiteY14" fmla="*/ 4852 h 9999"/>
                  <a:gd name="connsiteX15" fmla="*/ 123 w 10000"/>
                  <a:gd name="connsiteY15" fmla="*/ 5366 h 9999"/>
                  <a:gd name="connsiteX16" fmla="*/ 14 w 10000"/>
                  <a:gd name="connsiteY16" fmla="*/ 6330 h 9999"/>
                  <a:gd name="connsiteX17" fmla="*/ 83 w 10000"/>
                  <a:gd name="connsiteY17" fmla="*/ 6718 h 9999"/>
                  <a:gd name="connsiteX18" fmla="*/ 859 w 10000"/>
                  <a:gd name="connsiteY18" fmla="*/ 8522 h 9999"/>
                  <a:gd name="connsiteX19" fmla="*/ 849 w 10000"/>
                  <a:gd name="connsiteY19" fmla="*/ 8892 h 9999"/>
                  <a:gd name="connsiteX20" fmla="*/ 914 w 10000"/>
                  <a:gd name="connsiteY20" fmla="*/ 9098 h 9999"/>
                  <a:gd name="connsiteX21" fmla="*/ 1512 w 10000"/>
                  <a:gd name="connsiteY21" fmla="*/ 9829 h 9999"/>
                  <a:gd name="connsiteX22" fmla="*/ 1567 w 10000"/>
                  <a:gd name="connsiteY22" fmla="*/ 9876 h 9999"/>
                  <a:gd name="connsiteX23" fmla="*/ 1662 w 10000"/>
                  <a:gd name="connsiteY23" fmla="*/ 9953 h 9999"/>
                  <a:gd name="connsiteX24" fmla="*/ 2193 w 10000"/>
                  <a:gd name="connsiteY24" fmla="*/ 9922 h 9999"/>
                  <a:gd name="connsiteX25" fmla="*/ 1866 w 10000"/>
                  <a:gd name="connsiteY25" fmla="*/ 9658 h 9999"/>
                  <a:gd name="connsiteX26" fmla="*/ 2479 w 10000"/>
                  <a:gd name="connsiteY26" fmla="*/ 9549 h 9999"/>
                  <a:gd name="connsiteX27" fmla="*/ 2929 w 10000"/>
                  <a:gd name="connsiteY27" fmla="*/ 8351 h 9999"/>
                  <a:gd name="connsiteX28" fmla="*/ 3064 w 10000"/>
                  <a:gd name="connsiteY28" fmla="*/ 7434 h 9999"/>
                  <a:gd name="connsiteX29" fmla="*/ 4045 w 10000"/>
                  <a:gd name="connsiteY29" fmla="*/ 6438 h 9999"/>
                  <a:gd name="connsiteX30" fmla="*/ 3963 w 10000"/>
                  <a:gd name="connsiteY30" fmla="*/ 7061 h 9999"/>
                  <a:gd name="connsiteX31" fmla="*/ 3391 w 10000"/>
                  <a:gd name="connsiteY31" fmla="*/ 7496 h 9999"/>
                  <a:gd name="connsiteX32" fmla="*/ 4126 w 10000"/>
                  <a:gd name="connsiteY32" fmla="*/ 7434 h 9999"/>
                  <a:gd name="connsiteX33" fmla="*/ 3840 w 10000"/>
                  <a:gd name="connsiteY33" fmla="*/ 7776 h 9999"/>
                  <a:gd name="connsiteX34" fmla="*/ 5271 w 10000"/>
                  <a:gd name="connsiteY34" fmla="*/ 7123 h 9999"/>
                  <a:gd name="connsiteX35" fmla="*/ 5271 w 10000"/>
                  <a:gd name="connsiteY35" fmla="*/ 5926 h 9999"/>
                  <a:gd name="connsiteX36" fmla="*/ 5747 w 10000"/>
                  <a:gd name="connsiteY36" fmla="*/ 5039 h 9999"/>
                  <a:gd name="connsiteX37" fmla="*/ 7095 w 10000"/>
                  <a:gd name="connsiteY37" fmla="*/ 4293 h 9999"/>
                  <a:gd name="connsiteX38" fmla="*/ 7993 w 10000"/>
                  <a:gd name="connsiteY38" fmla="*/ 3422 h 9999"/>
                  <a:gd name="connsiteX39" fmla="*/ 8184 w 10000"/>
                  <a:gd name="connsiteY39" fmla="*/ 3065 h 9999"/>
                  <a:gd name="connsiteX40" fmla="*/ 8292 w 10000"/>
                  <a:gd name="connsiteY40" fmla="*/ 3438 h 9999"/>
                  <a:gd name="connsiteX41" fmla="*/ 8524 w 10000"/>
                  <a:gd name="connsiteY41" fmla="*/ 3204 h 9999"/>
                  <a:gd name="connsiteX42" fmla="*/ 8796 w 10000"/>
                  <a:gd name="connsiteY42" fmla="*/ 3515 h 9999"/>
                  <a:gd name="connsiteX43" fmla="*/ 9082 w 10000"/>
                  <a:gd name="connsiteY43" fmla="*/ 3765 h 9999"/>
                  <a:gd name="connsiteX44" fmla="*/ 9273 w 10000"/>
                  <a:gd name="connsiteY44" fmla="*/ 4199 h 9999"/>
                  <a:gd name="connsiteX45" fmla="*/ 9409 w 10000"/>
                  <a:gd name="connsiteY45" fmla="*/ 3671 h 9999"/>
                  <a:gd name="connsiteX46" fmla="*/ 9246 w 10000"/>
                  <a:gd name="connsiteY46" fmla="*/ 4480 h 9999"/>
                  <a:gd name="connsiteX47" fmla="*/ 9341 w 10000"/>
                  <a:gd name="connsiteY47" fmla="*/ 4464 h 9999"/>
                  <a:gd name="connsiteX48" fmla="*/ 9981 w 10000"/>
                  <a:gd name="connsiteY48" fmla="*/ 3639 h 9999"/>
                  <a:gd name="connsiteX49" fmla="*/ 9355 w 10000"/>
                  <a:gd name="connsiteY49" fmla="*/ 2240 h 9999"/>
                  <a:gd name="connsiteX0" fmla="*/ 9355 w 10000"/>
                  <a:gd name="connsiteY0" fmla="*/ 2240 h 10000"/>
                  <a:gd name="connsiteX1" fmla="*/ 9327 w 10000"/>
                  <a:gd name="connsiteY1" fmla="*/ 2209 h 10000"/>
                  <a:gd name="connsiteX2" fmla="*/ 7816 w 10000"/>
                  <a:gd name="connsiteY2" fmla="*/ 1198 h 10000"/>
                  <a:gd name="connsiteX3" fmla="*/ 6795 w 10000"/>
                  <a:gd name="connsiteY3" fmla="*/ 887 h 10000"/>
                  <a:gd name="connsiteX4" fmla="*/ 5297 w 10000"/>
                  <a:gd name="connsiteY4" fmla="*/ 452 h 10000"/>
                  <a:gd name="connsiteX5" fmla="*/ 5324 w 10000"/>
                  <a:gd name="connsiteY5" fmla="*/ 265 h 10000"/>
                  <a:gd name="connsiteX6" fmla="*/ 4917 w 10000"/>
                  <a:gd name="connsiteY6" fmla="*/ 374 h 10000"/>
                  <a:gd name="connsiteX7" fmla="*/ 4780 w 10000"/>
                  <a:gd name="connsiteY7" fmla="*/ 32 h 10000"/>
                  <a:gd name="connsiteX8" fmla="*/ 4603 w 10000"/>
                  <a:gd name="connsiteY8" fmla="*/ 327 h 10000"/>
                  <a:gd name="connsiteX9" fmla="*/ 3241 w 10000"/>
                  <a:gd name="connsiteY9" fmla="*/ 250 h 10000"/>
                  <a:gd name="connsiteX10" fmla="*/ 1662 w 10000"/>
                  <a:gd name="connsiteY10" fmla="*/ 825 h 10000"/>
                  <a:gd name="connsiteX11" fmla="*/ 736 w 10000"/>
                  <a:gd name="connsiteY11" fmla="*/ 2318 h 10000"/>
                  <a:gd name="connsiteX12" fmla="*/ 437 w 10000"/>
                  <a:gd name="connsiteY12" fmla="*/ 3422 h 10000"/>
                  <a:gd name="connsiteX13" fmla="*/ 437 w 10000"/>
                  <a:gd name="connsiteY13" fmla="*/ 4324 h 10000"/>
                  <a:gd name="connsiteX14" fmla="*/ 205 w 10000"/>
                  <a:gd name="connsiteY14" fmla="*/ 4852 h 10000"/>
                  <a:gd name="connsiteX15" fmla="*/ 123 w 10000"/>
                  <a:gd name="connsiteY15" fmla="*/ 5367 h 10000"/>
                  <a:gd name="connsiteX16" fmla="*/ 14 w 10000"/>
                  <a:gd name="connsiteY16" fmla="*/ 6331 h 10000"/>
                  <a:gd name="connsiteX17" fmla="*/ 83 w 10000"/>
                  <a:gd name="connsiteY17" fmla="*/ 6719 h 10000"/>
                  <a:gd name="connsiteX18" fmla="*/ 772 w 10000"/>
                  <a:gd name="connsiteY18" fmla="*/ 8381 h 10000"/>
                  <a:gd name="connsiteX19" fmla="*/ 849 w 10000"/>
                  <a:gd name="connsiteY19" fmla="*/ 8893 h 10000"/>
                  <a:gd name="connsiteX20" fmla="*/ 914 w 10000"/>
                  <a:gd name="connsiteY20" fmla="*/ 9099 h 10000"/>
                  <a:gd name="connsiteX21" fmla="*/ 1512 w 10000"/>
                  <a:gd name="connsiteY21" fmla="*/ 9830 h 10000"/>
                  <a:gd name="connsiteX22" fmla="*/ 1567 w 10000"/>
                  <a:gd name="connsiteY22" fmla="*/ 9877 h 10000"/>
                  <a:gd name="connsiteX23" fmla="*/ 1662 w 10000"/>
                  <a:gd name="connsiteY23" fmla="*/ 9954 h 10000"/>
                  <a:gd name="connsiteX24" fmla="*/ 2193 w 10000"/>
                  <a:gd name="connsiteY24" fmla="*/ 9923 h 10000"/>
                  <a:gd name="connsiteX25" fmla="*/ 1866 w 10000"/>
                  <a:gd name="connsiteY25" fmla="*/ 9659 h 10000"/>
                  <a:gd name="connsiteX26" fmla="*/ 2479 w 10000"/>
                  <a:gd name="connsiteY26" fmla="*/ 9550 h 10000"/>
                  <a:gd name="connsiteX27" fmla="*/ 2929 w 10000"/>
                  <a:gd name="connsiteY27" fmla="*/ 8352 h 10000"/>
                  <a:gd name="connsiteX28" fmla="*/ 3064 w 10000"/>
                  <a:gd name="connsiteY28" fmla="*/ 7435 h 10000"/>
                  <a:gd name="connsiteX29" fmla="*/ 4045 w 10000"/>
                  <a:gd name="connsiteY29" fmla="*/ 6439 h 10000"/>
                  <a:gd name="connsiteX30" fmla="*/ 3963 w 10000"/>
                  <a:gd name="connsiteY30" fmla="*/ 7062 h 10000"/>
                  <a:gd name="connsiteX31" fmla="*/ 3391 w 10000"/>
                  <a:gd name="connsiteY31" fmla="*/ 7497 h 10000"/>
                  <a:gd name="connsiteX32" fmla="*/ 4126 w 10000"/>
                  <a:gd name="connsiteY32" fmla="*/ 7435 h 10000"/>
                  <a:gd name="connsiteX33" fmla="*/ 3840 w 10000"/>
                  <a:gd name="connsiteY33" fmla="*/ 7777 h 10000"/>
                  <a:gd name="connsiteX34" fmla="*/ 5271 w 10000"/>
                  <a:gd name="connsiteY34" fmla="*/ 7124 h 10000"/>
                  <a:gd name="connsiteX35" fmla="*/ 5271 w 10000"/>
                  <a:gd name="connsiteY35" fmla="*/ 5927 h 10000"/>
                  <a:gd name="connsiteX36" fmla="*/ 5747 w 10000"/>
                  <a:gd name="connsiteY36" fmla="*/ 5040 h 10000"/>
                  <a:gd name="connsiteX37" fmla="*/ 7095 w 10000"/>
                  <a:gd name="connsiteY37" fmla="*/ 4293 h 10000"/>
                  <a:gd name="connsiteX38" fmla="*/ 7993 w 10000"/>
                  <a:gd name="connsiteY38" fmla="*/ 3422 h 10000"/>
                  <a:gd name="connsiteX39" fmla="*/ 8184 w 10000"/>
                  <a:gd name="connsiteY39" fmla="*/ 3065 h 10000"/>
                  <a:gd name="connsiteX40" fmla="*/ 8292 w 10000"/>
                  <a:gd name="connsiteY40" fmla="*/ 3438 h 10000"/>
                  <a:gd name="connsiteX41" fmla="*/ 8524 w 10000"/>
                  <a:gd name="connsiteY41" fmla="*/ 3204 h 10000"/>
                  <a:gd name="connsiteX42" fmla="*/ 8796 w 10000"/>
                  <a:gd name="connsiteY42" fmla="*/ 3515 h 10000"/>
                  <a:gd name="connsiteX43" fmla="*/ 9082 w 10000"/>
                  <a:gd name="connsiteY43" fmla="*/ 3765 h 10000"/>
                  <a:gd name="connsiteX44" fmla="*/ 9273 w 10000"/>
                  <a:gd name="connsiteY44" fmla="*/ 4199 h 10000"/>
                  <a:gd name="connsiteX45" fmla="*/ 9409 w 10000"/>
                  <a:gd name="connsiteY45" fmla="*/ 3671 h 10000"/>
                  <a:gd name="connsiteX46" fmla="*/ 9246 w 10000"/>
                  <a:gd name="connsiteY46" fmla="*/ 4480 h 10000"/>
                  <a:gd name="connsiteX47" fmla="*/ 9341 w 10000"/>
                  <a:gd name="connsiteY47" fmla="*/ 4464 h 10000"/>
                  <a:gd name="connsiteX48" fmla="*/ 9981 w 10000"/>
                  <a:gd name="connsiteY48" fmla="*/ 3639 h 10000"/>
                  <a:gd name="connsiteX49" fmla="*/ 9355 w 10000"/>
                  <a:gd name="connsiteY49" fmla="*/ 2240 h 10000"/>
                  <a:gd name="connsiteX0" fmla="*/ 9355 w 10000"/>
                  <a:gd name="connsiteY0" fmla="*/ 2240 h 10005"/>
                  <a:gd name="connsiteX1" fmla="*/ 9327 w 10000"/>
                  <a:gd name="connsiteY1" fmla="*/ 2209 h 10005"/>
                  <a:gd name="connsiteX2" fmla="*/ 7816 w 10000"/>
                  <a:gd name="connsiteY2" fmla="*/ 1198 h 10005"/>
                  <a:gd name="connsiteX3" fmla="*/ 6795 w 10000"/>
                  <a:gd name="connsiteY3" fmla="*/ 887 h 10005"/>
                  <a:gd name="connsiteX4" fmla="*/ 5297 w 10000"/>
                  <a:gd name="connsiteY4" fmla="*/ 452 h 10005"/>
                  <a:gd name="connsiteX5" fmla="*/ 5324 w 10000"/>
                  <a:gd name="connsiteY5" fmla="*/ 265 h 10005"/>
                  <a:gd name="connsiteX6" fmla="*/ 4917 w 10000"/>
                  <a:gd name="connsiteY6" fmla="*/ 374 h 10005"/>
                  <a:gd name="connsiteX7" fmla="*/ 4780 w 10000"/>
                  <a:gd name="connsiteY7" fmla="*/ 32 h 10005"/>
                  <a:gd name="connsiteX8" fmla="*/ 4603 w 10000"/>
                  <a:gd name="connsiteY8" fmla="*/ 327 h 10005"/>
                  <a:gd name="connsiteX9" fmla="*/ 3241 w 10000"/>
                  <a:gd name="connsiteY9" fmla="*/ 250 h 10005"/>
                  <a:gd name="connsiteX10" fmla="*/ 1662 w 10000"/>
                  <a:gd name="connsiteY10" fmla="*/ 825 h 10005"/>
                  <a:gd name="connsiteX11" fmla="*/ 736 w 10000"/>
                  <a:gd name="connsiteY11" fmla="*/ 2318 h 10005"/>
                  <a:gd name="connsiteX12" fmla="*/ 437 w 10000"/>
                  <a:gd name="connsiteY12" fmla="*/ 3422 h 10005"/>
                  <a:gd name="connsiteX13" fmla="*/ 437 w 10000"/>
                  <a:gd name="connsiteY13" fmla="*/ 4324 h 10005"/>
                  <a:gd name="connsiteX14" fmla="*/ 205 w 10000"/>
                  <a:gd name="connsiteY14" fmla="*/ 4852 h 10005"/>
                  <a:gd name="connsiteX15" fmla="*/ 123 w 10000"/>
                  <a:gd name="connsiteY15" fmla="*/ 5367 h 10005"/>
                  <a:gd name="connsiteX16" fmla="*/ 14 w 10000"/>
                  <a:gd name="connsiteY16" fmla="*/ 6331 h 10005"/>
                  <a:gd name="connsiteX17" fmla="*/ 83 w 10000"/>
                  <a:gd name="connsiteY17" fmla="*/ 6719 h 10005"/>
                  <a:gd name="connsiteX18" fmla="*/ 772 w 10000"/>
                  <a:gd name="connsiteY18" fmla="*/ 8381 h 10005"/>
                  <a:gd name="connsiteX19" fmla="*/ 849 w 10000"/>
                  <a:gd name="connsiteY19" fmla="*/ 8893 h 10005"/>
                  <a:gd name="connsiteX20" fmla="*/ 914 w 10000"/>
                  <a:gd name="connsiteY20" fmla="*/ 9099 h 10005"/>
                  <a:gd name="connsiteX21" fmla="*/ 1512 w 10000"/>
                  <a:gd name="connsiteY21" fmla="*/ 9830 h 10005"/>
                  <a:gd name="connsiteX22" fmla="*/ 1567 w 10000"/>
                  <a:gd name="connsiteY22" fmla="*/ 9877 h 10005"/>
                  <a:gd name="connsiteX23" fmla="*/ 1699 w 10000"/>
                  <a:gd name="connsiteY23" fmla="*/ 9968 h 10005"/>
                  <a:gd name="connsiteX24" fmla="*/ 2193 w 10000"/>
                  <a:gd name="connsiteY24" fmla="*/ 9923 h 10005"/>
                  <a:gd name="connsiteX25" fmla="*/ 1866 w 10000"/>
                  <a:gd name="connsiteY25" fmla="*/ 9659 h 10005"/>
                  <a:gd name="connsiteX26" fmla="*/ 2479 w 10000"/>
                  <a:gd name="connsiteY26" fmla="*/ 9550 h 10005"/>
                  <a:gd name="connsiteX27" fmla="*/ 2929 w 10000"/>
                  <a:gd name="connsiteY27" fmla="*/ 8352 h 10005"/>
                  <a:gd name="connsiteX28" fmla="*/ 3064 w 10000"/>
                  <a:gd name="connsiteY28" fmla="*/ 7435 h 10005"/>
                  <a:gd name="connsiteX29" fmla="*/ 4045 w 10000"/>
                  <a:gd name="connsiteY29" fmla="*/ 6439 h 10005"/>
                  <a:gd name="connsiteX30" fmla="*/ 3963 w 10000"/>
                  <a:gd name="connsiteY30" fmla="*/ 7062 h 10005"/>
                  <a:gd name="connsiteX31" fmla="*/ 3391 w 10000"/>
                  <a:gd name="connsiteY31" fmla="*/ 7497 h 10005"/>
                  <a:gd name="connsiteX32" fmla="*/ 4126 w 10000"/>
                  <a:gd name="connsiteY32" fmla="*/ 7435 h 10005"/>
                  <a:gd name="connsiteX33" fmla="*/ 3840 w 10000"/>
                  <a:gd name="connsiteY33" fmla="*/ 7777 h 10005"/>
                  <a:gd name="connsiteX34" fmla="*/ 5271 w 10000"/>
                  <a:gd name="connsiteY34" fmla="*/ 7124 h 10005"/>
                  <a:gd name="connsiteX35" fmla="*/ 5271 w 10000"/>
                  <a:gd name="connsiteY35" fmla="*/ 5927 h 10005"/>
                  <a:gd name="connsiteX36" fmla="*/ 5747 w 10000"/>
                  <a:gd name="connsiteY36" fmla="*/ 5040 h 10005"/>
                  <a:gd name="connsiteX37" fmla="*/ 7095 w 10000"/>
                  <a:gd name="connsiteY37" fmla="*/ 4293 h 10005"/>
                  <a:gd name="connsiteX38" fmla="*/ 7993 w 10000"/>
                  <a:gd name="connsiteY38" fmla="*/ 3422 h 10005"/>
                  <a:gd name="connsiteX39" fmla="*/ 8184 w 10000"/>
                  <a:gd name="connsiteY39" fmla="*/ 3065 h 10005"/>
                  <a:gd name="connsiteX40" fmla="*/ 8292 w 10000"/>
                  <a:gd name="connsiteY40" fmla="*/ 3438 h 10005"/>
                  <a:gd name="connsiteX41" fmla="*/ 8524 w 10000"/>
                  <a:gd name="connsiteY41" fmla="*/ 3204 h 10005"/>
                  <a:gd name="connsiteX42" fmla="*/ 8796 w 10000"/>
                  <a:gd name="connsiteY42" fmla="*/ 3515 h 10005"/>
                  <a:gd name="connsiteX43" fmla="*/ 9082 w 10000"/>
                  <a:gd name="connsiteY43" fmla="*/ 3765 h 10005"/>
                  <a:gd name="connsiteX44" fmla="*/ 9273 w 10000"/>
                  <a:gd name="connsiteY44" fmla="*/ 4199 h 10005"/>
                  <a:gd name="connsiteX45" fmla="*/ 9409 w 10000"/>
                  <a:gd name="connsiteY45" fmla="*/ 3671 h 10005"/>
                  <a:gd name="connsiteX46" fmla="*/ 9246 w 10000"/>
                  <a:gd name="connsiteY46" fmla="*/ 4480 h 10005"/>
                  <a:gd name="connsiteX47" fmla="*/ 9341 w 10000"/>
                  <a:gd name="connsiteY47" fmla="*/ 4464 h 10005"/>
                  <a:gd name="connsiteX48" fmla="*/ 9981 w 10000"/>
                  <a:gd name="connsiteY48" fmla="*/ 3639 h 10005"/>
                  <a:gd name="connsiteX49" fmla="*/ 9355 w 10000"/>
                  <a:gd name="connsiteY49" fmla="*/ 2240 h 10005"/>
                  <a:gd name="connsiteX0" fmla="*/ 9355 w 10000"/>
                  <a:gd name="connsiteY0" fmla="*/ 2240 h 10084"/>
                  <a:gd name="connsiteX1" fmla="*/ 9327 w 10000"/>
                  <a:gd name="connsiteY1" fmla="*/ 2209 h 10084"/>
                  <a:gd name="connsiteX2" fmla="*/ 7816 w 10000"/>
                  <a:gd name="connsiteY2" fmla="*/ 1198 h 10084"/>
                  <a:gd name="connsiteX3" fmla="*/ 6795 w 10000"/>
                  <a:gd name="connsiteY3" fmla="*/ 887 h 10084"/>
                  <a:gd name="connsiteX4" fmla="*/ 5297 w 10000"/>
                  <a:gd name="connsiteY4" fmla="*/ 452 h 10084"/>
                  <a:gd name="connsiteX5" fmla="*/ 5324 w 10000"/>
                  <a:gd name="connsiteY5" fmla="*/ 265 h 10084"/>
                  <a:gd name="connsiteX6" fmla="*/ 4917 w 10000"/>
                  <a:gd name="connsiteY6" fmla="*/ 374 h 10084"/>
                  <a:gd name="connsiteX7" fmla="*/ 4780 w 10000"/>
                  <a:gd name="connsiteY7" fmla="*/ 32 h 10084"/>
                  <a:gd name="connsiteX8" fmla="*/ 4603 w 10000"/>
                  <a:gd name="connsiteY8" fmla="*/ 327 h 10084"/>
                  <a:gd name="connsiteX9" fmla="*/ 3241 w 10000"/>
                  <a:gd name="connsiteY9" fmla="*/ 250 h 10084"/>
                  <a:gd name="connsiteX10" fmla="*/ 1662 w 10000"/>
                  <a:gd name="connsiteY10" fmla="*/ 825 h 10084"/>
                  <a:gd name="connsiteX11" fmla="*/ 736 w 10000"/>
                  <a:gd name="connsiteY11" fmla="*/ 2318 h 10084"/>
                  <a:gd name="connsiteX12" fmla="*/ 437 w 10000"/>
                  <a:gd name="connsiteY12" fmla="*/ 3422 h 10084"/>
                  <a:gd name="connsiteX13" fmla="*/ 437 w 10000"/>
                  <a:gd name="connsiteY13" fmla="*/ 4324 h 10084"/>
                  <a:gd name="connsiteX14" fmla="*/ 205 w 10000"/>
                  <a:gd name="connsiteY14" fmla="*/ 4852 h 10084"/>
                  <a:gd name="connsiteX15" fmla="*/ 123 w 10000"/>
                  <a:gd name="connsiteY15" fmla="*/ 5367 h 10084"/>
                  <a:gd name="connsiteX16" fmla="*/ 14 w 10000"/>
                  <a:gd name="connsiteY16" fmla="*/ 6331 h 10084"/>
                  <a:gd name="connsiteX17" fmla="*/ 83 w 10000"/>
                  <a:gd name="connsiteY17" fmla="*/ 6719 h 10084"/>
                  <a:gd name="connsiteX18" fmla="*/ 772 w 10000"/>
                  <a:gd name="connsiteY18" fmla="*/ 8381 h 10084"/>
                  <a:gd name="connsiteX19" fmla="*/ 849 w 10000"/>
                  <a:gd name="connsiteY19" fmla="*/ 8893 h 10084"/>
                  <a:gd name="connsiteX20" fmla="*/ 914 w 10000"/>
                  <a:gd name="connsiteY20" fmla="*/ 9099 h 10084"/>
                  <a:gd name="connsiteX21" fmla="*/ 1512 w 10000"/>
                  <a:gd name="connsiteY21" fmla="*/ 9830 h 10084"/>
                  <a:gd name="connsiteX22" fmla="*/ 1567 w 10000"/>
                  <a:gd name="connsiteY22" fmla="*/ 9877 h 10084"/>
                  <a:gd name="connsiteX23" fmla="*/ 1699 w 10000"/>
                  <a:gd name="connsiteY23" fmla="*/ 9968 h 10084"/>
                  <a:gd name="connsiteX24" fmla="*/ 2193 w 10000"/>
                  <a:gd name="connsiteY24" fmla="*/ 10023 h 10084"/>
                  <a:gd name="connsiteX25" fmla="*/ 1866 w 10000"/>
                  <a:gd name="connsiteY25" fmla="*/ 9659 h 10084"/>
                  <a:gd name="connsiteX26" fmla="*/ 2479 w 10000"/>
                  <a:gd name="connsiteY26" fmla="*/ 9550 h 10084"/>
                  <a:gd name="connsiteX27" fmla="*/ 2929 w 10000"/>
                  <a:gd name="connsiteY27" fmla="*/ 8352 h 10084"/>
                  <a:gd name="connsiteX28" fmla="*/ 3064 w 10000"/>
                  <a:gd name="connsiteY28" fmla="*/ 7435 h 10084"/>
                  <a:gd name="connsiteX29" fmla="*/ 4045 w 10000"/>
                  <a:gd name="connsiteY29" fmla="*/ 6439 h 10084"/>
                  <a:gd name="connsiteX30" fmla="*/ 3963 w 10000"/>
                  <a:gd name="connsiteY30" fmla="*/ 7062 h 10084"/>
                  <a:gd name="connsiteX31" fmla="*/ 3391 w 10000"/>
                  <a:gd name="connsiteY31" fmla="*/ 7497 h 10084"/>
                  <a:gd name="connsiteX32" fmla="*/ 4126 w 10000"/>
                  <a:gd name="connsiteY32" fmla="*/ 7435 h 10084"/>
                  <a:gd name="connsiteX33" fmla="*/ 3840 w 10000"/>
                  <a:gd name="connsiteY33" fmla="*/ 7777 h 10084"/>
                  <a:gd name="connsiteX34" fmla="*/ 5271 w 10000"/>
                  <a:gd name="connsiteY34" fmla="*/ 7124 h 10084"/>
                  <a:gd name="connsiteX35" fmla="*/ 5271 w 10000"/>
                  <a:gd name="connsiteY35" fmla="*/ 5927 h 10084"/>
                  <a:gd name="connsiteX36" fmla="*/ 5747 w 10000"/>
                  <a:gd name="connsiteY36" fmla="*/ 5040 h 10084"/>
                  <a:gd name="connsiteX37" fmla="*/ 7095 w 10000"/>
                  <a:gd name="connsiteY37" fmla="*/ 4293 h 10084"/>
                  <a:gd name="connsiteX38" fmla="*/ 7993 w 10000"/>
                  <a:gd name="connsiteY38" fmla="*/ 3422 h 10084"/>
                  <a:gd name="connsiteX39" fmla="*/ 8184 w 10000"/>
                  <a:gd name="connsiteY39" fmla="*/ 3065 h 10084"/>
                  <a:gd name="connsiteX40" fmla="*/ 8292 w 10000"/>
                  <a:gd name="connsiteY40" fmla="*/ 3438 h 10084"/>
                  <a:gd name="connsiteX41" fmla="*/ 8524 w 10000"/>
                  <a:gd name="connsiteY41" fmla="*/ 3204 h 10084"/>
                  <a:gd name="connsiteX42" fmla="*/ 8796 w 10000"/>
                  <a:gd name="connsiteY42" fmla="*/ 3515 h 10084"/>
                  <a:gd name="connsiteX43" fmla="*/ 9082 w 10000"/>
                  <a:gd name="connsiteY43" fmla="*/ 3765 h 10084"/>
                  <a:gd name="connsiteX44" fmla="*/ 9273 w 10000"/>
                  <a:gd name="connsiteY44" fmla="*/ 4199 h 10084"/>
                  <a:gd name="connsiteX45" fmla="*/ 9409 w 10000"/>
                  <a:gd name="connsiteY45" fmla="*/ 3671 h 10084"/>
                  <a:gd name="connsiteX46" fmla="*/ 9246 w 10000"/>
                  <a:gd name="connsiteY46" fmla="*/ 4480 h 10084"/>
                  <a:gd name="connsiteX47" fmla="*/ 9341 w 10000"/>
                  <a:gd name="connsiteY47" fmla="*/ 4464 h 10084"/>
                  <a:gd name="connsiteX48" fmla="*/ 9981 w 10000"/>
                  <a:gd name="connsiteY48" fmla="*/ 3639 h 10084"/>
                  <a:gd name="connsiteX49" fmla="*/ 9355 w 10000"/>
                  <a:gd name="connsiteY49" fmla="*/ 2240 h 10084"/>
                  <a:gd name="connsiteX0" fmla="*/ 9355 w 10000"/>
                  <a:gd name="connsiteY0" fmla="*/ 2240 h 10018"/>
                  <a:gd name="connsiteX1" fmla="*/ 9327 w 10000"/>
                  <a:gd name="connsiteY1" fmla="*/ 2209 h 10018"/>
                  <a:gd name="connsiteX2" fmla="*/ 7816 w 10000"/>
                  <a:gd name="connsiteY2" fmla="*/ 1198 h 10018"/>
                  <a:gd name="connsiteX3" fmla="*/ 6795 w 10000"/>
                  <a:gd name="connsiteY3" fmla="*/ 887 h 10018"/>
                  <a:gd name="connsiteX4" fmla="*/ 5297 w 10000"/>
                  <a:gd name="connsiteY4" fmla="*/ 452 h 10018"/>
                  <a:gd name="connsiteX5" fmla="*/ 5324 w 10000"/>
                  <a:gd name="connsiteY5" fmla="*/ 265 h 10018"/>
                  <a:gd name="connsiteX6" fmla="*/ 4917 w 10000"/>
                  <a:gd name="connsiteY6" fmla="*/ 374 h 10018"/>
                  <a:gd name="connsiteX7" fmla="*/ 4780 w 10000"/>
                  <a:gd name="connsiteY7" fmla="*/ 32 h 10018"/>
                  <a:gd name="connsiteX8" fmla="*/ 4603 w 10000"/>
                  <a:gd name="connsiteY8" fmla="*/ 327 h 10018"/>
                  <a:gd name="connsiteX9" fmla="*/ 3241 w 10000"/>
                  <a:gd name="connsiteY9" fmla="*/ 250 h 10018"/>
                  <a:gd name="connsiteX10" fmla="*/ 1662 w 10000"/>
                  <a:gd name="connsiteY10" fmla="*/ 825 h 10018"/>
                  <a:gd name="connsiteX11" fmla="*/ 736 w 10000"/>
                  <a:gd name="connsiteY11" fmla="*/ 2318 h 10018"/>
                  <a:gd name="connsiteX12" fmla="*/ 437 w 10000"/>
                  <a:gd name="connsiteY12" fmla="*/ 3422 h 10018"/>
                  <a:gd name="connsiteX13" fmla="*/ 437 w 10000"/>
                  <a:gd name="connsiteY13" fmla="*/ 4324 h 10018"/>
                  <a:gd name="connsiteX14" fmla="*/ 205 w 10000"/>
                  <a:gd name="connsiteY14" fmla="*/ 4852 h 10018"/>
                  <a:gd name="connsiteX15" fmla="*/ 123 w 10000"/>
                  <a:gd name="connsiteY15" fmla="*/ 5367 h 10018"/>
                  <a:gd name="connsiteX16" fmla="*/ 14 w 10000"/>
                  <a:gd name="connsiteY16" fmla="*/ 6331 h 10018"/>
                  <a:gd name="connsiteX17" fmla="*/ 83 w 10000"/>
                  <a:gd name="connsiteY17" fmla="*/ 6719 h 10018"/>
                  <a:gd name="connsiteX18" fmla="*/ 772 w 10000"/>
                  <a:gd name="connsiteY18" fmla="*/ 8381 h 10018"/>
                  <a:gd name="connsiteX19" fmla="*/ 849 w 10000"/>
                  <a:gd name="connsiteY19" fmla="*/ 8893 h 10018"/>
                  <a:gd name="connsiteX20" fmla="*/ 914 w 10000"/>
                  <a:gd name="connsiteY20" fmla="*/ 9099 h 10018"/>
                  <a:gd name="connsiteX21" fmla="*/ 1512 w 10000"/>
                  <a:gd name="connsiteY21" fmla="*/ 9830 h 10018"/>
                  <a:gd name="connsiteX22" fmla="*/ 1567 w 10000"/>
                  <a:gd name="connsiteY22" fmla="*/ 9877 h 10018"/>
                  <a:gd name="connsiteX23" fmla="*/ 1699 w 10000"/>
                  <a:gd name="connsiteY23" fmla="*/ 9968 h 10018"/>
                  <a:gd name="connsiteX24" fmla="*/ 2293 w 10000"/>
                  <a:gd name="connsiteY24" fmla="*/ 9938 h 10018"/>
                  <a:gd name="connsiteX25" fmla="*/ 1866 w 10000"/>
                  <a:gd name="connsiteY25" fmla="*/ 9659 h 10018"/>
                  <a:gd name="connsiteX26" fmla="*/ 2479 w 10000"/>
                  <a:gd name="connsiteY26" fmla="*/ 9550 h 10018"/>
                  <a:gd name="connsiteX27" fmla="*/ 2929 w 10000"/>
                  <a:gd name="connsiteY27" fmla="*/ 8352 h 10018"/>
                  <a:gd name="connsiteX28" fmla="*/ 3064 w 10000"/>
                  <a:gd name="connsiteY28" fmla="*/ 7435 h 10018"/>
                  <a:gd name="connsiteX29" fmla="*/ 4045 w 10000"/>
                  <a:gd name="connsiteY29" fmla="*/ 6439 h 10018"/>
                  <a:gd name="connsiteX30" fmla="*/ 3963 w 10000"/>
                  <a:gd name="connsiteY30" fmla="*/ 7062 h 10018"/>
                  <a:gd name="connsiteX31" fmla="*/ 3391 w 10000"/>
                  <a:gd name="connsiteY31" fmla="*/ 7497 h 10018"/>
                  <a:gd name="connsiteX32" fmla="*/ 4126 w 10000"/>
                  <a:gd name="connsiteY32" fmla="*/ 7435 h 10018"/>
                  <a:gd name="connsiteX33" fmla="*/ 3840 w 10000"/>
                  <a:gd name="connsiteY33" fmla="*/ 7777 h 10018"/>
                  <a:gd name="connsiteX34" fmla="*/ 5271 w 10000"/>
                  <a:gd name="connsiteY34" fmla="*/ 7124 h 10018"/>
                  <a:gd name="connsiteX35" fmla="*/ 5271 w 10000"/>
                  <a:gd name="connsiteY35" fmla="*/ 5927 h 10018"/>
                  <a:gd name="connsiteX36" fmla="*/ 5747 w 10000"/>
                  <a:gd name="connsiteY36" fmla="*/ 5040 h 10018"/>
                  <a:gd name="connsiteX37" fmla="*/ 7095 w 10000"/>
                  <a:gd name="connsiteY37" fmla="*/ 4293 h 10018"/>
                  <a:gd name="connsiteX38" fmla="*/ 7993 w 10000"/>
                  <a:gd name="connsiteY38" fmla="*/ 3422 h 10018"/>
                  <a:gd name="connsiteX39" fmla="*/ 8184 w 10000"/>
                  <a:gd name="connsiteY39" fmla="*/ 3065 h 10018"/>
                  <a:gd name="connsiteX40" fmla="*/ 8292 w 10000"/>
                  <a:gd name="connsiteY40" fmla="*/ 3438 h 10018"/>
                  <a:gd name="connsiteX41" fmla="*/ 8524 w 10000"/>
                  <a:gd name="connsiteY41" fmla="*/ 3204 h 10018"/>
                  <a:gd name="connsiteX42" fmla="*/ 8796 w 10000"/>
                  <a:gd name="connsiteY42" fmla="*/ 3515 h 10018"/>
                  <a:gd name="connsiteX43" fmla="*/ 9082 w 10000"/>
                  <a:gd name="connsiteY43" fmla="*/ 3765 h 10018"/>
                  <a:gd name="connsiteX44" fmla="*/ 9273 w 10000"/>
                  <a:gd name="connsiteY44" fmla="*/ 4199 h 10018"/>
                  <a:gd name="connsiteX45" fmla="*/ 9409 w 10000"/>
                  <a:gd name="connsiteY45" fmla="*/ 3671 h 10018"/>
                  <a:gd name="connsiteX46" fmla="*/ 9246 w 10000"/>
                  <a:gd name="connsiteY46" fmla="*/ 4480 h 10018"/>
                  <a:gd name="connsiteX47" fmla="*/ 9341 w 10000"/>
                  <a:gd name="connsiteY47" fmla="*/ 4464 h 10018"/>
                  <a:gd name="connsiteX48" fmla="*/ 9981 w 10000"/>
                  <a:gd name="connsiteY48" fmla="*/ 3639 h 10018"/>
                  <a:gd name="connsiteX49" fmla="*/ 9355 w 10000"/>
                  <a:gd name="connsiteY49" fmla="*/ 2240 h 1001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866 w 10000"/>
                  <a:gd name="connsiteY26" fmla="*/ 9659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66 w 10000"/>
                  <a:gd name="connsiteY40" fmla="*/ 3215 h 10078"/>
                  <a:gd name="connsiteX41" fmla="*/ 8184 w 10000"/>
                  <a:gd name="connsiteY41" fmla="*/ 3065 h 10078"/>
                  <a:gd name="connsiteX42" fmla="*/ 8292 w 10000"/>
                  <a:gd name="connsiteY42" fmla="*/ 3438 h 10078"/>
                  <a:gd name="connsiteX43" fmla="*/ 8524 w 10000"/>
                  <a:gd name="connsiteY43" fmla="*/ 3204 h 10078"/>
                  <a:gd name="connsiteX44" fmla="*/ 8796 w 10000"/>
                  <a:gd name="connsiteY44" fmla="*/ 3515 h 10078"/>
                  <a:gd name="connsiteX45" fmla="*/ 9082 w 10000"/>
                  <a:gd name="connsiteY45" fmla="*/ 3765 h 10078"/>
                  <a:gd name="connsiteX46" fmla="*/ 9273 w 10000"/>
                  <a:gd name="connsiteY46" fmla="*/ 4199 h 10078"/>
                  <a:gd name="connsiteX47" fmla="*/ 9409 w 10000"/>
                  <a:gd name="connsiteY47" fmla="*/ 3671 h 10078"/>
                  <a:gd name="connsiteX48" fmla="*/ 9246 w 10000"/>
                  <a:gd name="connsiteY48" fmla="*/ 4480 h 10078"/>
                  <a:gd name="connsiteX49" fmla="*/ 9341 w 10000"/>
                  <a:gd name="connsiteY49" fmla="*/ 4464 h 10078"/>
                  <a:gd name="connsiteX50" fmla="*/ 9981 w 10000"/>
                  <a:gd name="connsiteY50" fmla="*/ 3639 h 10078"/>
                  <a:gd name="connsiteX51" fmla="*/ 9355 w 10000"/>
                  <a:gd name="connsiteY51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72 w 10000"/>
                  <a:gd name="connsiteY40" fmla="*/ 3193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21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72 w 10000"/>
                  <a:gd name="connsiteY40" fmla="*/ 3193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423 w 10068"/>
                  <a:gd name="connsiteY0" fmla="*/ 2240 h 10078"/>
                  <a:gd name="connsiteX1" fmla="*/ 9395 w 10068"/>
                  <a:gd name="connsiteY1" fmla="*/ 2209 h 10078"/>
                  <a:gd name="connsiteX2" fmla="*/ 7884 w 10068"/>
                  <a:gd name="connsiteY2" fmla="*/ 1198 h 10078"/>
                  <a:gd name="connsiteX3" fmla="*/ 6863 w 10068"/>
                  <a:gd name="connsiteY3" fmla="*/ 887 h 10078"/>
                  <a:gd name="connsiteX4" fmla="*/ 5365 w 10068"/>
                  <a:gd name="connsiteY4" fmla="*/ 452 h 10078"/>
                  <a:gd name="connsiteX5" fmla="*/ 5392 w 10068"/>
                  <a:gd name="connsiteY5" fmla="*/ 265 h 10078"/>
                  <a:gd name="connsiteX6" fmla="*/ 4985 w 10068"/>
                  <a:gd name="connsiteY6" fmla="*/ 374 h 10078"/>
                  <a:gd name="connsiteX7" fmla="*/ 4848 w 10068"/>
                  <a:gd name="connsiteY7" fmla="*/ 32 h 10078"/>
                  <a:gd name="connsiteX8" fmla="*/ 4671 w 10068"/>
                  <a:gd name="connsiteY8" fmla="*/ 327 h 10078"/>
                  <a:gd name="connsiteX9" fmla="*/ 3309 w 10068"/>
                  <a:gd name="connsiteY9" fmla="*/ 250 h 10078"/>
                  <a:gd name="connsiteX10" fmla="*/ 1730 w 10068"/>
                  <a:gd name="connsiteY10" fmla="*/ 825 h 10078"/>
                  <a:gd name="connsiteX11" fmla="*/ 804 w 10068"/>
                  <a:gd name="connsiteY11" fmla="*/ 2318 h 10078"/>
                  <a:gd name="connsiteX12" fmla="*/ 505 w 10068"/>
                  <a:gd name="connsiteY12" fmla="*/ 3422 h 10078"/>
                  <a:gd name="connsiteX13" fmla="*/ 505 w 10068"/>
                  <a:gd name="connsiteY13" fmla="*/ 4324 h 10078"/>
                  <a:gd name="connsiteX14" fmla="*/ 273 w 10068"/>
                  <a:gd name="connsiteY14" fmla="*/ 4852 h 10078"/>
                  <a:gd name="connsiteX15" fmla="*/ 191 w 10068"/>
                  <a:gd name="connsiteY15" fmla="*/ 5367 h 10078"/>
                  <a:gd name="connsiteX16" fmla="*/ 7 w 10068"/>
                  <a:gd name="connsiteY16" fmla="*/ 6303 h 10078"/>
                  <a:gd name="connsiteX17" fmla="*/ 89 w 10068"/>
                  <a:gd name="connsiteY17" fmla="*/ 6719 h 10078"/>
                  <a:gd name="connsiteX18" fmla="*/ 840 w 10068"/>
                  <a:gd name="connsiteY18" fmla="*/ 8381 h 10078"/>
                  <a:gd name="connsiteX19" fmla="*/ 917 w 10068"/>
                  <a:gd name="connsiteY19" fmla="*/ 8893 h 10078"/>
                  <a:gd name="connsiteX20" fmla="*/ 982 w 10068"/>
                  <a:gd name="connsiteY20" fmla="*/ 9099 h 10078"/>
                  <a:gd name="connsiteX21" fmla="*/ 1580 w 10068"/>
                  <a:gd name="connsiteY21" fmla="*/ 9830 h 10078"/>
                  <a:gd name="connsiteX22" fmla="*/ 1635 w 10068"/>
                  <a:gd name="connsiteY22" fmla="*/ 9877 h 10078"/>
                  <a:gd name="connsiteX23" fmla="*/ 1767 w 10068"/>
                  <a:gd name="connsiteY23" fmla="*/ 9968 h 10078"/>
                  <a:gd name="connsiteX24" fmla="*/ 1800 w 10068"/>
                  <a:gd name="connsiteY24" fmla="*/ 10078 h 10078"/>
                  <a:gd name="connsiteX25" fmla="*/ 2361 w 10068"/>
                  <a:gd name="connsiteY25" fmla="*/ 9938 h 10078"/>
                  <a:gd name="connsiteX26" fmla="*/ 1971 w 10068"/>
                  <a:gd name="connsiteY26" fmla="*/ 9687 h 10078"/>
                  <a:gd name="connsiteX27" fmla="*/ 2559 w 10068"/>
                  <a:gd name="connsiteY27" fmla="*/ 9621 h 10078"/>
                  <a:gd name="connsiteX28" fmla="*/ 3009 w 10068"/>
                  <a:gd name="connsiteY28" fmla="*/ 8409 h 10078"/>
                  <a:gd name="connsiteX29" fmla="*/ 3132 w 10068"/>
                  <a:gd name="connsiteY29" fmla="*/ 7435 h 10078"/>
                  <a:gd name="connsiteX30" fmla="*/ 4113 w 10068"/>
                  <a:gd name="connsiteY30" fmla="*/ 6439 h 10078"/>
                  <a:gd name="connsiteX31" fmla="*/ 4031 w 10068"/>
                  <a:gd name="connsiteY31" fmla="*/ 7062 h 10078"/>
                  <a:gd name="connsiteX32" fmla="*/ 3459 w 10068"/>
                  <a:gd name="connsiteY32" fmla="*/ 7497 h 10078"/>
                  <a:gd name="connsiteX33" fmla="*/ 4194 w 10068"/>
                  <a:gd name="connsiteY33" fmla="*/ 7435 h 10078"/>
                  <a:gd name="connsiteX34" fmla="*/ 3908 w 10068"/>
                  <a:gd name="connsiteY34" fmla="*/ 7777 h 10078"/>
                  <a:gd name="connsiteX35" fmla="*/ 5339 w 10068"/>
                  <a:gd name="connsiteY35" fmla="*/ 7124 h 10078"/>
                  <a:gd name="connsiteX36" fmla="*/ 5339 w 10068"/>
                  <a:gd name="connsiteY36" fmla="*/ 5927 h 10078"/>
                  <a:gd name="connsiteX37" fmla="*/ 5815 w 10068"/>
                  <a:gd name="connsiteY37" fmla="*/ 5040 h 10078"/>
                  <a:gd name="connsiteX38" fmla="*/ 7163 w 10068"/>
                  <a:gd name="connsiteY38" fmla="*/ 4293 h 10078"/>
                  <a:gd name="connsiteX39" fmla="*/ 8086 w 10068"/>
                  <a:gd name="connsiteY39" fmla="*/ 3607 h 10078"/>
                  <a:gd name="connsiteX40" fmla="*/ 8240 w 10068"/>
                  <a:gd name="connsiteY40" fmla="*/ 3193 h 10078"/>
                  <a:gd name="connsiteX41" fmla="*/ 8360 w 10068"/>
                  <a:gd name="connsiteY41" fmla="*/ 3438 h 10078"/>
                  <a:gd name="connsiteX42" fmla="*/ 8592 w 10068"/>
                  <a:gd name="connsiteY42" fmla="*/ 3204 h 10078"/>
                  <a:gd name="connsiteX43" fmla="*/ 8864 w 10068"/>
                  <a:gd name="connsiteY43" fmla="*/ 3515 h 10078"/>
                  <a:gd name="connsiteX44" fmla="*/ 9150 w 10068"/>
                  <a:gd name="connsiteY44" fmla="*/ 3765 h 10078"/>
                  <a:gd name="connsiteX45" fmla="*/ 9341 w 10068"/>
                  <a:gd name="connsiteY45" fmla="*/ 4199 h 10078"/>
                  <a:gd name="connsiteX46" fmla="*/ 9477 w 10068"/>
                  <a:gd name="connsiteY46" fmla="*/ 3671 h 10078"/>
                  <a:gd name="connsiteX47" fmla="*/ 9314 w 10068"/>
                  <a:gd name="connsiteY47" fmla="*/ 4480 h 10078"/>
                  <a:gd name="connsiteX48" fmla="*/ 9409 w 10068"/>
                  <a:gd name="connsiteY48" fmla="*/ 4464 h 10078"/>
                  <a:gd name="connsiteX49" fmla="*/ 10049 w 10068"/>
                  <a:gd name="connsiteY49" fmla="*/ 3639 h 10078"/>
                  <a:gd name="connsiteX50" fmla="*/ 9423 w 10068"/>
                  <a:gd name="connsiteY50" fmla="*/ 2240 h 10078"/>
                  <a:gd name="connsiteX0" fmla="*/ 9423 w 10068"/>
                  <a:gd name="connsiteY0" fmla="*/ 2240 h 10078"/>
                  <a:gd name="connsiteX1" fmla="*/ 9395 w 10068"/>
                  <a:gd name="connsiteY1" fmla="*/ 2209 h 10078"/>
                  <a:gd name="connsiteX2" fmla="*/ 7884 w 10068"/>
                  <a:gd name="connsiteY2" fmla="*/ 1198 h 10078"/>
                  <a:gd name="connsiteX3" fmla="*/ 6863 w 10068"/>
                  <a:gd name="connsiteY3" fmla="*/ 887 h 10078"/>
                  <a:gd name="connsiteX4" fmla="*/ 5365 w 10068"/>
                  <a:gd name="connsiteY4" fmla="*/ 452 h 10078"/>
                  <a:gd name="connsiteX5" fmla="*/ 5392 w 10068"/>
                  <a:gd name="connsiteY5" fmla="*/ 265 h 10078"/>
                  <a:gd name="connsiteX6" fmla="*/ 4985 w 10068"/>
                  <a:gd name="connsiteY6" fmla="*/ 374 h 10078"/>
                  <a:gd name="connsiteX7" fmla="*/ 4848 w 10068"/>
                  <a:gd name="connsiteY7" fmla="*/ 32 h 10078"/>
                  <a:gd name="connsiteX8" fmla="*/ 4671 w 10068"/>
                  <a:gd name="connsiteY8" fmla="*/ 327 h 10078"/>
                  <a:gd name="connsiteX9" fmla="*/ 3309 w 10068"/>
                  <a:gd name="connsiteY9" fmla="*/ 250 h 10078"/>
                  <a:gd name="connsiteX10" fmla="*/ 1730 w 10068"/>
                  <a:gd name="connsiteY10" fmla="*/ 825 h 10078"/>
                  <a:gd name="connsiteX11" fmla="*/ 804 w 10068"/>
                  <a:gd name="connsiteY11" fmla="*/ 2318 h 10078"/>
                  <a:gd name="connsiteX12" fmla="*/ 505 w 10068"/>
                  <a:gd name="connsiteY12" fmla="*/ 3422 h 10078"/>
                  <a:gd name="connsiteX13" fmla="*/ 505 w 10068"/>
                  <a:gd name="connsiteY13" fmla="*/ 4324 h 10078"/>
                  <a:gd name="connsiteX14" fmla="*/ 273 w 10068"/>
                  <a:gd name="connsiteY14" fmla="*/ 4852 h 10078"/>
                  <a:gd name="connsiteX15" fmla="*/ 191 w 10068"/>
                  <a:gd name="connsiteY15" fmla="*/ 5367 h 10078"/>
                  <a:gd name="connsiteX16" fmla="*/ 7 w 10068"/>
                  <a:gd name="connsiteY16" fmla="*/ 6303 h 10078"/>
                  <a:gd name="connsiteX17" fmla="*/ 89 w 10068"/>
                  <a:gd name="connsiteY17" fmla="*/ 6719 h 10078"/>
                  <a:gd name="connsiteX18" fmla="*/ 840 w 10068"/>
                  <a:gd name="connsiteY18" fmla="*/ 8381 h 10078"/>
                  <a:gd name="connsiteX19" fmla="*/ 917 w 10068"/>
                  <a:gd name="connsiteY19" fmla="*/ 8893 h 10078"/>
                  <a:gd name="connsiteX20" fmla="*/ 982 w 10068"/>
                  <a:gd name="connsiteY20" fmla="*/ 9099 h 10078"/>
                  <a:gd name="connsiteX21" fmla="*/ 1580 w 10068"/>
                  <a:gd name="connsiteY21" fmla="*/ 9830 h 10078"/>
                  <a:gd name="connsiteX22" fmla="*/ 1635 w 10068"/>
                  <a:gd name="connsiteY22" fmla="*/ 9877 h 10078"/>
                  <a:gd name="connsiteX23" fmla="*/ 1767 w 10068"/>
                  <a:gd name="connsiteY23" fmla="*/ 9968 h 10078"/>
                  <a:gd name="connsiteX24" fmla="*/ 1800 w 10068"/>
                  <a:gd name="connsiteY24" fmla="*/ 10078 h 10078"/>
                  <a:gd name="connsiteX25" fmla="*/ 2361 w 10068"/>
                  <a:gd name="connsiteY25" fmla="*/ 9938 h 10078"/>
                  <a:gd name="connsiteX26" fmla="*/ 1971 w 10068"/>
                  <a:gd name="connsiteY26" fmla="*/ 9687 h 10078"/>
                  <a:gd name="connsiteX27" fmla="*/ 2559 w 10068"/>
                  <a:gd name="connsiteY27" fmla="*/ 9621 h 10078"/>
                  <a:gd name="connsiteX28" fmla="*/ 3009 w 10068"/>
                  <a:gd name="connsiteY28" fmla="*/ 8409 h 10078"/>
                  <a:gd name="connsiteX29" fmla="*/ 3132 w 10068"/>
                  <a:gd name="connsiteY29" fmla="*/ 7435 h 10078"/>
                  <a:gd name="connsiteX30" fmla="*/ 4113 w 10068"/>
                  <a:gd name="connsiteY30" fmla="*/ 6439 h 10078"/>
                  <a:gd name="connsiteX31" fmla="*/ 4031 w 10068"/>
                  <a:gd name="connsiteY31" fmla="*/ 7062 h 10078"/>
                  <a:gd name="connsiteX32" fmla="*/ 3459 w 10068"/>
                  <a:gd name="connsiteY32" fmla="*/ 7497 h 10078"/>
                  <a:gd name="connsiteX33" fmla="*/ 4194 w 10068"/>
                  <a:gd name="connsiteY33" fmla="*/ 7435 h 10078"/>
                  <a:gd name="connsiteX34" fmla="*/ 3908 w 10068"/>
                  <a:gd name="connsiteY34" fmla="*/ 7777 h 10078"/>
                  <a:gd name="connsiteX35" fmla="*/ 5339 w 10068"/>
                  <a:gd name="connsiteY35" fmla="*/ 7124 h 10078"/>
                  <a:gd name="connsiteX36" fmla="*/ 5339 w 10068"/>
                  <a:gd name="connsiteY36" fmla="*/ 5927 h 10078"/>
                  <a:gd name="connsiteX37" fmla="*/ 5815 w 10068"/>
                  <a:gd name="connsiteY37" fmla="*/ 5040 h 10078"/>
                  <a:gd name="connsiteX38" fmla="*/ 7163 w 10068"/>
                  <a:gd name="connsiteY38" fmla="*/ 4293 h 10078"/>
                  <a:gd name="connsiteX39" fmla="*/ 8086 w 10068"/>
                  <a:gd name="connsiteY39" fmla="*/ 3607 h 10078"/>
                  <a:gd name="connsiteX40" fmla="*/ 8240 w 10068"/>
                  <a:gd name="connsiteY40" fmla="*/ 3193 h 10078"/>
                  <a:gd name="connsiteX41" fmla="*/ 8360 w 10068"/>
                  <a:gd name="connsiteY41" fmla="*/ 3438 h 10078"/>
                  <a:gd name="connsiteX42" fmla="*/ 8592 w 10068"/>
                  <a:gd name="connsiteY42" fmla="*/ 3204 h 10078"/>
                  <a:gd name="connsiteX43" fmla="*/ 8864 w 10068"/>
                  <a:gd name="connsiteY43" fmla="*/ 3515 h 10078"/>
                  <a:gd name="connsiteX44" fmla="*/ 9150 w 10068"/>
                  <a:gd name="connsiteY44" fmla="*/ 3765 h 10078"/>
                  <a:gd name="connsiteX45" fmla="*/ 9341 w 10068"/>
                  <a:gd name="connsiteY45" fmla="*/ 4199 h 10078"/>
                  <a:gd name="connsiteX46" fmla="*/ 9477 w 10068"/>
                  <a:gd name="connsiteY46" fmla="*/ 3671 h 10078"/>
                  <a:gd name="connsiteX47" fmla="*/ 9314 w 10068"/>
                  <a:gd name="connsiteY47" fmla="*/ 4480 h 10078"/>
                  <a:gd name="connsiteX48" fmla="*/ 9409 w 10068"/>
                  <a:gd name="connsiteY48" fmla="*/ 4464 h 10078"/>
                  <a:gd name="connsiteX49" fmla="*/ 10049 w 10068"/>
                  <a:gd name="connsiteY49" fmla="*/ 3639 h 10078"/>
                  <a:gd name="connsiteX50" fmla="*/ 9423 w 10068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350 w 10079"/>
                  <a:gd name="connsiteY36" fmla="*/ 5927 h 10078"/>
                  <a:gd name="connsiteX37" fmla="*/ 582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350 w 10079"/>
                  <a:gd name="connsiteY36" fmla="*/ 5927 h 10078"/>
                  <a:gd name="connsiteX37" fmla="*/ 6007 w 10079"/>
                  <a:gd name="connsiteY37" fmla="*/ 535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712 w 10079"/>
                  <a:gd name="connsiteY36" fmla="*/ 5617 h 10078"/>
                  <a:gd name="connsiteX37" fmla="*/ 6007 w 10079"/>
                  <a:gd name="connsiteY37" fmla="*/ 535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712 w 10079"/>
                  <a:gd name="connsiteY36" fmla="*/ 5617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0079" h="10078">
                    <a:moveTo>
                      <a:pt x="9434" y="2240"/>
                    </a:moveTo>
                    <a:cubicBezTo>
                      <a:pt x="9434" y="2224"/>
                      <a:pt x="9420" y="2224"/>
                      <a:pt x="9406" y="2209"/>
                    </a:cubicBezTo>
                    <a:cubicBezTo>
                      <a:pt x="9025" y="1991"/>
                      <a:pt x="8181" y="1416"/>
                      <a:pt x="7895" y="1198"/>
                    </a:cubicBezTo>
                    <a:cubicBezTo>
                      <a:pt x="7610" y="965"/>
                      <a:pt x="7283" y="1090"/>
                      <a:pt x="6874" y="887"/>
                    </a:cubicBezTo>
                    <a:cubicBezTo>
                      <a:pt x="6480" y="685"/>
                      <a:pt x="5717" y="436"/>
                      <a:pt x="5376" y="452"/>
                    </a:cubicBezTo>
                    <a:cubicBezTo>
                      <a:pt x="5023" y="468"/>
                      <a:pt x="5335" y="327"/>
                      <a:pt x="5403" y="265"/>
                    </a:cubicBezTo>
                    <a:cubicBezTo>
                      <a:pt x="5485" y="203"/>
                      <a:pt x="5118" y="265"/>
                      <a:pt x="4996" y="374"/>
                    </a:cubicBezTo>
                    <a:cubicBezTo>
                      <a:pt x="4859" y="468"/>
                      <a:pt x="4996" y="187"/>
                      <a:pt x="4859" y="32"/>
                    </a:cubicBezTo>
                    <a:cubicBezTo>
                      <a:pt x="4737" y="-108"/>
                      <a:pt x="4804" y="265"/>
                      <a:pt x="4682" y="327"/>
                    </a:cubicBezTo>
                    <a:cubicBezTo>
                      <a:pt x="4560" y="390"/>
                      <a:pt x="3974" y="78"/>
                      <a:pt x="3320" y="250"/>
                    </a:cubicBezTo>
                    <a:cubicBezTo>
                      <a:pt x="2667" y="405"/>
                      <a:pt x="2081" y="685"/>
                      <a:pt x="1741" y="825"/>
                    </a:cubicBezTo>
                    <a:cubicBezTo>
                      <a:pt x="1400" y="965"/>
                      <a:pt x="829" y="1805"/>
                      <a:pt x="815" y="2318"/>
                    </a:cubicBezTo>
                    <a:cubicBezTo>
                      <a:pt x="801" y="2831"/>
                      <a:pt x="638" y="3173"/>
                      <a:pt x="516" y="3422"/>
                    </a:cubicBezTo>
                    <a:cubicBezTo>
                      <a:pt x="393" y="3671"/>
                      <a:pt x="420" y="3998"/>
                      <a:pt x="516" y="4324"/>
                    </a:cubicBezTo>
                    <a:cubicBezTo>
                      <a:pt x="516" y="4324"/>
                      <a:pt x="379" y="4619"/>
                      <a:pt x="284" y="4852"/>
                    </a:cubicBezTo>
                    <a:cubicBezTo>
                      <a:pt x="202" y="5071"/>
                      <a:pt x="312" y="5056"/>
                      <a:pt x="202" y="5367"/>
                    </a:cubicBezTo>
                    <a:cubicBezTo>
                      <a:pt x="107" y="5600"/>
                      <a:pt x="-34" y="5957"/>
                      <a:pt x="6" y="6346"/>
                    </a:cubicBezTo>
                    <a:cubicBezTo>
                      <a:pt x="20" y="6513"/>
                      <a:pt x="58" y="6580"/>
                      <a:pt x="100" y="6719"/>
                    </a:cubicBezTo>
                    <a:cubicBezTo>
                      <a:pt x="250" y="7248"/>
                      <a:pt x="713" y="8019"/>
                      <a:pt x="851" y="8381"/>
                    </a:cubicBezTo>
                    <a:cubicBezTo>
                      <a:pt x="989" y="8743"/>
                      <a:pt x="887" y="8690"/>
                      <a:pt x="928" y="8893"/>
                    </a:cubicBezTo>
                    <a:cubicBezTo>
                      <a:pt x="941" y="8908"/>
                      <a:pt x="978" y="9068"/>
                      <a:pt x="993" y="9099"/>
                    </a:cubicBezTo>
                    <a:cubicBezTo>
                      <a:pt x="1210" y="9363"/>
                      <a:pt x="1400" y="9518"/>
                      <a:pt x="1591" y="9830"/>
                    </a:cubicBezTo>
                    <a:cubicBezTo>
                      <a:pt x="1605" y="9845"/>
                      <a:pt x="1615" y="9854"/>
                      <a:pt x="1646" y="9877"/>
                    </a:cubicBezTo>
                    <a:cubicBezTo>
                      <a:pt x="1677" y="9900"/>
                      <a:pt x="1751" y="9935"/>
                      <a:pt x="1778" y="9968"/>
                    </a:cubicBezTo>
                    <a:cubicBezTo>
                      <a:pt x="1805" y="10001"/>
                      <a:pt x="1712" y="10083"/>
                      <a:pt x="1811" y="10078"/>
                    </a:cubicBezTo>
                    <a:cubicBezTo>
                      <a:pt x="1910" y="10073"/>
                      <a:pt x="2352" y="9994"/>
                      <a:pt x="2372" y="9938"/>
                    </a:cubicBezTo>
                    <a:cubicBezTo>
                      <a:pt x="2535" y="9798"/>
                      <a:pt x="2050" y="9920"/>
                      <a:pt x="1982" y="9687"/>
                    </a:cubicBezTo>
                    <a:cubicBezTo>
                      <a:pt x="2138" y="9653"/>
                      <a:pt x="2397" y="9834"/>
                      <a:pt x="2570" y="9621"/>
                    </a:cubicBezTo>
                    <a:cubicBezTo>
                      <a:pt x="2743" y="9408"/>
                      <a:pt x="3006" y="8612"/>
                      <a:pt x="3020" y="8409"/>
                    </a:cubicBezTo>
                    <a:cubicBezTo>
                      <a:pt x="3073" y="7771"/>
                      <a:pt x="2994" y="7528"/>
                      <a:pt x="3143" y="7435"/>
                    </a:cubicBezTo>
                    <a:cubicBezTo>
                      <a:pt x="3280" y="7357"/>
                      <a:pt x="3906" y="7357"/>
                      <a:pt x="4124" y="6439"/>
                    </a:cubicBezTo>
                    <a:cubicBezTo>
                      <a:pt x="4151" y="6331"/>
                      <a:pt x="4205" y="6906"/>
                      <a:pt x="4042" y="7062"/>
                    </a:cubicBezTo>
                    <a:cubicBezTo>
                      <a:pt x="3879" y="7233"/>
                      <a:pt x="4159" y="6918"/>
                      <a:pt x="3379" y="7523"/>
                    </a:cubicBezTo>
                    <a:cubicBezTo>
                      <a:pt x="2599" y="8128"/>
                      <a:pt x="4115" y="7596"/>
                      <a:pt x="4205" y="7435"/>
                    </a:cubicBezTo>
                    <a:cubicBezTo>
                      <a:pt x="4253" y="7349"/>
                      <a:pt x="3592" y="7958"/>
                      <a:pt x="3783" y="7958"/>
                    </a:cubicBezTo>
                    <a:cubicBezTo>
                      <a:pt x="3974" y="7958"/>
                      <a:pt x="5006" y="7992"/>
                      <a:pt x="5350" y="7434"/>
                    </a:cubicBezTo>
                    <a:cubicBezTo>
                      <a:pt x="5613" y="7007"/>
                      <a:pt x="5440" y="5938"/>
                      <a:pt x="5576" y="5539"/>
                    </a:cubicBezTo>
                    <a:cubicBezTo>
                      <a:pt x="5712" y="5140"/>
                      <a:pt x="5566" y="5506"/>
                      <a:pt x="6166" y="5040"/>
                    </a:cubicBezTo>
                    <a:cubicBezTo>
                      <a:pt x="6765" y="4557"/>
                      <a:pt x="6820" y="4542"/>
                      <a:pt x="7174" y="4293"/>
                    </a:cubicBezTo>
                    <a:cubicBezTo>
                      <a:pt x="7515" y="4044"/>
                      <a:pt x="7918" y="3790"/>
                      <a:pt x="8097" y="3607"/>
                    </a:cubicBezTo>
                    <a:cubicBezTo>
                      <a:pt x="8276" y="3424"/>
                      <a:pt x="8205" y="3221"/>
                      <a:pt x="8251" y="3193"/>
                    </a:cubicBezTo>
                    <a:cubicBezTo>
                      <a:pt x="8333" y="3084"/>
                      <a:pt x="8399" y="3298"/>
                      <a:pt x="8371" y="3438"/>
                    </a:cubicBezTo>
                    <a:cubicBezTo>
                      <a:pt x="8331" y="3577"/>
                      <a:pt x="8590" y="3313"/>
                      <a:pt x="8603" y="3204"/>
                    </a:cubicBezTo>
                    <a:cubicBezTo>
                      <a:pt x="8617" y="3111"/>
                      <a:pt x="8767" y="3438"/>
                      <a:pt x="8875" y="3515"/>
                    </a:cubicBezTo>
                    <a:cubicBezTo>
                      <a:pt x="8930" y="3562"/>
                      <a:pt x="9052" y="3639"/>
                      <a:pt x="9161" y="3765"/>
                    </a:cubicBezTo>
                    <a:cubicBezTo>
                      <a:pt x="9284" y="3889"/>
                      <a:pt x="9379" y="4044"/>
                      <a:pt x="9352" y="4199"/>
                    </a:cubicBezTo>
                    <a:cubicBezTo>
                      <a:pt x="9352" y="4199"/>
                      <a:pt x="9529" y="3935"/>
                      <a:pt x="9488" y="3671"/>
                    </a:cubicBezTo>
                    <a:cubicBezTo>
                      <a:pt x="9488" y="3671"/>
                      <a:pt x="9570" y="4106"/>
                      <a:pt x="9325" y="4480"/>
                    </a:cubicBezTo>
                    <a:cubicBezTo>
                      <a:pt x="9325" y="4480"/>
                      <a:pt x="9366" y="4480"/>
                      <a:pt x="9420" y="4464"/>
                    </a:cubicBezTo>
                    <a:cubicBezTo>
                      <a:pt x="9597" y="4433"/>
                      <a:pt x="9979" y="4308"/>
                      <a:pt x="10060" y="3639"/>
                    </a:cubicBezTo>
                    <a:cubicBezTo>
                      <a:pt x="10169" y="2768"/>
                      <a:pt x="9802" y="2442"/>
                      <a:pt x="9434" y="2240"/>
                    </a:cubicBezTo>
                    <a:close/>
                  </a:path>
                </a:pathLst>
              </a:custGeom>
              <a:solidFill>
                <a:srgbClr val="38291F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142">
                <a:extLst>
                  <a:ext uri="{FF2B5EF4-FFF2-40B4-BE49-F238E27FC236}">
                    <a16:creationId xmlns:a16="http://schemas.microsoft.com/office/drawing/2014/main" id="{D99C7D31-DCB5-4F84-BF6D-4081D95908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07390" y="3245975"/>
                <a:ext cx="1128178" cy="1214685"/>
              </a:xfrm>
              <a:custGeom>
                <a:avLst/>
                <a:gdLst>
                  <a:gd name="T0" fmla="*/ 571 w 573"/>
                  <a:gd name="T1" fmla="*/ 144 h 617"/>
                  <a:gd name="T2" fmla="*/ 527 w 573"/>
                  <a:gd name="T3" fmla="*/ 95 h 617"/>
                  <a:gd name="T4" fmla="*/ 499 w 573"/>
                  <a:gd name="T5" fmla="*/ 89 h 617"/>
                  <a:gd name="T6" fmla="*/ 515 w 573"/>
                  <a:gd name="T7" fmla="*/ 87 h 617"/>
                  <a:gd name="T8" fmla="*/ 479 w 573"/>
                  <a:gd name="T9" fmla="*/ 71 h 617"/>
                  <a:gd name="T10" fmla="*/ 490 w 573"/>
                  <a:gd name="T11" fmla="*/ 63 h 617"/>
                  <a:gd name="T12" fmla="*/ 478 w 573"/>
                  <a:gd name="T13" fmla="*/ 53 h 617"/>
                  <a:gd name="T14" fmla="*/ 434 w 573"/>
                  <a:gd name="T15" fmla="*/ 21 h 617"/>
                  <a:gd name="T16" fmla="*/ 388 w 573"/>
                  <a:gd name="T17" fmla="*/ 15 h 617"/>
                  <a:gd name="T18" fmla="*/ 363 w 573"/>
                  <a:gd name="T19" fmla="*/ 69 h 617"/>
                  <a:gd name="T20" fmla="*/ 307 w 573"/>
                  <a:gd name="T21" fmla="*/ 137 h 617"/>
                  <a:gd name="T22" fmla="*/ 202 w 573"/>
                  <a:gd name="T23" fmla="*/ 187 h 617"/>
                  <a:gd name="T24" fmla="*/ 182 w 573"/>
                  <a:gd name="T25" fmla="*/ 171 h 617"/>
                  <a:gd name="T26" fmla="*/ 136 w 573"/>
                  <a:gd name="T27" fmla="*/ 122 h 617"/>
                  <a:gd name="T28" fmla="*/ 138 w 573"/>
                  <a:gd name="T29" fmla="*/ 177 h 617"/>
                  <a:gd name="T30" fmla="*/ 137 w 573"/>
                  <a:gd name="T31" fmla="*/ 179 h 617"/>
                  <a:gd name="T32" fmla="*/ 134 w 573"/>
                  <a:gd name="T33" fmla="*/ 225 h 617"/>
                  <a:gd name="T34" fmla="*/ 155 w 573"/>
                  <a:gd name="T35" fmla="*/ 300 h 617"/>
                  <a:gd name="T36" fmla="*/ 154 w 573"/>
                  <a:gd name="T37" fmla="*/ 348 h 617"/>
                  <a:gd name="T38" fmla="*/ 110 w 573"/>
                  <a:gd name="T39" fmla="*/ 363 h 617"/>
                  <a:gd name="T40" fmla="*/ 100 w 573"/>
                  <a:gd name="T41" fmla="*/ 409 h 617"/>
                  <a:gd name="T42" fmla="*/ 84 w 573"/>
                  <a:gd name="T43" fmla="*/ 421 h 617"/>
                  <a:gd name="T44" fmla="*/ 82 w 573"/>
                  <a:gd name="T45" fmla="*/ 433 h 617"/>
                  <a:gd name="T46" fmla="*/ 82 w 573"/>
                  <a:gd name="T47" fmla="*/ 456 h 617"/>
                  <a:gd name="T48" fmla="*/ 67 w 573"/>
                  <a:gd name="T49" fmla="*/ 483 h 617"/>
                  <a:gd name="T50" fmla="*/ 47 w 573"/>
                  <a:gd name="T51" fmla="*/ 547 h 617"/>
                  <a:gd name="T52" fmla="*/ 5 w 573"/>
                  <a:gd name="T53" fmla="*/ 550 h 617"/>
                  <a:gd name="T54" fmla="*/ 28 w 573"/>
                  <a:gd name="T55" fmla="*/ 608 h 617"/>
                  <a:gd name="T56" fmla="*/ 111 w 573"/>
                  <a:gd name="T57" fmla="*/ 585 h 617"/>
                  <a:gd name="T58" fmla="*/ 139 w 573"/>
                  <a:gd name="T59" fmla="*/ 577 h 617"/>
                  <a:gd name="T60" fmla="*/ 184 w 573"/>
                  <a:gd name="T61" fmla="*/ 559 h 617"/>
                  <a:gd name="T62" fmla="*/ 286 w 573"/>
                  <a:gd name="T63" fmla="*/ 612 h 617"/>
                  <a:gd name="T64" fmla="*/ 314 w 573"/>
                  <a:gd name="T65" fmla="*/ 612 h 617"/>
                  <a:gd name="T66" fmla="*/ 344 w 573"/>
                  <a:gd name="T67" fmla="*/ 564 h 617"/>
                  <a:gd name="T68" fmla="*/ 359 w 573"/>
                  <a:gd name="T69" fmla="*/ 537 h 617"/>
                  <a:gd name="T70" fmla="*/ 371 w 573"/>
                  <a:gd name="T71" fmla="*/ 520 h 617"/>
                  <a:gd name="T72" fmla="*/ 408 w 573"/>
                  <a:gd name="T73" fmla="*/ 473 h 617"/>
                  <a:gd name="T74" fmla="*/ 426 w 573"/>
                  <a:gd name="T75" fmla="*/ 453 h 617"/>
                  <a:gd name="T76" fmla="*/ 443 w 573"/>
                  <a:gd name="T77" fmla="*/ 463 h 617"/>
                  <a:gd name="T78" fmla="*/ 475 w 573"/>
                  <a:gd name="T79" fmla="*/ 448 h 617"/>
                  <a:gd name="T80" fmla="*/ 482 w 573"/>
                  <a:gd name="T81" fmla="*/ 360 h 617"/>
                  <a:gd name="T82" fmla="*/ 512 w 573"/>
                  <a:gd name="T83" fmla="*/ 317 h 617"/>
                  <a:gd name="T84" fmla="*/ 552 w 573"/>
                  <a:gd name="T85" fmla="*/ 268 h 617"/>
                  <a:gd name="T86" fmla="*/ 572 w 573"/>
                  <a:gd name="T87" fmla="*/ 181 h 617"/>
                  <a:gd name="T88" fmla="*/ 572 w 573"/>
                  <a:gd name="T89" fmla="*/ 179 h 617"/>
                  <a:gd name="T90" fmla="*/ 571 w 573"/>
                  <a:gd name="T91" fmla="*/ 144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73" h="617">
                    <a:moveTo>
                      <a:pt x="571" y="144"/>
                    </a:moveTo>
                    <a:cubicBezTo>
                      <a:pt x="568" y="139"/>
                      <a:pt x="555" y="97"/>
                      <a:pt x="527" y="95"/>
                    </a:cubicBezTo>
                    <a:cubicBezTo>
                      <a:pt x="527" y="95"/>
                      <a:pt x="504" y="92"/>
                      <a:pt x="499" y="89"/>
                    </a:cubicBezTo>
                    <a:cubicBezTo>
                      <a:pt x="499" y="89"/>
                      <a:pt x="486" y="84"/>
                      <a:pt x="515" y="87"/>
                    </a:cubicBezTo>
                    <a:cubicBezTo>
                      <a:pt x="515" y="87"/>
                      <a:pt x="487" y="79"/>
                      <a:pt x="479" y="71"/>
                    </a:cubicBezTo>
                    <a:cubicBezTo>
                      <a:pt x="471" y="63"/>
                      <a:pt x="464" y="60"/>
                      <a:pt x="490" y="63"/>
                    </a:cubicBezTo>
                    <a:cubicBezTo>
                      <a:pt x="503" y="65"/>
                      <a:pt x="478" y="53"/>
                      <a:pt x="478" y="53"/>
                    </a:cubicBezTo>
                    <a:cubicBezTo>
                      <a:pt x="478" y="53"/>
                      <a:pt x="458" y="43"/>
                      <a:pt x="434" y="21"/>
                    </a:cubicBezTo>
                    <a:cubicBezTo>
                      <a:pt x="410" y="0"/>
                      <a:pt x="392" y="4"/>
                      <a:pt x="388" y="15"/>
                    </a:cubicBezTo>
                    <a:cubicBezTo>
                      <a:pt x="384" y="25"/>
                      <a:pt x="392" y="44"/>
                      <a:pt x="363" y="69"/>
                    </a:cubicBezTo>
                    <a:cubicBezTo>
                      <a:pt x="334" y="95"/>
                      <a:pt x="322" y="123"/>
                      <a:pt x="307" y="137"/>
                    </a:cubicBezTo>
                    <a:cubicBezTo>
                      <a:pt x="292" y="152"/>
                      <a:pt x="210" y="175"/>
                      <a:pt x="202" y="187"/>
                    </a:cubicBezTo>
                    <a:cubicBezTo>
                      <a:pt x="194" y="199"/>
                      <a:pt x="190" y="192"/>
                      <a:pt x="182" y="171"/>
                    </a:cubicBezTo>
                    <a:cubicBezTo>
                      <a:pt x="176" y="155"/>
                      <a:pt x="152" y="135"/>
                      <a:pt x="136" y="122"/>
                    </a:cubicBezTo>
                    <a:cubicBezTo>
                      <a:pt x="137" y="133"/>
                      <a:pt x="139" y="173"/>
                      <a:pt x="138" y="177"/>
                    </a:cubicBezTo>
                    <a:cubicBezTo>
                      <a:pt x="138" y="177"/>
                      <a:pt x="137" y="178"/>
                      <a:pt x="137" y="179"/>
                    </a:cubicBezTo>
                    <a:cubicBezTo>
                      <a:pt x="135" y="184"/>
                      <a:pt x="129" y="204"/>
                      <a:pt x="134" y="225"/>
                    </a:cubicBezTo>
                    <a:cubicBezTo>
                      <a:pt x="139" y="251"/>
                      <a:pt x="151" y="287"/>
                      <a:pt x="155" y="300"/>
                    </a:cubicBezTo>
                    <a:cubicBezTo>
                      <a:pt x="159" y="313"/>
                      <a:pt x="176" y="339"/>
                      <a:pt x="154" y="348"/>
                    </a:cubicBezTo>
                    <a:cubicBezTo>
                      <a:pt x="131" y="357"/>
                      <a:pt x="112" y="357"/>
                      <a:pt x="110" y="363"/>
                    </a:cubicBezTo>
                    <a:cubicBezTo>
                      <a:pt x="107" y="368"/>
                      <a:pt x="111" y="404"/>
                      <a:pt x="100" y="409"/>
                    </a:cubicBezTo>
                    <a:cubicBezTo>
                      <a:pt x="100" y="409"/>
                      <a:pt x="92" y="420"/>
                      <a:pt x="84" y="421"/>
                    </a:cubicBezTo>
                    <a:cubicBezTo>
                      <a:pt x="76" y="423"/>
                      <a:pt x="76" y="431"/>
                      <a:pt x="82" y="433"/>
                    </a:cubicBezTo>
                    <a:cubicBezTo>
                      <a:pt x="87" y="436"/>
                      <a:pt x="94" y="455"/>
                      <a:pt x="82" y="456"/>
                    </a:cubicBezTo>
                    <a:cubicBezTo>
                      <a:pt x="82" y="456"/>
                      <a:pt x="68" y="472"/>
                      <a:pt x="67" y="483"/>
                    </a:cubicBezTo>
                    <a:cubicBezTo>
                      <a:pt x="66" y="493"/>
                      <a:pt x="72" y="539"/>
                      <a:pt x="47" y="547"/>
                    </a:cubicBezTo>
                    <a:cubicBezTo>
                      <a:pt x="38" y="549"/>
                      <a:pt x="23" y="550"/>
                      <a:pt x="5" y="550"/>
                    </a:cubicBezTo>
                    <a:cubicBezTo>
                      <a:pt x="0" y="551"/>
                      <a:pt x="17" y="610"/>
                      <a:pt x="28" y="608"/>
                    </a:cubicBezTo>
                    <a:cubicBezTo>
                      <a:pt x="59" y="603"/>
                      <a:pt x="111" y="585"/>
                      <a:pt x="111" y="585"/>
                    </a:cubicBezTo>
                    <a:cubicBezTo>
                      <a:pt x="111" y="585"/>
                      <a:pt x="138" y="578"/>
                      <a:pt x="139" y="577"/>
                    </a:cubicBezTo>
                    <a:cubicBezTo>
                      <a:pt x="147" y="572"/>
                      <a:pt x="175" y="553"/>
                      <a:pt x="184" y="559"/>
                    </a:cubicBezTo>
                    <a:cubicBezTo>
                      <a:pt x="195" y="565"/>
                      <a:pt x="271" y="617"/>
                      <a:pt x="286" y="612"/>
                    </a:cubicBezTo>
                    <a:cubicBezTo>
                      <a:pt x="286" y="612"/>
                      <a:pt x="306" y="615"/>
                      <a:pt x="314" y="612"/>
                    </a:cubicBezTo>
                    <a:cubicBezTo>
                      <a:pt x="322" y="609"/>
                      <a:pt x="340" y="601"/>
                      <a:pt x="344" y="564"/>
                    </a:cubicBezTo>
                    <a:cubicBezTo>
                      <a:pt x="344" y="564"/>
                      <a:pt x="352" y="538"/>
                      <a:pt x="359" y="537"/>
                    </a:cubicBezTo>
                    <a:cubicBezTo>
                      <a:pt x="361" y="531"/>
                      <a:pt x="365" y="525"/>
                      <a:pt x="371" y="520"/>
                    </a:cubicBezTo>
                    <a:cubicBezTo>
                      <a:pt x="371" y="520"/>
                      <a:pt x="400" y="483"/>
                      <a:pt x="408" y="473"/>
                    </a:cubicBezTo>
                    <a:cubicBezTo>
                      <a:pt x="416" y="464"/>
                      <a:pt x="426" y="453"/>
                      <a:pt x="426" y="453"/>
                    </a:cubicBezTo>
                    <a:cubicBezTo>
                      <a:pt x="426" y="453"/>
                      <a:pt x="439" y="464"/>
                      <a:pt x="443" y="463"/>
                    </a:cubicBezTo>
                    <a:cubicBezTo>
                      <a:pt x="447" y="461"/>
                      <a:pt x="472" y="469"/>
                      <a:pt x="475" y="448"/>
                    </a:cubicBezTo>
                    <a:cubicBezTo>
                      <a:pt x="478" y="427"/>
                      <a:pt x="479" y="368"/>
                      <a:pt x="482" y="360"/>
                    </a:cubicBezTo>
                    <a:cubicBezTo>
                      <a:pt x="484" y="352"/>
                      <a:pt x="503" y="328"/>
                      <a:pt x="512" y="317"/>
                    </a:cubicBezTo>
                    <a:cubicBezTo>
                      <a:pt x="522" y="307"/>
                      <a:pt x="547" y="289"/>
                      <a:pt x="552" y="268"/>
                    </a:cubicBezTo>
                    <a:cubicBezTo>
                      <a:pt x="558" y="247"/>
                      <a:pt x="572" y="187"/>
                      <a:pt x="572" y="181"/>
                    </a:cubicBezTo>
                    <a:cubicBezTo>
                      <a:pt x="572" y="181"/>
                      <a:pt x="572" y="180"/>
                      <a:pt x="572" y="179"/>
                    </a:cubicBezTo>
                    <a:cubicBezTo>
                      <a:pt x="572" y="171"/>
                      <a:pt x="573" y="149"/>
                      <a:pt x="571" y="14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143">
                <a:extLst>
                  <a:ext uri="{FF2B5EF4-FFF2-40B4-BE49-F238E27FC236}">
                    <a16:creationId xmlns:a16="http://schemas.microsoft.com/office/drawing/2014/main" id="{1FF6E92B-3006-41DF-9BF3-CF065A42B4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7138" y="3193110"/>
                <a:ext cx="1206274" cy="1728913"/>
              </a:xfrm>
              <a:custGeom>
                <a:avLst/>
                <a:gdLst>
                  <a:gd name="T0" fmla="*/ 592 w 613"/>
                  <a:gd name="T1" fmla="*/ 327 h 878"/>
                  <a:gd name="T2" fmla="*/ 571 w 613"/>
                  <a:gd name="T3" fmla="*/ 252 h 878"/>
                  <a:gd name="T4" fmla="*/ 574 w 613"/>
                  <a:gd name="T5" fmla="*/ 206 h 878"/>
                  <a:gd name="T6" fmla="*/ 575 w 613"/>
                  <a:gd name="T7" fmla="*/ 204 h 878"/>
                  <a:gd name="T8" fmla="*/ 573 w 613"/>
                  <a:gd name="T9" fmla="*/ 149 h 878"/>
                  <a:gd name="T10" fmla="*/ 573 w 613"/>
                  <a:gd name="T11" fmla="*/ 146 h 878"/>
                  <a:gd name="T12" fmla="*/ 569 w 613"/>
                  <a:gd name="T13" fmla="*/ 114 h 878"/>
                  <a:gd name="T14" fmla="*/ 572 w 613"/>
                  <a:gd name="T15" fmla="*/ 97 h 878"/>
                  <a:gd name="T16" fmla="*/ 565 w 613"/>
                  <a:gd name="T17" fmla="*/ 98 h 878"/>
                  <a:gd name="T18" fmla="*/ 577 w 613"/>
                  <a:gd name="T19" fmla="*/ 46 h 878"/>
                  <a:gd name="T20" fmla="*/ 567 w 613"/>
                  <a:gd name="T21" fmla="*/ 80 h 878"/>
                  <a:gd name="T22" fmla="*/ 553 w 613"/>
                  <a:gd name="T23" fmla="*/ 52 h 878"/>
                  <a:gd name="T24" fmla="*/ 532 w 613"/>
                  <a:gd name="T25" fmla="*/ 36 h 878"/>
                  <a:gd name="T26" fmla="*/ 512 w 613"/>
                  <a:gd name="T27" fmla="*/ 16 h 878"/>
                  <a:gd name="T28" fmla="*/ 495 w 613"/>
                  <a:gd name="T29" fmla="*/ 31 h 878"/>
                  <a:gd name="T30" fmla="*/ 487 w 613"/>
                  <a:gd name="T31" fmla="*/ 7 h 878"/>
                  <a:gd name="T32" fmla="*/ 473 w 613"/>
                  <a:gd name="T33" fmla="*/ 30 h 878"/>
                  <a:gd name="T34" fmla="*/ 407 w 613"/>
                  <a:gd name="T35" fmla="*/ 86 h 878"/>
                  <a:gd name="T36" fmla="*/ 308 w 613"/>
                  <a:gd name="T37" fmla="*/ 134 h 878"/>
                  <a:gd name="T38" fmla="*/ 273 w 613"/>
                  <a:gd name="T39" fmla="*/ 191 h 878"/>
                  <a:gd name="T40" fmla="*/ 273 w 613"/>
                  <a:gd name="T41" fmla="*/ 268 h 878"/>
                  <a:gd name="T42" fmla="*/ 168 w 613"/>
                  <a:gd name="T43" fmla="*/ 310 h 878"/>
                  <a:gd name="T44" fmla="*/ 189 w 613"/>
                  <a:gd name="T45" fmla="*/ 288 h 878"/>
                  <a:gd name="T46" fmla="*/ 135 w 613"/>
                  <a:gd name="T47" fmla="*/ 292 h 878"/>
                  <a:gd name="T48" fmla="*/ 177 w 613"/>
                  <a:gd name="T49" fmla="*/ 264 h 878"/>
                  <a:gd name="T50" fmla="*/ 183 w 613"/>
                  <a:gd name="T51" fmla="*/ 224 h 878"/>
                  <a:gd name="T52" fmla="*/ 111 w 613"/>
                  <a:gd name="T53" fmla="*/ 288 h 878"/>
                  <a:gd name="T54" fmla="*/ 101 w 613"/>
                  <a:gd name="T55" fmla="*/ 347 h 878"/>
                  <a:gd name="T56" fmla="*/ 68 w 613"/>
                  <a:gd name="T57" fmla="*/ 424 h 878"/>
                  <a:gd name="T58" fmla="*/ 23 w 613"/>
                  <a:gd name="T59" fmla="*/ 431 h 878"/>
                  <a:gd name="T60" fmla="*/ 47 w 613"/>
                  <a:gd name="T61" fmla="*/ 448 h 878"/>
                  <a:gd name="T62" fmla="*/ 8 w 613"/>
                  <a:gd name="T63" fmla="*/ 450 h 878"/>
                  <a:gd name="T64" fmla="*/ 1 w 613"/>
                  <a:gd name="T65" fmla="*/ 445 h 878"/>
                  <a:gd name="T66" fmla="*/ 0 w 613"/>
                  <a:gd name="T67" fmla="*/ 447 h 878"/>
                  <a:gd name="T68" fmla="*/ 23 w 613"/>
                  <a:gd name="T69" fmla="*/ 478 h 878"/>
                  <a:gd name="T70" fmla="*/ 105 w 613"/>
                  <a:gd name="T71" fmla="*/ 720 h 878"/>
                  <a:gd name="T72" fmla="*/ 112 w 613"/>
                  <a:gd name="T73" fmla="*/ 753 h 878"/>
                  <a:gd name="T74" fmla="*/ 141 w 613"/>
                  <a:gd name="T75" fmla="*/ 871 h 878"/>
                  <a:gd name="T76" fmla="*/ 148 w 613"/>
                  <a:gd name="T77" fmla="*/ 811 h 878"/>
                  <a:gd name="T78" fmla="*/ 153 w 613"/>
                  <a:gd name="T79" fmla="*/ 791 h 878"/>
                  <a:gd name="T80" fmla="*/ 136 w 613"/>
                  <a:gd name="T81" fmla="*/ 774 h 878"/>
                  <a:gd name="T82" fmla="*/ 131 w 613"/>
                  <a:gd name="T83" fmla="*/ 759 h 878"/>
                  <a:gd name="T84" fmla="*/ 171 w 613"/>
                  <a:gd name="T85" fmla="*/ 707 h 878"/>
                  <a:gd name="T86" fmla="*/ 193 w 613"/>
                  <a:gd name="T87" fmla="*/ 679 h 878"/>
                  <a:gd name="T88" fmla="*/ 195 w 613"/>
                  <a:gd name="T89" fmla="*/ 682 h 878"/>
                  <a:gd name="T90" fmla="*/ 209 w 613"/>
                  <a:gd name="T91" fmla="*/ 662 h 878"/>
                  <a:gd name="T92" fmla="*/ 285 w 613"/>
                  <a:gd name="T93" fmla="*/ 586 h 878"/>
                  <a:gd name="T94" fmla="*/ 337 w 613"/>
                  <a:gd name="T95" fmla="*/ 567 h 878"/>
                  <a:gd name="T96" fmla="*/ 419 w 613"/>
                  <a:gd name="T97" fmla="*/ 577 h 878"/>
                  <a:gd name="T98" fmla="*/ 442 w 613"/>
                  <a:gd name="T99" fmla="*/ 577 h 878"/>
                  <a:gd name="T100" fmla="*/ 484 w 613"/>
                  <a:gd name="T101" fmla="*/ 574 h 878"/>
                  <a:gd name="T102" fmla="*/ 504 w 613"/>
                  <a:gd name="T103" fmla="*/ 510 h 878"/>
                  <a:gd name="T104" fmla="*/ 519 w 613"/>
                  <a:gd name="T105" fmla="*/ 483 h 878"/>
                  <a:gd name="T106" fmla="*/ 519 w 613"/>
                  <a:gd name="T107" fmla="*/ 460 h 878"/>
                  <a:gd name="T108" fmla="*/ 521 w 613"/>
                  <a:gd name="T109" fmla="*/ 448 h 878"/>
                  <a:gd name="T110" fmla="*/ 537 w 613"/>
                  <a:gd name="T111" fmla="*/ 436 h 878"/>
                  <a:gd name="T112" fmla="*/ 547 w 613"/>
                  <a:gd name="T113" fmla="*/ 390 h 878"/>
                  <a:gd name="T114" fmla="*/ 591 w 613"/>
                  <a:gd name="T115" fmla="*/ 375 h 878"/>
                  <a:gd name="T116" fmla="*/ 592 w 613"/>
                  <a:gd name="T117" fmla="*/ 327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13" h="878">
                    <a:moveTo>
                      <a:pt x="592" y="327"/>
                    </a:moveTo>
                    <a:cubicBezTo>
                      <a:pt x="588" y="314"/>
                      <a:pt x="576" y="278"/>
                      <a:pt x="571" y="252"/>
                    </a:cubicBezTo>
                    <a:cubicBezTo>
                      <a:pt x="566" y="231"/>
                      <a:pt x="572" y="211"/>
                      <a:pt x="574" y="206"/>
                    </a:cubicBezTo>
                    <a:cubicBezTo>
                      <a:pt x="574" y="205"/>
                      <a:pt x="575" y="204"/>
                      <a:pt x="575" y="204"/>
                    </a:cubicBezTo>
                    <a:cubicBezTo>
                      <a:pt x="576" y="200"/>
                      <a:pt x="574" y="160"/>
                      <a:pt x="573" y="149"/>
                    </a:cubicBezTo>
                    <a:cubicBezTo>
                      <a:pt x="573" y="147"/>
                      <a:pt x="573" y="146"/>
                      <a:pt x="573" y="146"/>
                    </a:cubicBezTo>
                    <a:cubicBezTo>
                      <a:pt x="573" y="146"/>
                      <a:pt x="569" y="120"/>
                      <a:pt x="569" y="114"/>
                    </a:cubicBezTo>
                    <a:cubicBezTo>
                      <a:pt x="569" y="112"/>
                      <a:pt x="570" y="106"/>
                      <a:pt x="572" y="97"/>
                    </a:cubicBezTo>
                    <a:cubicBezTo>
                      <a:pt x="568" y="98"/>
                      <a:pt x="565" y="98"/>
                      <a:pt x="565" y="98"/>
                    </a:cubicBezTo>
                    <a:cubicBezTo>
                      <a:pt x="583" y="74"/>
                      <a:pt x="577" y="46"/>
                      <a:pt x="577" y="46"/>
                    </a:cubicBezTo>
                    <a:cubicBezTo>
                      <a:pt x="580" y="63"/>
                      <a:pt x="567" y="80"/>
                      <a:pt x="567" y="80"/>
                    </a:cubicBezTo>
                    <a:cubicBezTo>
                      <a:pt x="569" y="70"/>
                      <a:pt x="562" y="60"/>
                      <a:pt x="553" y="52"/>
                    </a:cubicBezTo>
                    <a:cubicBezTo>
                      <a:pt x="545" y="44"/>
                      <a:pt x="536" y="39"/>
                      <a:pt x="532" y="36"/>
                    </a:cubicBezTo>
                    <a:cubicBezTo>
                      <a:pt x="524" y="31"/>
                      <a:pt x="513" y="10"/>
                      <a:pt x="512" y="16"/>
                    </a:cubicBezTo>
                    <a:cubicBezTo>
                      <a:pt x="511" y="23"/>
                      <a:pt x="492" y="40"/>
                      <a:pt x="495" y="31"/>
                    </a:cubicBezTo>
                    <a:cubicBezTo>
                      <a:pt x="497" y="22"/>
                      <a:pt x="493" y="0"/>
                      <a:pt x="487" y="7"/>
                    </a:cubicBezTo>
                    <a:cubicBezTo>
                      <a:pt x="483" y="11"/>
                      <a:pt x="473" y="30"/>
                      <a:pt x="473" y="30"/>
                    </a:cubicBezTo>
                    <a:cubicBezTo>
                      <a:pt x="471" y="46"/>
                      <a:pt x="432" y="70"/>
                      <a:pt x="407" y="86"/>
                    </a:cubicBezTo>
                    <a:cubicBezTo>
                      <a:pt x="381" y="102"/>
                      <a:pt x="352" y="103"/>
                      <a:pt x="308" y="134"/>
                    </a:cubicBezTo>
                    <a:cubicBezTo>
                      <a:pt x="264" y="164"/>
                      <a:pt x="273" y="191"/>
                      <a:pt x="273" y="191"/>
                    </a:cubicBezTo>
                    <a:cubicBezTo>
                      <a:pt x="280" y="244"/>
                      <a:pt x="273" y="268"/>
                      <a:pt x="273" y="268"/>
                    </a:cubicBezTo>
                    <a:cubicBezTo>
                      <a:pt x="232" y="343"/>
                      <a:pt x="157" y="310"/>
                      <a:pt x="168" y="310"/>
                    </a:cubicBezTo>
                    <a:cubicBezTo>
                      <a:pt x="179" y="310"/>
                      <a:pt x="189" y="288"/>
                      <a:pt x="189" y="288"/>
                    </a:cubicBezTo>
                    <a:cubicBezTo>
                      <a:pt x="144" y="310"/>
                      <a:pt x="121" y="296"/>
                      <a:pt x="135" y="292"/>
                    </a:cubicBezTo>
                    <a:cubicBezTo>
                      <a:pt x="149" y="288"/>
                      <a:pt x="165" y="275"/>
                      <a:pt x="177" y="264"/>
                    </a:cubicBezTo>
                    <a:cubicBezTo>
                      <a:pt x="189" y="254"/>
                      <a:pt x="185" y="217"/>
                      <a:pt x="183" y="224"/>
                    </a:cubicBezTo>
                    <a:cubicBezTo>
                      <a:pt x="167" y="283"/>
                      <a:pt x="121" y="283"/>
                      <a:pt x="111" y="288"/>
                    </a:cubicBezTo>
                    <a:cubicBezTo>
                      <a:pt x="100" y="294"/>
                      <a:pt x="105" y="306"/>
                      <a:pt x="101" y="347"/>
                    </a:cubicBezTo>
                    <a:cubicBezTo>
                      <a:pt x="100" y="360"/>
                      <a:pt x="84" y="404"/>
                      <a:pt x="68" y="424"/>
                    </a:cubicBezTo>
                    <a:cubicBezTo>
                      <a:pt x="52" y="444"/>
                      <a:pt x="17" y="416"/>
                      <a:pt x="23" y="431"/>
                    </a:cubicBezTo>
                    <a:cubicBezTo>
                      <a:pt x="28" y="446"/>
                      <a:pt x="59" y="439"/>
                      <a:pt x="47" y="448"/>
                    </a:cubicBezTo>
                    <a:cubicBezTo>
                      <a:pt x="35" y="458"/>
                      <a:pt x="8" y="450"/>
                      <a:pt x="8" y="450"/>
                    </a:cubicBezTo>
                    <a:cubicBezTo>
                      <a:pt x="5" y="448"/>
                      <a:pt x="3" y="446"/>
                      <a:pt x="1" y="445"/>
                    </a:cubicBezTo>
                    <a:cubicBezTo>
                      <a:pt x="0" y="445"/>
                      <a:pt x="0" y="446"/>
                      <a:pt x="0" y="447"/>
                    </a:cubicBezTo>
                    <a:cubicBezTo>
                      <a:pt x="7" y="457"/>
                      <a:pt x="15" y="468"/>
                      <a:pt x="23" y="478"/>
                    </a:cubicBezTo>
                    <a:cubicBezTo>
                      <a:pt x="56" y="519"/>
                      <a:pt x="101" y="698"/>
                      <a:pt x="105" y="720"/>
                    </a:cubicBezTo>
                    <a:cubicBezTo>
                      <a:pt x="106" y="726"/>
                      <a:pt x="109" y="738"/>
                      <a:pt x="112" y="753"/>
                    </a:cubicBezTo>
                    <a:cubicBezTo>
                      <a:pt x="123" y="801"/>
                      <a:pt x="141" y="878"/>
                      <a:pt x="141" y="871"/>
                    </a:cubicBezTo>
                    <a:cubicBezTo>
                      <a:pt x="141" y="862"/>
                      <a:pt x="137" y="826"/>
                      <a:pt x="148" y="811"/>
                    </a:cubicBezTo>
                    <a:cubicBezTo>
                      <a:pt x="159" y="796"/>
                      <a:pt x="153" y="791"/>
                      <a:pt x="153" y="791"/>
                    </a:cubicBezTo>
                    <a:cubicBezTo>
                      <a:pt x="145" y="785"/>
                      <a:pt x="139" y="779"/>
                      <a:pt x="136" y="774"/>
                    </a:cubicBezTo>
                    <a:cubicBezTo>
                      <a:pt x="130" y="765"/>
                      <a:pt x="131" y="759"/>
                      <a:pt x="131" y="759"/>
                    </a:cubicBezTo>
                    <a:cubicBezTo>
                      <a:pt x="132" y="755"/>
                      <a:pt x="153" y="728"/>
                      <a:pt x="171" y="707"/>
                    </a:cubicBezTo>
                    <a:cubicBezTo>
                      <a:pt x="183" y="692"/>
                      <a:pt x="193" y="679"/>
                      <a:pt x="193" y="679"/>
                    </a:cubicBezTo>
                    <a:cubicBezTo>
                      <a:pt x="194" y="680"/>
                      <a:pt x="194" y="681"/>
                      <a:pt x="195" y="682"/>
                    </a:cubicBezTo>
                    <a:cubicBezTo>
                      <a:pt x="203" y="670"/>
                      <a:pt x="209" y="662"/>
                      <a:pt x="209" y="662"/>
                    </a:cubicBezTo>
                    <a:cubicBezTo>
                      <a:pt x="220" y="647"/>
                      <a:pt x="285" y="586"/>
                      <a:pt x="285" y="586"/>
                    </a:cubicBezTo>
                    <a:cubicBezTo>
                      <a:pt x="313" y="554"/>
                      <a:pt x="337" y="567"/>
                      <a:pt x="337" y="567"/>
                    </a:cubicBezTo>
                    <a:cubicBezTo>
                      <a:pt x="357" y="572"/>
                      <a:pt x="389" y="576"/>
                      <a:pt x="419" y="577"/>
                    </a:cubicBezTo>
                    <a:cubicBezTo>
                      <a:pt x="427" y="577"/>
                      <a:pt x="435" y="577"/>
                      <a:pt x="442" y="577"/>
                    </a:cubicBezTo>
                    <a:cubicBezTo>
                      <a:pt x="460" y="576"/>
                      <a:pt x="475" y="576"/>
                      <a:pt x="484" y="574"/>
                    </a:cubicBezTo>
                    <a:cubicBezTo>
                      <a:pt x="509" y="566"/>
                      <a:pt x="503" y="520"/>
                      <a:pt x="504" y="510"/>
                    </a:cubicBezTo>
                    <a:cubicBezTo>
                      <a:pt x="505" y="499"/>
                      <a:pt x="519" y="483"/>
                      <a:pt x="519" y="483"/>
                    </a:cubicBezTo>
                    <a:cubicBezTo>
                      <a:pt x="531" y="482"/>
                      <a:pt x="524" y="463"/>
                      <a:pt x="519" y="460"/>
                    </a:cubicBezTo>
                    <a:cubicBezTo>
                      <a:pt x="513" y="458"/>
                      <a:pt x="513" y="450"/>
                      <a:pt x="521" y="448"/>
                    </a:cubicBezTo>
                    <a:cubicBezTo>
                      <a:pt x="529" y="447"/>
                      <a:pt x="537" y="436"/>
                      <a:pt x="537" y="436"/>
                    </a:cubicBezTo>
                    <a:cubicBezTo>
                      <a:pt x="548" y="431"/>
                      <a:pt x="544" y="395"/>
                      <a:pt x="547" y="390"/>
                    </a:cubicBezTo>
                    <a:cubicBezTo>
                      <a:pt x="549" y="384"/>
                      <a:pt x="568" y="384"/>
                      <a:pt x="591" y="375"/>
                    </a:cubicBezTo>
                    <a:cubicBezTo>
                      <a:pt x="613" y="366"/>
                      <a:pt x="596" y="340"/>
                      <a:pt x="592" y="327"/>
                    </a:cubicBezTo>
                    <a:close/>
                  </a:path>
                </a:pathLst>
              </a:custGeom>
              <a:solidFill>
                <a:srgbClr val="F4DDC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144">
                <a:extLst>
                  <a:ext uri="{FF2B5EF4-FFF2-40B4-BE49-F238E27FC236}">
                    <a16:creationId xmlns:a16="http://schemas.microsoft.com/office/drawing/2014/main" id="{142E4DF4-5124-4440-A1F2-2CCE156F05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66328" y="6010553"/>
                <a:ext cx="160997" cy="204250"/>
              </a:xfrm>
              <a:custGeom>
                <a:avLst/>
                <a:gdLst>
                  <a:gd name="T0" fmla="*/ 0 w 134"/>
                  <a:gd name="T1" fmla="*/ 21 h 170"/>
                  <a:gd name="T2" fmla="*/ 134 w 134"/>
                  <a:gd name="T3" fmla="*/ 0 h 170"/>
                  <a:gd name="T4" fmla="*/ 134 w 134"/>
                  <a:gd name="T5" fmla="*/ 34 h 170"/>
                  <a:gd name="T6" fmla="*/ 100 w 134"/>
                  <a:gd name="T7" fmla="*/ 44 h 170"/>
                  <a:gd name="T8" fmla="*/ 92 w 134"/>
                  <a:gd name="T9" fmla="*/ 170 h 170"/>
                  <a:gd name="T10" fmla="*/ 0 w 134"/>
                  <a:gd name="T11" fmla="*/ 165 h 170"/>
                  <a:gd name="T12" fmla="*/ 0 w 134"/>
                  <a:gd name="T13" fmla="*/ 2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4" h="170">
                    <a:moveTo>
                      <a:pt x="0" y="21"/>
                    </a:moveTo>
                    <a:lnTo>
                      <a:pt x="134" y="0"/>
                    </a:lnTo>
                    <a:lnTo>
                      <a:pt x="134" y="34"/>
                    </a:lnTo>
                    <a:lnTo>
                      <a:pt x="100" y="44"/>
                    </a:lnTo>
                    <a:lnTo>
                      <a:pt x="92" y="170"/>
                    </a:lnTo>
                    <a:lnTo>
                      <a:pt x="0" y="165"/>
                    </a:lnTo>
                    <a:lnTo>
                      <a:pt x="0" y="21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145">
                <a:extLst>
                  <a:ext uri="{FF2B5EF4-FFF2-40B4-BE49-F238E27FC236}">
                    <a16:creationId xmlns:a16="http://schemas.microsoft.com/office/drawing/2014/main" id="{DD52868B-E0FF-48C0-A480-9419013304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1511" y="6234350"/>
                <a:ext cx="7556818" cy="640059"/>
              </a:xfrm>
              <a:custGeom>
                <a:avLst/>
                <a:gdLst>
                  <a:gd name="T0" fmla="*/ 2830 w 3318"/>
                  <a:gd name="T1" fmla="*/ 5 h 327"/>
                  <a:gd name="T2" fmla="*/ 2744 w 3318"/>
                  <a:gd name="T3" fmla="*/ 3 h 327"/>
                  <a:gd name="T4" fmla="*/ 2681 w 3318"/>
                  <a:gd name="T5" fmla="*/ 4 h 327"/>
                  <a:gd name="T6" fmla="*/ 2736 w 3318"/>
                  <a:gd name="T7" fmla="*/ 35 h 327"/>
                  <a:gd name="T8" fmla="*/ 2798 w 3318"/>
                  <a:gd name="T9" fmla="*/ 80 h 327"/>
                  <a:gd name="T10" fmla="*/ 2534 w 3318"/>
                  <a:gd name="T11" fmla="*/ 123 h 327"/>
                  <a:gd name="T12" fmla="*/ 2224 w 3318"/>
                  <a:gd name="T13" fmla="*/ 104 h 327"/>
                  <a:gd name="T14" fmla="*/ 2214 w 3318"/>
                  <a:gd name="T15" fmla="*/ 64 h 327"/>
                  <a:gd name="T16" fmla="*/ 2280 w 3318"/>
                  <a:gd name="T17" fmla="*/ 40 h 327"/>
                  <a:gd name="T18" fmla="*/ 2343 w 3318"/>
                  <a:gd name="T19" fmla="*/ 3 h 327"/>
                  <a:gd name="T20" fmla="*/ 2262 w 3318"/>
                  <a:gd name="T21" fmla="*/ 3 h 327"/>
                  <a:gd name="T22" fmla="*/ 2234 w 3318"/>
                  <a:gd name="T23" fmla="*/ 2 h 327"/>
                  <a:gd name="T24" fmla="*/ 2236 w 3318"/>
                  <a:gd name="T25" fmla="*/ 32 h 327"/>
                  <a:gd name="T26" fmla="*/ 2200 w 3318"/>
                  <a:gd name="T27" fmla="*/ 29 h 327"/>
                  <a:gd name="T28" fmla="*/ 2194 w 3318"/>
                  <a:gd name="T29" fmla="*/ 2 h 327"/>
                  <a:gd name="T30" fmla="*/ 2192 w 3318"/>
                  <a:gd name="T31" fmla="*/ 2 h 327"/>
                  <a:gd name="T32" fmla="*/ 1975 w 3318"/>
                  <a:gd name="T33" fmla="*/ 50 h 327"/>
                  <a:gd name="T34" fmla="*/ 1987 w 3318"/>
                  <a:gd name="T35" fmla="*/ 56 h 327"/>
                  <a:gd name="T36" fmla="*/ 2080 w 3318"/>
                  <a:gd name="T37" fmla="*/ 112 h 327"/>
                  <a:gd name="T38" fmla="*/ 2092 w 3318"/>
                  <a:gd name="T39" fmla="*/ 147 h 327"/>
                  <a:gd name="T40" fmla="*/ 2056 w 3318"/>
                  <a:gd name="T41" fmla="*/ 149 h 327"/>
                  <a:gd name="T42" fmla="*/ 1979 w 3318"/>
                  <a:gd name="T43" fmla="*/ 148 h 327"/>
                  <a:gd name="T44" fmla="*/ 1955 w 3318"/>
                  <a:gd name="T45" fmla="*/ 137 h 327"/>
                  <a:gd name="T46" fmla="*/ 1935 w 3318"/>
                  <a:gd name="T47" fmla="*/ 152 h 327"/>
                  <a:gd name="T48" fmla="*/ 1582 w 3318"/>
                  <a:gd name="T49" fmla="*/ 133 h 327"/>
                  <a:gd name="T50" fmla="*/ 1507 w 3318"/>
                  <a:gd name="T51" fmla="*/ 125 h 327"/>
                  <a:gd name="T52" fmla="*/ 1478 w 3318"/>
                  <a:gd name="T53" fmla="*/ 116 h 327"/>
                  <a:gd name="T54" fmla="*/ 1472 w 3318"/>
                  <a:gd name="T55" fmla="*/ 141 h 327"/>
                  <a:gd name="T56" fmla="*/ 1346 w 3318"/>
                  <a:gd name="T57" fmla="*/ 145 h 327"/>
                  <a:gd name="T58" fmla="*/ 1171 w 3318"/>
                  <a:gd name="T59" fmla="*/ 143 h 327"/>
                  <a:gd name="T60" fmla="*/ 964 w 3318"/>
                  <a:gd name="T61" fmla="*/ 139 h 327"/>
                  <a:gd name="T62" fmla="*/ 788 w 3318"/>
                  <a:gd name="T63" fmla="*/ 136 h 327"/>
                  <a:gd name="T64" fmla="*/ 703 w 3318"/>
                  <a:gd name="T65" fmla="*/ 132 h 327"/>
                  <a:gd name="T66" fmla="*/ 644 w 3318"/>
                  <a:gd name="T67" fmla="*/ 132 h 327"/>
                  <a:gd name="T68" fmla="*/ 596 w 3318"/>
                  <a:gd name="T69" fmla="*/ 87 h 327"/>
                  <a:gd name="T70" fmla="*/ 491 w 3318"/>
                  <a:gd name="T71" fmla="*/ 131 h 327"/>
                  <a:gd name="T72" fmla="*/ 148 w 3318"/>
                  <a:gd name="T73" fmla="*/ 271 h 327"/>
                  <a:gd name="T74" fmla="*/ 0 w 3318"/>
                  <a:gd name="T75" fmla="*/ 327 h 327"/>
                  <a:gd name="T76" fmla="*/ 3317 w 3318"/>
                  <a:gd name="T77" fmla="*/ 327 h 327"/>
                  <a:gd name="T78" fmla="*/ 3318 w 3318"/>
                  <a:gd name="T79" fmla="*/ 157 h 327"/>
                  <a:gd name="T80" fmla="*/ 2830 w 3318"/>
                  <a:gd name="T81" fmla="*/ 5 h 327"/>
                  <a:gd name="connsiteX0" fmla="*/ 8529 w 11575"/>
                  <a:gd name="connsiteY0" fmla="*/ 92 h 9939"/>
                  <a:gd name="connsiteX1" fmla="*/ 8270 w 11575"/>
                  <a:gd name="connsiteY1" fmla="*/ 31 h 9939"/>
                  <a:gd name="connsiteX2" fmla="*/ 8080 w 11575"/>
                  <a:gd name="connsiteY2" fmla="*/ 61 h 9939"/>
                  <a:gd name="connsiteX3" fmla="*/ 8246 w 11575"/>
                  <a:gd name="connsiteY3" fmla="*/ 1009 h 9939"/>
                  <a:gd name="connsiteX4" fmla="*/ 8433 w 11575"/>
                  <a:gd name="connsiteY4" fmla="*/ 2385 h 9939"/>
                  <a:gd name="connsiteX5" fmla="*/ 7637 w 11575"/>
                  <a:gd name="connsiteY5" fmla="*/ 3700 h 9939"/>
                  <a:gd name="connsiteX6" fmla="*/ 6703 w 11575"/>
                  <a:gd name="connsiteY6" fmla="*/ 3119 h 9939"/>
                  <a:gd name="connsiteX7" fmla="*/ 6673 w 11575"/>
                  <a:gd name="connsiteY7" fmla="*/ 1896 h 9939"/>
                  <a:gd name="connsiteX8" fmla="*/ 6872 w 11575"/>
                  <a:gd name="connsiteY8" fmla="*/ 1162 h 9939"/>
                  <a:gd name="connsiteX9" fmla="*/ 7061 w 11575"/>
                  <a:gd name="connsiteY9" fmla="*/ 31 h 9939"/>
                  <a:gd name="connsiteX10" fmla="*/ 6817 w 11575"/>
                  <a:gd name="connsiteY10" fmla="*/ 31 h 9939"/>
                  <a:gd name="connsiteX11" fmla="*/ 6733 w 11575"/>
                  <a:gd name="connsiteY11" fmla="*/ 0 h 9939"/>
                  <a:gd name="connsiteX12" fmla="*/ 6739 w 11575"/>
                  <a:gd name="connsiteY12" fmla="*/ 918 h 9939"/>
                  <a:gd name="connsiteX13" fmla="*/ 6631 w 11575"/>
                  <a:gd name="connsiteY13" fmla="*/ 826 h 9939"/>
                  <a:gd name="connsiteX14" fmla="*/ 6612 w 11575"/>
                  <a:gd name="connsiteY14" fmla="*/ 0 h 9939"/>
                  <a:gd name="connsiteX15" fmla="*/ 6606 w 11575"/>
                  <a:gd name="connsiteY15" fmla="*/ 0 h 9939"/>
                  <a:gd name="connsiteX16" fmla="*/ 5952 w 11575"/>
                  <a:gd name="connsiteY16" fmla="*/ 1468 h 9939"/>
                  <a:gd name="connsiteX17" fmla="*/ 5989 w 11575"/>
                  <a:gd name="connsiteY17" fmla="*/ 1652 h 9939"/>
                  <a:gd name="connsiteX18" fmla="*/ 6269 w 11575"/>
                  <a:gd name="connsiteY18" fmla="*/ 3364 h 9939"/>
                  <a:gd name="connsiteX19" fmla="*/ 6305 w 11575"/>
                  <a:gd name="connsiteY19" fmla="*/ 4434 h 9939"/>
                  <a:gd name="connsiteX20" fmla="*/ 6197 w 11575"/>
                  <a:gd name="connsiteY20" fmla="*/ 4496 h 9939"/>
                  <a:gd name="connsiteX21" fmla="*/ 5964 w 11575"/>
                  <a:gd name="connsiteY21" fmla="*/ 4465 h 9939"/>
                  <a:gd name="connsiteX22" fmla="*/ 5892 w 11575"/>
                  <a:gd name="connsiteY22" fmla="*/ 4129 h 9939"/>
                  <a:gd name="connsiteX23" fmla="*/ 5832 w 11575"/>
                  <a:gd name="connsiteY23" fmla="*/ 4587 h 9939"/>
                  <a:gd name="connsiteX24" fmla="*/ 4768 w 11575"/>
                  <a:gd name="connsiteY24" fmla="*/ 4006 h 9939"/>
                  <a:gd name="connsiteX25" fmla="*/ 4542 w 11575"/>
                  <a:gd name="connsiteY25" fmla="*/ 3762 h 9939"/>
                  <a:gd name="connsiteX26" fmla="*/ 4454 w 11575"/>
                  <a:gd name="connsiteY26" fmla="*/ 3486 h 9939"/>
                  <a:gd name="connsiteX27" fmla="*/ 4436 w 11575"/>
                  <a:gd name="connsiteY27" fmla="*/ 4251 h 9939"/>
                  <a:gd name="connsiteX28" fmla="*/ 4057 w 11575"/>
                  <a:gd name="connsiteY28" fmla="*/ 4373 h 9939"/>
                  <a:gd name="connsiteX29" fmla="*/ 3529 w 11575"/>
                  <a:gd name="connsiteY29" fmla="*/ 4312 h 9939"/>
                  <a:gd name="connsiteX30" fmla="*/ 2905 w 11575"/>
                  <a:gd name="connsiteY30" fmla="*/ 4190 h 9939"/>
                  <a:gd name="connsiteX31" fmla="*/ 2375 w 11575"/>
                  <a:gd name="connsiteY31" fmla="*/ 4098 h 9939"/>
                  <a:gd name="connsiteX32" fmla="*/ 2119 w 11575"/>
                  <a:gd name="connsiteY32" fmla="*/ 3976 h 9939"/>
                  <a:gd name="connsiteX33" fmla="*/ 1941 w 11575"/>
                  <a:gd name="connsiteY33" fmla="*/ 3976 h 9939"/>
                  <a:gd name="connsiteX34" fmla="*/ 1796 w 11575"/>
                  <a:gd name="connsiteY34" fmla="*/ 2600 h 9939"/>
                  <a:gd name="connsiteX35" fmla="*/ 1480 w 11575"/>
                  <a:gd name="connsiteY35" fmla="*/ 3945 h 9939"/>
                  <a:gd name="connsiteX36" fmla="*/ 446 w 11575"/>
                  <a:gd name="connsiteY36" fmla="*/ 8226 h 9939"/>
                  <a:gd name="connsiteX37" fmla="*/ 0 w 11575"/>
                  <a:gd name="connsiteY37" fmla="*/ 9939 h 9939"/>
                  <a:gd name="connsiteX38" fmla="*/ 9997 w 11575"/>
                  <a:gd name="connsiteY38" fmla="*/ 9939 h 9939"/>
                  <a:gd name="connsiteX39" fmla="*/ 11575 w 11575"/>
                  <a:gd name="connsiteY39" fmla="*/ 9720 h 9939"/>
                  <a:gd name="connsiteX40" fmla="*/ 8529 w 11575"/>
                  <a:gd name="connsiteY40" fmla="*/ 92 h 9939"/>
                  <a:gd name="connsiteX0" fmla="*/ 7368 w 10000"/>
                  <a:gd name="connsiteY0" fmla="*/ 93 h 10000"/>
                  <a:gd name="connsiteX1" fmla="*/ 7145 w 10000"/>
                  <a:gd name="connsiteY1" fmla="*/ 31 h 10000"/>
                  <a:gd name="connsiteX2" fmla="*/ 6981 w 10000"/>
                  <a:gd name="connsiteY2" fmla="*/ 61 h 10000"/>
                  <a:gd name="connsiteX3" fmla="*/ 7124 w 10000"/>
                  <a:gd name="connsiteY3" fmla="*/ 1015 h 10000"/>
                  <a:gd name="connsiteX4" fmla="*/ 7286 w 10000"/>
                  <a:gd name="connsiteY4" fmla="*/ 2400 h 10000"/>
                  <a:gd name="connsiteX5" fmla="*/ 6598 w 10000"/>
                  <a:gd name="connsiteY5" fmla="*/ 3723 h 10000"/>
                  <a:gd name="connsiteX6" fmla="*/ 5791 w 10000"/>
                  <a:gd name="connsiteY6" fmla="*/ 3138 h 10000"/>
                  <a:gd name="connsiteX7" fmla="*/ 5765 w 10000"/>
                  <a:gd name="connsiteY7" fmla="*/ 1908 h 10000"/>
                  <a:gd name="connsiteX8" fmla="*/ 5937 w 10000"/>
                  <a:gd name="connsiteY8" fmla="*/ 1169 h 10000"/>
                  <a:gd name="connsiteX9" fmla="*/ 6100 w 10000"/>
                  <a:gd name="connsiteY9" fmla="*/ 31 h 10000"/>
                  <a:gd name="connsiteX10" fmla="*/ 5889 w 10000"/>
                  <a:gd name="connsiteY10" fmla="*/ 31 h 10000"/>
                  <a:gd name="connsiteX11" fmla="*/ 5817 w 10000"/>
                  <a:gd name="connsiteY11" fmla="*/ 0 h 10000"/>
                  <a:gd name="connsiteX12" fmla="*/ 5822 w 10000"/>
                  <a:gd name="connsiteY12" fmla="*/ 924 h 10000"/>
                  <a:gd name="connsiteX13" fmla="*/ 5729 w 10000"/>
                  <a:gd name="connsiteY13" fmla="*/ 831 h 10000"/>
                  <a:gd name="connsiteX14" fmla="*/ 5712 w 10000"/>
                  <a:gd name="connsiteY14" fmla="*/ 0 h 10000"/>
                  <a:gd name="connsiteX15" fmla="*/ 5707 w 10000"/>
                  <a:gd name="connsiteY15" fmla="*/ 0 h 10000"/>
                  <a:gd name="connsiteX16" fmla="*/ 5142 w 10000"/>
                  <a:gd name="connsiteY16" fmla="*/ 1477 h 10000"/>
                  <a:gd name="connsiteX17" fmla="*/ 5174 w 10000"/>
                  <a:gd name="connsiteY17" fmla="*/ 1662 h 10000"/>
                  <a:gd name="connsiteX18" fmla="*/ 5416 w 10000"/>
                  <a:gd name="connsiteY18" fmla="*/ 3385 h 10000"/>
                  <a:gd name="connsiteX19" fmla="*/ 5447 w 10000"/>
                  <a:gd name="connsiteY19" fmla="*/ 4461 h 10000"/>
                  <a:gd name="connsiteX20" fmla="*/ 5354 w 10000"/>
                  <a:gd name="connsiteY20" fmla="*/ 4524 h 10000"/>
                  <a:gd name="connsiteX21" fmla="*/ 5152 w 10000"/>
                  <a:gd name="connsiteY21" fmla="*/ 4492 h 10000"/>
                  <a:gd name="connsiteX22" fmla="*/ 5090 w 10000"/>
                  <a:gd name="connsiteY22" fmla="*/ 4154 h 10000"/>
                  <a:gd name="connsiteX23" fmla="*/ 5038 w 10000"/>
                  <a:gd name="connsiteY23" fmla="*/ 4615 h 10000"/>
                  <a:gd name="connsiteX24" fmla="*/ 4119 w 10000"/>
                  <a:gd name="connsiteY24" fmla="*/ 4031 h 10000"/>
                  <a:gd name="connsiteX25" fmla="*/ 3924 w 10000"/>
                  <a:gd name="connsiteY25" fmla="*/ 3785 h 10000"/>
                  <a:gd name="connsiteX26" fmla="*/ 3848 w 10000"/>
                  <a:gd name="connsiteY26" fmla="*/ 3507 h 10000"/>
                  <a:gd name="connsiteX27" fmla="*/ 3832 w 10000"/>
                  <a:gd name="connsiteY27" fmla="*/ 4277 h 10000"/>
                  <a:gd name="connsiteX28" fmla="*/ 3505 w 10000"/>
                  <a:gd name="connsiteY28" fmla="*/ 4400 h 10000"/>
                  <a:gd name="connsiteX29" fmla="*/ 3049 w 10000"/>
                  <a:gd name="connsiteY29" fmla="*/ 4338 h 10000"/>
                  <a:gd name="connsiteX30" fmla="*/ 2510 w 10000"/>
                  <a:gd name="connsiteY30" fmla="*/ 4216 h 10000"/>
                  <a:gd name="connsiteX31" fmla="*/ 2052 w 10000"/>
                  <a:gd name="connsiteY31" fmla="*/ 4123 h 10000"/>
                  <a:gd name="connsiteX32" fmla="*/ 1831 w 10000"/>
                  <a:gd name="connsiteY32" fmla="*/ 4000 h 10000"/>
                  <a:gd name="connsiteX33" fmla="*/ 1677 w 10000"/>
                  <a:gd name="connsiteY33" fmla="*/ 4000 h 10000"/>
                  <a:gd name="connsiteX34" fmla="*/ 1552 w 10000"/>
                  <a:gd name="connsiteY34" fmla="*/ 2616 h 10000"/>
                  <a:gd name="connsiteX35" fmla="*/ 1279 w 10000"/>
                  <a:gd name="connsiteY35" fmla="*/ 3969 h 10000"/>
                  <a:gd name="connsiteX36" fmla="*/ 385 w 10000"/>
                  <a:gd name="connsiteY36" fmla="*/ 8276 h 10000"/>
                  <a:gd name="connsiteX37" fmla="*/ 0 w 10000"/>
                  <a:gd name="connsiteY37" fmla="*/ 10000 h 10000"/>
                  <a:gd name="connsiteX38" fmla="*/ 8637 w 10000"/>
                  <a:gd name="connsiteY38" fmla="*/ 10000 h 10000"/>
                  <a:gd name="connsiteX39" fmla="*/ 10000 w 10000"/>
                  <a:gd name="connsiteY39" fmla="*/ 9780 h 10000"/>
                  <a:gd name="connsiteX40" fmla="*/ 7368 w 10000"/>
                  <a:gd name="connsiteY40" fmla="*/ 93 h 10000"/>
                  <a:gd name="connsiteX0" fmla="*/ 7368 w 9996"/>
                  <a:gd name="connsiteY0" fmla="*/ 93 h 10000"/>
                  <a:gd name="connsiteX1" fmla="*/ 7145 w 9996"/>
                  <a:gd name="connsiteY1" fmla="*/ 31 h 10000"/>
                  <a:gd name="connsiteX2" fmla="*/ 6981 w 9996"/>
                  <a:gd name="connsiteY2" fmla="*/ 61 h 10000"/>
                  <a:gd name="connsiteX3" fmla="*/ 7124 w 9996"/>
                  <a:gd name="connsiteY3" fmla="*/ 1015 h 10000"/>
                  <a:gd name="connsiteX4" fmla="*/ 7286 w 9996"/>
                  <a:gd name="connsiteY4" fmla="*/ 2400 h 10000"/>
                  <a:gd name="connsiteX5" fmla="*/ 6598 w 9996"/>
                  <a:gd name="connsiteY5" fmla="*/ 3723 h 10000"/>
                  <a:gd name="connsiteX6" fmla="*/ 5791 w 9996"/>
                  <a:gd name="connsiteY6" fmla="*/ 3138 h 10000"/>
                  <a:gd name="connsiteX7" fmla="*/ 5765 w 9996"/>
                  <a:gd name="connsiteY7" fmla="*/ 1908 h 10000"/>
                  <a:gd name="connsiteX8" fmla="*/ 5937 w 9996"/>
                  <a:gd name="connsiteY8" fmla="*/ 1169 h 10000"/>
                  <a:gd name="connsiteX9" fmla="*/ 6100 w 9996"/>
                  <a:gd name="connsiteY9" fmla="*/ 31 h 10000"/>
                  <a:gd name="connsiteX10" fmla="*/ 5889 w 9996"/>
                  <a:gd name="connsiteY10" fmla="*/ 31 h 10000"/>
                  <a:gd name="connsiteX11" fmla="*/ 5817 w 9996"/>
                  <a:gd name="connsiteY11" fmla="*/ 0 h 10000"/>
                  <a:gd name="connsiteX12" fmla="*/ 5822 w 9996"/>
                  <a:gd name="connsiteY12" fmla="*/ 924 h 10000"/>
                  <a:gd name="connsiteX13" fmla="*/ 5729 w 9996"/>
                  <a:gd name="connsiteY13" fmla="*/ 831 h 10000"/>
                  <a:gd name="connsiteX14" fmla="*/ 5712 w 9996"/>
                  <a:gd name="connsiteY14" fmla="*/ 0 h 10000"/>
                  <a:gd name="connsiteX15" fmla="*/ 5707 w 9996"/>
                  <a:gd name="connsiteY15" fmla="*/ 0 h 10000"/>
                  <a:gd name="connsiteX16" fmla="*/ 5142 w 9996"/>
                  <a:gd name="connsiteY16" fmla="*/ 1477 h 10000"/>
                  <a:gd name="connsiteX17" fmla="*/ 5174 w 9996"/>
                  <a:gd name="connsiteY17" fmla="*/ 1662 h 10000"/>
                  <a:gd name="connsiteX18" fmla="*/ 5416 w 9996"/>
                  <a:gd name="connsiteY18" fmla="*/ 3385 h 10000"/>
                  <a:gd name="connsiteX19" fmla="*/ 5447 w 9996"/>
                  <a:gd name="connsiteY19" fmla="*/ 4461 h 10000"/>
                  <a:gd name="connsiteX20" fmla="*/ 5354 w 9996"/>
                  <a:gd name="connsiteY20" fmla="*/ 4524 h 10000"/>
                  <a:gd name="connsiteX21" fmla="*/ 5152 w 9996"/>
                  <a:gd name="connsiteY21" fmla="*/ 4492 h 10000"/>
                  <a:gd name="connsiteX22" fmla="*/ 5090 w 9996"/>
                  <a:gd name="connsiteY22" fmla="*/ 4154 h 10000"/>
                  <a:gd name="connsiteX23" fmla="*/ 5038 w 9996"/>
                  <a:gd name="connsiteY23" fmla="*/ 4615 h 10000"/>
                  <a:gd name="connsiteX24" fmla="*/ 4119 w 9996"/>
                  <a:gd name="connsiteY24" fmla="*/ 4031 h 10000"/>
                  <a:gd name="connsiteX25" fmla="*/ 3924 w 9996"/>
                  <a:gd name="connsiteY25" fmla="*/ 3785 h 10000"/>
                  <a:gd name="connsiteX26" fmla="*/ 3848 w 9996"/>
                  <a:gd name="connsiteY26" fmla="*/ 3507 h 10000"/>
                  <a:gd name="connsiteX27" fmla="*/ 3832 w 9996"/>
                  <a:gd name="connsiteY27" fmla="*/ 4277 h 10000"/>
                  <a:gd name="connsiteX28" fmla="*/ 3505 w 9996"/>
                  <a:gd name="connsiteY28" fmla="*/ 4400 h 10000"/>
                  <a:gd name="connsiteX29" fmla="*/ 3049 w 9996"/>
                  <a:gd name="connsiteY29" fmla="*/ 4338 h 10000"/>
                  <a:gd name="connsiteX30" fmla="*/ 2510 w 9996"/>
                  <a:gd name="connsiteY30" fmla="*/ 4216 h 10000"/>
                  <a:gd name="connsiteX31" fmla="*/ 2052 w 9996"/>
                  <a:gd name="connsiteY31" fmla="*/ 4123 h 10000"/>
                  <a:gd name="connsiteX32" fmla="*/ 1831 w 9996"/>
                  <a:gd name="connsiteY32" fmla="*/ 4000 h 10000"/>
                  <a:gd name="connsiteX33" fmla="*/ 1677 w 9996"/>
                  <a:gd name="connsiteY33" fmla="*/ 4000 h 10000"/>
                  <a:gd name="connsiteX34" fmla="*/ 1552 w 9996"/>
                  <a:gd name="connsiteY34" fmla="*/ 2616 h 10000"/>
                  <a:gd name="connsiteX35" fmla="*/ 1279 w 9996"/>
                  <a:gd name="connsiteY35" fmla="*/ 3969 h 10000"/>
                  <a:gd name="connsiteX36" fmla="*/ 385 w 9996"/>
                  <a:gd name="connsiteY36" fmla="*/ 8276 h 10000"/>
                  <a:gd name="connsiteX37" fmla="*/ 0 w 9996"/>
                  <a:gd name="connsiteY37" fmla="*/ 10000 h 10000"/>
                  <a:gd name="connsiteX38" fmla="*/ 8637 w 9996"/>
                  <a:gd name="connsiteY38" fmla="*/ 10000 h 10000"/>
                  <a:gd name="connsiteX39" fmla="*/ 9996 w 9996"/>
                  <a:gd name="connsiteY39" fmla="*/ 9830 h 10000"/>
                  <a:gd name="connsiteX40" fmla="*/ 7368 w 9996"/>
                  <a:gd name="connsiteY40" fmla="*/ 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9996" h="10000">
                    <a:moveTo>
                      <a:pt x="7368" y="93"/>
                    </a:moveTo>
                    <a:cubicBezTo>
                      <a:pt x="7368" y="93"/>
                      <a:pt x="7236" y="-61"/>
                      <a:pt x="7145" y="31"/>
                    </a:cubicBezTo>
                    <a:cubicBezTo>
                      <a:pt x="7127" y="31"/>
                      <a:pt x="7067" y="31"/>
                      <a:pt x="6981" y="61"/>
                    </a:cubicBezTo>
                    <a:cubicBezTo>
                      <a:pt x="7080" y="277"/>
                      <a:pt x="7124" y="1015"/>
                      <a:pt x="7124" y="1015"/>
                    </a:cubicBezTo>
                    <a:cubicBezTo>
                      <a:pt x="7311" y="1508"/>
                      <a:pt x="7286" y="2400"/>
                      <a:pt x="7286" y="2400"/>
                    </a:cubicBezTo>
                    <a:cubicBezTo>
                      <a:pt x="7252" y="3292"/>
                      <a:pt x="6911" y="3385"/>
                      <a:pt x="6598" y="3723"/>
                    </a:cubicBezTo>
                    <a:cubicBezTo>
                      <a:pt x="6285" y="4031"/>
                      <a:pt x="5869" y="3385"/>
                      <a:pt x="5791" y="3138"/>
                    </a:cubicBezTo>
                    <a:cubicBezTo>
                      <a:pt x="5715" y="2893"/>
                      <a:pt x="5765" y="1908"/>
                      <a:pt x="5765" y="1908"/>
                    </a:cubicBezTo>
                    <a:cubicBezTo>
                      <a:pt x="5778" y="1262"/>
                      <a:pt x="5937" y="1169"/>
                      <a:pt x="5937" y="1169"/>
                    </a:cubicBezTo>
                    <a:cubicBezTo>
                      <a:pt x="5958" y="492"/>
                      <a:pt x="6028" y="185"/>
                      <a:pt x="6100" y="31"/>
                    </a:cubicBezTo>
                    <a:lnTo>
                      <a:pt x="5889" y="31"/>
                    </a:lnTo>
                    <a:cubicBezTo>
                      <a:pt x="5865" y="21"/>
                      <a:pt x="5841" y="10"/>
                      <a:pt x="5817" y="0"/>
                    </a:cubicBezTo>
                    <a:cubicBezTo>
                      <a:pt x="5817" y="400"/>
                      <a:pt x="5822" y="924"/>
                      <a:pt x="5822" y="924"/>
                    </a:cubicBezTo>
                    <a:cubicBezTo>
                      <a:pt x="5822" y="924"/>
                      <a:pt x="5744" y="1200"/>
                      <a:pt x="5729" y="831"/>
                    </a:cubicBezTo>
                    <a:cubicBezTo>
                      <a:pt x="5715" y="492"/>
                      <a:pt x="5712" y="61"/>
                      <a:pt x="5712" y="0"/>
                    </a:cubicBezTo>
                    <a:lnTo>
                      <a:pt x="5707" y="0"/>
                    </a:lnTo>
                    <a:lnTo>
                      <a:pt x="5142" y="1477"/>
                    </a:lnTo>
                    <a:cubicBezTo>
                      <a:pt x="5160" y="1570"/>
                      <a:pt x="5174" y="1662"/>
                      <a:pt x="5174" y="1662"/>
                    </a:cubicBezTo>
                    <a:cubicBezTo>
                      <a:pt x="5184" y="1692"/>
                      <a:pt x="5348" y="3015"/>
                      <a:pt x="5416" y="3385"/>
                    </a:cubicBezTo>
                    <a:cubicBezTo>
                      <a:pt x="5486" y="3754"/>
                      <a:pt x="5463" y="4216"/>
                      <a:pt x="5447" y="4461"/>
                    </a:cubicBezTo>
                    <a:cubicBezTo>
                      <a:pt x="5434" y="4708"/>
                      <a:pt x="5354" y="4524"/>
                      <a:pt x="5354" y="4524"/>
                    </a:cubicBezTo>
                    <a:cubicBezTo>
                      <a:pt x="5343" y="4769"/>
                      <a:pt x="5192" y="4615"/>
                      <a:pt x="5152" y="4492"/>
                    </a:cubicBezTo>
                    <a:cubicBezTo>
                      <a:pt x="5114" y="4370"/>
                      <a:pt x="5090" y="4031"/>
                      <a:pt x="5090" y="4154"/>
                    </a:cubicBezTo>
                    <a:cubicBezTo>
                      <a:pt x="5090" y="4277"/>
                      <a:pt x="5083" y="4461"/>
                      <a:pt x="5038" y="4615"/>
                    </a:cubicBezTo>
                    <a:cubicBezTo>
                      <a:pt x="4994" y="4769"/>
                      <a:pt x="4171" y="4092"/>
                      <a:pt x="4119" y="4031"/>
                    </a:cubicBezTo>
                    <a:cubicBezTo>
                      <a:pt x="4067" y="4000"/>
                      <a:pt x="3968" y="4031"/>
                      <a:pt x="3924" y="3785"/>
                    </a:cubicBezTo>
                    <a:cubicBezTo>
                      <a:pt x="3906" y="3693"/>
                      <a:pt x="3877" y="3600"/>
                      <a:pt x="3848" y="3507"/>
                    </a:cubicBezTo>
                    <a:cubicBezTo>
                      <a:pt x="3843" y="3846"/>
                      <a:pt x="3838" y="4123"/>
                      <a:pt x="3832" y="4277"/>
                    </a:cubicBezTo>
                    <a:cubicBezTo>
                      <a:pt x="3812" y="4862"/>
                      <a:pt x="3541" y="4461"/>
                      <a:pt x="3505" y="4400"/>
                    </a:cubicBezTo>
                    <a:cubicBezTo>
                      <a:pt x="3465" y="4370"/>
                      <a:pt x="3112" y="4338"/>
                      <a:pt x="3049" y="4338"/>
                    </a:cubicBezTo>
                    <a:cubicBezTo>
                      <a:pt x="2987" y="4338"/>
                      <a:pt x="2552" y="4246"/>
                      <a:pt x="2510" y="4216"/>
                    </a:cubicBezTo>
                    <a:cubicBezTo>
                      <a:pt x="2468" y="4154"/>
                      <a:pt x="2124" y="4154"/>
                      <a:pt x="2052" y="4123"/>
                    </a:cubicBezTo>
                    <a:cubicBezTo>
                      <a:pt x="1979" y="4092"/>
                      <a:pt x="1872" y="4031"/>
                      <a:pt x="1831" y="4000"/>
                    </a:cubicBezTo>
                    <a:cubicBezTo>
                      <a:pt x="1789" y="3969"/>
                      <a:pt x="1729" y="4031"/>
                      <a:pt x="1677" y="4000"/>
                    </a:cubicBezTo>
                    <a:cubicBezTo>
                      <a:pt x="1625" y="3969"/>
                      <a:pt x="1572" y="2769"/>
                      <a:pt x="1552" y="2616"/>
                    </a:cubicBezTo>
                    <a:cubicBezTo>
                      <a:pt x="1531" y="2431"/>
                      <a:pt x="1375" y="3507"/>
                      <a:pt x="1279" y="3969"/>
                    </a:cubicBezTo>
                    <a:cubicBezTo>
                      <a:pt x="1182" y="4400"/>
                      <a:pt x="422" y="8061"/>
                      <a:pt x="385" y="8276"/>
                    </a:cubicBezTo>
                    <a:cubicBezTo>
                      <a:pt x="352" y="8462"/>
                      <a:pt x="0" y="10000"/>
                      <a:pt x="0" y="10000"/>
                    </a:cubicBezTo>
                    <a:lnTo>
                      <a:pt x="8637" y="10000"/>
                    </a:lnTo>
                    <a:lnTo>
                      <a:pt x="9996" y="9830"/>
                    </a:lnTo>
                    <a:lnTo>
                      <a:pt x="7368" y="93"/>
                    </a:lnTo>
                    <a:close/>
                  </a:path>
                </a:pathLst>
              </a:custGeom>
              <a:solidFill>
                <a:srgbClr val="DDDDDD"/>
              </a:solidFill>
              <a:ln w="9525" cap="flat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146">
                <a:extLst>
                  <a:ext uri="{FF2B5EF4-FFF2-40B4-BE49-F238E27FC236}">
                    <a16:creationId xmlns:a16="http://schemas.microsoft.com/office/drawing/2014/main" id="{7F4984D7-94C6-4023-8C50-8DDA4D46E1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271" y="3889084"/>
                <a:ext cx="3101260" cy="2985325"/>
              </a:xfrm>
              <a:custGeom>
                <a:avLst/>
                <a:gdLst>
                  <a:gd name="T0" fmla="*/ 1574 w 1576"/>
                  <a:gd name="T1" fmla="*/ 1156 h 1527"/>
                  <a:gd name="T2" fmla="*/ 1567 w 1576"/>
                  <a:gd name="T3" fmla="*/ 1149 h 1527"/>
                  <a:gd name="T4" fmla="*/ 1548 w 1576"/>
                  <a:gd name="T5" fmla="*/ 1147 h 1527"/>
                  <a:gd name="T6" fmla="*/ 1507 w 1576"/>
                  <a:gd name="T7" fmla="*/ 1135 h 1527"/>
                  <a:gd name="T8" fmla="*/ 1381 w 1576"/>
                  <a:gd name="T9" fmla="*/ 1112 h 1527"/>
                  <a:gd name="T10" fmla="*/ 1233 w 1576"/>
                  <a:gd name="T11" fmla="*/ 1099 h 1527"/>
                  <a:gd name="T12" fmla="*/ 1202 w 1576"/>
                  <a:gd name="T13" fmla="*/ 1097 h 1527"/>
                  <a:gd name="T14" fmla="*/ 1122 w 1576"/>
                  <a:gd name="T15" fmla="*/ 1100 h 1527"/>
                  <a:gd name="T16" fmla="*/ 1062 w 1576"/>
                  <a:gd name="T17" fmla="*/ 1056 h 1527"/>
                  <a:gd name="T18" fmla="*/ 965 w 1576"/>
                  <a:gd name="T19" fmla="*/ 1055 h 1527"/>
                  <a:gd name="T20" fmla="*/ 958 w 1576"/>
                  <a:gd name="T21" fmla="*/ 1041 h 1527"/>
                  <a:gd name="T22" fmla="*/ 923 w 1576"/>
                  <a:gd name="T23" fmla="*/ 1020 h 1527"/>
                  <a:gd name="T24" fmla="*/ 922 w 1576"/>
                  <a:gd name="T25" fmla="*/ 1020 h 1527"/>
                  <a:gd name="T26" fmla="*/ 886 w 1576"/>
                  <a:gd name="T27" fmla="*/ 1040 h 1527"/>
                  <a:gd name="T28" fmla="*/ 885 w 1576"/>
                  <a:gd name="T29" fmla="*/ 1040 h 1527"/>
                  <a:gd name="T30" fmla="*/ 884 w 1576"/>
                  <a:gd name="T31" fmla="*/ 1039 h 1527"/>
                  <a:gd name="T32" fmla="*/ 874 w 1576"/>
                  <a:gd name="T33" fmla="*/ 988 h 1527"/>
                  <a:gd name="T34" fmla="*/ 851 w 1576"/>
                  <a:gd name="T35" fmla="*/ 945 h 1527"/>
                  <a:gd name="T36" fmla="*/ 853 w 1576"/>
                  <a:gd name="T37" fmla="*/ 908 h 1527"/>
                  <a:gd name="T38" fmla="*/ 855 w 1576"/>
                  <a:gd name="T39" fmla="*/ 874 h 1527"/>
                  <a:gd name="T40" fmla="*/ 856 w 1576"/>
                  <a:gd name="T41" fmla="*/ 835 h 1527"/>
                  <a:gd name="T42" fmla="*/ 837 w 1576"/>
                  <a:gd name="T43" fmla="*/ 569 h 1527"/>
                  <a:gd name="T44" fmla="*/ 781 w 1576"/>
                  <a:gd name="T45" fmla="*/ 339 h 1527"/>
                  <a:gd name="T46" fmla="*/ 779 w 1576"/>
                  <a:gd name="T47" fmla="*/ 336 h 1527"/>
                  <a:gd name="T48" fmla="*/ 757 w 1576"/>
                  <a:gd name="T49" fmla="*/ 364 h 1527"/>
                  <a:gd name="T50" fmla="*/ 717 w 1576"/>
                  <a:gd name="T51" fmla="*/ 416 h 1527"/>
                  <a:gd name="T52" fmla="*/ 722 w 1576"/>
                  <a:gd name="T53" fmla="*/ 431 h 1527"/>
                  <a:gd name="T54" fmla="*/ 739 w 1576"/>
                  <a:gd name="T55" fmla="*/ 448 h 1527"/>
                  <a:gd name="T56" fmla="*/ 734 w 1576"/>
                  <a:gd name="T57" fmla="*/ 468 h 1527"/>
                  <a:gd name="T58" fmla="*/ 727 w 1576"/>
                  <a:gd name="T59" fmla="*/ 528 h 1527"/>
                  <a:gd name="T60" fmla="*/ 698 w 1576"/>
                  <a:gd name="T61" fmla="*/ 410 h 1527"/>
                  <a:gd name="T62" fmla="*/ 691 w 1576"/>
                  <a:gd name="T63" fmla="*/ 377 h 1527"/>
                  <a:gd name="T64" fmla="*/ 609 w 1576"/>
                  <a:gd name="T65" fmla="*/ 135 h 1527"/>
                  <a:gd name="T66" fmla="*/ 586 w 1576"/>
                  <a:gd name="T67" fmla="*/ 104 h 1527"/>
                  <a:gd name="T68" fmla="*/ 583 w 1576"/>
                  <a:gd name="T69" fmla="*/ 99 h 1527"/>
                  <a:gd name="T70" fmla="*/ 539 w 1576"/>
                  <a:gd name="T71" fmla="*/ 41 h 1527"/>
                  <a:gd name="T72" fmla="*/ 535 w 1576"/>
                  <a:gd name="T73" fmla="*/ 37 h 1527"/>
                  <a:gd name="T74" fmla="*/ 504 w 1576"/>
                  <a:gd name="T75" fmla="*/ 13 h 1527"/>
                  <a:gd name="T76" fmla="*/ 473 w 1576"/>
                  <a:gd name="T77" fmla="*/ 43 h 1527"/>
                  <a:gd name="T78" fmla="*/ 426 w 1576"/>
                  <a:gd name="T79" fmla="*/ 104 h 1527"/>
                  <a:gd name="T80" fmla="*/ 433 w 1576"/>
                  <a:gd name="T81" fmla="*/ 115 h 1527"/>
                  <a:gd name="T82" fmla="*/ 333 w 1576"/>
                  <a:gd name="T83" fmla="*/ 136 h 1527"/>
                  <a:gd name="T84" fmla="*/ 134 w 1576"/>
                  <a:gd name="T85" fmla="*/ 259 h 1527"/>
                  <a:gd name="T86" fmla="*/ 1 w 1576"/>
                  <a:gd name="T87" fmla="*/ 492 h 1527"/>
                  <a:gd name="T88" fmla="*/ 0 w 1576"/>
                  <a:gd name="T89" fmla="*/ 1527 h 1527"/>
                  <a:gd name="T90" fmla="*/ 75 w 1576"/>
                  <a:gd name="T91" fmla="*/ 1527 h 1527"/>
                  <a:gd name="T92" fmla="*/ 223 w 1576"/>
                  <a:gd name="T93" fmla="*/ 1471 h 1527"/>
                  <a:gd name="T94" fmla="*/ 566 w 1576"/>
                  <a:gd name="T95" fmla="*/ 1331 h 1527"/>
                  <a:gd name="T96" fmla="*/ 671 w 1576"/>
                  <a:gd name="T97" fmla="*/ 1287 h 1527"/>
                  <a:gd name="T98" fmla="*/ 719 w 1576"/>
                  <a:gd name="T99" fmla="*/ 1332 h 1527"/>
                  <a:gd name="T100" fmla="*/ 778 w 1576"/>
                  <a:gd name="T101" fmla="*/ 1332 h 1527"/>
                  <a:gd name="T102" fmla="*/ 863 w 1576"/>
                  <a:gd name="T103" fmla="*/ 1336 h 1527"/>
                  <a:gd name="T104" fmla="*/ 1039 w 1576"/>
                  <a:gd name="T105" fmla="*/ 1339 h 1527"/>
                  <a:gd name="T106" fmla="*/ 1246 w 1576"/>
                  <a:gd name="T107" fmla="*/ 1343 h 1527"/>
                  <a:gd name="T108" fmla="*/ 1421 w 1576"/>
                  <a:gd name="T109" fmla="*/ 1345 h 1527"/>
                  <a:gd name="T110" fmla="*/ 1547 w 1576"/>
                  <a:gd name="T111" fmla="*/ 1341 h 1527"/>
                  <a:gd name="T112" fmla="*/ 1553 w 1576"/>
                  <a:gd name="T113" fmla="*/ 1316 h 1527"/>
                  <a:gd name="T114" fmla="*/ 1569 w 1576"/>
                  <a:gd name="T115" fmla="*/ 1225 h 1527"/>
                  <a:gd name="T116" fmla="*/ 1575 w 1576"/>
                  <a:gd name="T117" fmla="*/ 1191 h 1527"/>
                  <a:gd name="T118" fmla="*/ 1574 w 1576"/>
                  <a:gd name="T119" fmla="*/ 1156 h 1527"/>
                  <a:gd name="connsiteX0" fmla="*/ 9987 w 9997"/>
                  <a:gd name="connsiteY0" fmla="*/ 7498 h 9928"/>
                  <a:gd name="connsiteX1" fmla="*/ 9943 w 9997"/>
                  <a:gd name="connsiteY1" fmla="*/ 7453 h 9928"/>
                  <a:gd name="connsiteX2" fmla="*/ 9822 w 9997"/>
                  <a:gd name="connsiteY2" fmla="*/ 7439 h 9928"/>
                  <a:gd name="connsiteX3" fmla="*/ 9562 w 9997"/>
                  <a:gd name="connsiteY3" fmla="*/ 7361 h 9928"/>
                  <a:gd name="connsiteX4" fmla="*/ 8769 w 9997"/>
                  <a:gd name="connsiteY4" fmla="*/ 7192 h 9928"/>
                  <a:gd name="connsiteX5" fmla="*/ 7824 w 9997"/>
                  <a:gd name="connsiteY5" fmla="*/ 7125 h 9928"/>
                  <a:gd name="connsiteX6" fmla="*/ 7627 w 9997"/>
                  <a:gd name="connsiteY6" fmla="*/ 7112 h 9928"/>
                  <a:gd name="connsiteX7" fmla="*/ 7119 w 9997"/>
                  <a:gd name="connsiteY7" fmla="*/ 7132 h 9928"/>
                  <a:gd name="connsiteX8" fmla="*/ 6739 w 9997"/>
                  <a:gd name="connsiteY8" fmla="*/ 6844 h 9928"/>
                  <a:gd name="connsiteX9" fmla="*/ 6123 w 9997"/>
                  <a:gd name="connsiteY9" fmla="*/ 6837 h 9928"/>
                  <a:gd name="connsiteX10" fmla="*/ 6079 w 9997"/>
                  <a:gd name="connsiteY10" fmla="*/ 6745 h 9928"/>
                  <a:gd name="connsiteX11" fmla="*/ 5857 w 9997"/>
                  <a:gd name="connsiteY11" fmla="*/ 6608 h 9928"/>
                  <a:gd name="connsiteX12" fmla="*/ 5850 w 9997"/>
                  <a:gd name="connsiteY12" fmla="*/ 6608 h 9928"/>
                  <a:gd name="connsiteX13" fmla="*/ 5622 w 9997"/>
                  <a:gd name="connsiteY13" fmla="*/ 6739 h 9928"/>
                  <a:gd name="connsiteX14" fmla="*/ 5615 w 9997"/>
                  <a:gd name="connsiteY14" fmla="*/ 6739 h 9928"/>
                  <a:gd name="connsiteX15" fmla="*/ 5609 w 9997"/>
                  <a:gd name="connsiteY15" fmla="*/ 6732 h 9928"/>
                  <a:gd name="connsiteX16" fmla="*/ 5546 w 9997"/>
                  <a:gd name="connsiteY16" fmla="*/ 6398 h 9928"/>
                  <a:gd name="connsiteX17" fmla="*/ 5400 w 9997"/>
                  <a:gd name="connsiteY17" fmla="*/ 6117 h 9928"/>
                  <a:gd name="connsiteX18" fmla="*/ 5412 w 9997"/>
                  <a:gd name="connsiteY18" fmla="*/ 5874 h 9928"/>
                  <a:gd name="connsiteX19" fmla="*/ 5425 w 9997"/>
                  <a:gd name="connsiteY19" fmla="*/ 5652 h 9928"/>
                  <a:gd name="connsiteX20" fmla="*/ 5431 w 9997"/>
                  <a:gd name="connsiteY20" fmla="*/ 5396 h 9928"/>
                  <a:gd name="connsiteX21" fmla="*/ 5311 w 9997"/>
                  <a:gd name="connsiteY21" fmla="*/ 3654 h 9928"/>
                  <a:gd name="connsiteX22" fmla="*/ 4956 w 9997"/>
                  <a:gd name="connsiteY22" fmla="*/ 2148 h 9928"/>
                  <a:gd name="connsiteX23" fmla="*/ 4943 w 9997"/>
                  <a:gd name="connsiteY23" fmla="*/ 2128 h 9928"/>
                  <a:gd name="connsiteX24" fmla="*/ 4803 w 9997"/>
                  <a:gd name="connsiteY24" fmla="*/ 2312 h 9928"/>
                  <a:gd name="connsiteX25" fmla="*/ 4549 w 9997"/>
                  <a:gd name="connsiteY25" fmla="*/ 2652 h 9928"/>
                  <a:gd name="connsiteX26" fmla="*/ 4581 w 9997"/>
                  <a:gd name="connsiteY26" fmla="*/ 2751 h 9928"/>
                  <a:gd name="connsiteX27" fmla="*/ 4689 w 9997"/>
                  <a:gd name="connsiteY27" fmla="*/ 2862 h 9928"/>
                  <a:gd name="connsiteX28" fmla="*/ 4657 w 9997"/>
                  <a:gd name="connsiteY28" fmla="*/ 2993 h 9928"/>
                  <a:gd name="connsiteX29" fmla="*/ 4613 w 9997"/>
                  <a:gd name="connsiteY29" fmla="*/ 3386 h 9928"/>
                  <a:gd name="connsiteX30" fmla="*/ 4429 w 9997"/>
                  <a:gd name="connsiteY30" fmla="*/ 2613 h 9928"/>
                  <a:gd name="connsiteX31" fmla="*/ 4385 w 9997"/>
                  <a:gd name="connsiteY31" fmla="*/ 2397 h 9928"/>
                  <a:gd name="connsiteX32" fmla="*/ 3864 w 9997"/>
                  <a:gd name="connsiteY32" fmla="*/ 812 h 9928"/>
                  <a:gd name="connsiteX33" fmla="*/ 3718 w 9997"/>
                  <a:gd name="connsiteY33" fmla="*/ 609 h 9928"/>
                  <a:gd name="connsiteX34" fmla="*/ 3699 w 9997"/>
                  <a:gd name="connsiteY34" fmla="*/ 576 h 9928"/>
                  <a:gd name="connsiteX35" fmla="*/ 3420 w 9997"/>
                  <a:gd name="connsiteY35" fmla="*/ 197 h 9928"/>
                  <a:gd name="connsiteX36" fmla="*/ 3395 w 9997"/>
                  <a:gd name="connsiteY36" fmla="*/ 170 h 9928"/>
                  <a:gd name="connsiteX37" fmla="*/ 3198 w 9997"/>
                  <a:gd name="connsiteY37" fmla="*/ 13 h 9928"/>
                  <a:gd name="connsiteX38" fmla="*/ 3001 w 9997"/>
                  <a:gd name="connsiteY38" fmla="*/ 210 h 9928"/>
                  <a:gd name="connsiteX39" fmla="*/ 2703 w 9997"/>
                  <a:gd name="connsiteY39" fmla="*/ 609 h 9928"/>
                  <a:gd name="connsiteX40" fmla="*/ 2747 w 9997"/>
                  <a:gd name="connsiteY40" fmla="*/ 681 h 9928"/>
                  <a:gd name="connsiteX41" fmla="*/ 2113 w 9997"/>
                  <a:gd name="connsiteY41" fmla="*/ 819 h 9928"/>
                  <a:gd name="connsiteX42" fmla="*/ 850 w 9997"/>
                  <a:gd name="connsiteY42" fmla="*/ 1624 h 9928"/>
                  <a:gd name="connsiteX43" fmla="*/ 6 w 9997"/>
                  <a:gd name="connsiteY43" fmla="*/ 3150 h 9928"/>
                  <a:gd name="connsiteX44" fmla="*/ 0 w 9997"/>
                  <a:gd name="connsiteY44" fmla="*/ 9928 h 9928"/>
                  <a:gd name="connsiteX45" fmla="*/ 476 w 9997"/>
                  <a:gd name="connsiteY45" fmla="*/ 9928 h 9928"/>
                  <a:gd name="connsiteX46" fmla="*/ 1415 w 9997"/>
                  <a:gd name="connsiteY46" fmla="*/ 9561 h 9928"/>
                  <a:gd name="connsiteX47" fmla="*/ 3591 w 9997"/>
                  <a:gd name="connsiteY47" fmla="*/ 8644 h 9928"/>
                  <a:gd name="connsiteX48" fmla="*/ 4258 w 9997"/>
                  <a:gd name="connsiteY48" fmla="*/ 8356 h 9928"/>
                  <a:gd name="connsiteX49" fmla="*/ 4562 w 9997"/>
                  <a:gd name="connsiteY49" fmla="*/ 8651 h 9928"/>
                  <a:gd name="connsiteX50" fmla="*/ 4937 w 9997"/>
                  <a:gd name="connsiteY50" fmla="*/ 8651 h 9928"/>
                  <a:gd name="connsiteX51" fmla="*/ 5476 w 9997"/>
                  <a:gd name="connsiteY51" fmla="*/ 8677 h 9928"/>
                  <a:gd name="connsiteX52" fmla="*/ 6593 w 9997"/>
                  <a:gd name="connsiteY52" fmla="*/ 8697 h 9928"/>
                  <a:gd name="connsiteX53" fmla="*/ 7906 w 9997"/>
                  <a:gd name="connsiteY53" fmla="*/ 8723 h 9928"/>
                  <a:gd name="connsiteX54" fmla="*/ 9016 w 9997"/>
                  <a:gd name="connsiteY54" fmla="*/ 8736 h 9928"/>
                  <a:gd name="connsiteX55" fmla="*/ 9816 w 9997"/>
                  <a:gd name="connsiteY55" fmla="*/ 8710 h 9928"/>
                  <a:gd name="connsiteX56" fmla="*/ 9854 w 9997"/>
                  <a:gd name="connsiteY56" fmla="*/ 8546 h 9928"/>
                  <a:gd name="connsiteX57" fmla="*/ 9956 w 9997"/>
                  <a:gd name="connsiteY57" fmla="*/ 7950 h 9928"/>
                  <a:gd name="connsiteX58" fmla="*/ 9994 w 9997"/>
                  <a:gd name="connsiteY58" fmla="*/ 7728 h 9928"/>
                  <a:gd name="connsiteX59" fmla="*/ 9987 w 9997"/>
                  <a:gd name="connsiteY59" fmla="*/ 7498 h 9928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26 w 10000"/>
                  <a:gd name="connsiteY5" fmla="*/ 7177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27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27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44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44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19 w 10000"/>
                  <a:gd name="connsiteY17" fmla="*/ 6149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7 w 10000"/>
                  <a:gd name="connsiteY15" fmla="*/ 6739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7 w 10000"/>
                  <a:gd name="connsiteY15" fmla="*/ 6654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23 w 10000"/>
                  <a:gd name="connsiteY14" fmla="*/ 6752 h 10000"/>
                  <a:gd name="connsiteX15" fmla="*/ 5617 w 10000"/>
                  <a:gd name="connsiteY15" fmla="*/ 6654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704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162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36 w 10000"/>
                  <a:gd name="connsiteY21" fmla="*/ 3675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21 w 10000"/>
                  <a:gd name="connsiteY21" fmla="*/ 3675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0000" h="10003">
                    <a:moveTo>
                      <a:pt x="9990" y="7555"/>
                    </a:moveTo>
                    <a:cubicBezTo>
                      <a:pt x="9978" y="7523"/>
                      <a:pt x="9965" y="7510"/>
                      <a:pt x="9946" y="7510"/>
                    </a:cubicBezTo>
                    <a:cubicBezTo>
                      <a:pt x="9946" y="7510"/>
                      <a:pt x="9886" y="7514"/>
                      <a:pt x="9825" y="7496"/>
                    </a:cubicBezTo>
                    <a:cubicBezTo>
                      <a:pt x="9764" y="7478"/>
                      <a:pt x="9671" y="7439"/>
                      <a:pt x="9582" y="7399"/>
                    </a:cubicBezTo>
                    <a:cubicBezTo>
                      <a:pt x="9405" y="7307"/>
                      <a:pt x="9042" y="7242"/>
                      <a:pt x="8752" y="7205"/>
                    </a:cubicBezTo>
                    <a:cubicBezTo>
                      <a:pt x="8462" y="7168"/>
                      <a:pt x="8030" y="7180"/>
                      <a:pt x="7843" y="7174"/>
                    </a:cubicBezTo>
                    <a:cubicBezTo>
                      <a:pt x="7656" y="7168"/>
                      <a:pt x="7749" y="7165"/>
                      <a:pt x="7629" y="7167"/>
                    </a:cubicBezTo>
                    <a:cubicBezTo>
                      <a:pt x="7509" y="7169"/>
                      <a:pt x="7229" y="7206"/>
                      <a:pt x="7121" y="7187"/>
                    </a:cubicBezTo>
                    <a:cubicBezTo>
                      <a:pt x="7013" y="7167"/>
                      <a:pt x="6867" y="6923"/>
                      <a:pt x="6741" y="6897"/>
                    </a:cubicBezTo>
                    <a:cubicBezTo>
                      <a:pt x="6614" y="6869"/>
                      <a:pt x="6487" y="6765"/>
                      <a:pt x="6125" y="6890"/>
                    </a:cubicBezTo>
                    <a:cubicBezTo>
                      <a:pt x="6125" y="6890"/>
                      <a:pt x="6049" y="6903"/>
                      <a:pt x="6081" y="6797"/>
                    </a:cubicBezTo>
                    <a:cubicBezTo>
                      <a:pt x="6081" y="6797"/>
                      <a:pt x="5973" y="6652"/>
                      <a:pt x="5859" y="6659"/>
                    </a:cubicBezTo>
                    <a:lnTo>
                      <a:pt x="5852" y="6659"/>
                    </a:lnTo>
                    <a:cubicBezTo>
                      <a:pt x="5744" y="6672"/>
                      <a:pt x="5662" y="6775"/>
                      <a:pt x="5624" y="6791"/>
                    </a:cubicBezTo>
                    <a:cubicBezTo>
                      <a:pt x="5586" y="6807"/>
                      <a:pt x="5624" y="6777"/>
                      <a:pt x="5623" y="6755"/>
                    </a:cubicBezTo>
                    <a:cubicBezTo>
                      <a:pt x="5622" y="6733"/>
                      <a:pt x="5628" y="6709"/>
                      <a:pt x="5617" y="6657"/>
                    </a:cubicBezTo>
                    <a:cubicBezTo>
                      <a:pt x="5607" y="6605"/>
                      <a:pt x="5593" y="6525"/>
                      <a:pt x="5560" y="6441"/>
                    </a:cubicBezTo>
                    <a:cubicBezTo>
                      <a:pt x="5527" y="6357"/>
                      <a:pt x="5444" y="6171"/>
                      <a:pt x="5419" y="6152"/>
                    </a:cubicBezTo>
                    <a:cubicBezTo>
                      <a:pt x="5393" y="6139"/>
                      <a:pt x="5382" y="6034"/>
                      <a:pt x="5426" y="5902"/>
                    </a:cubicBezTo>
                    <a:cubicBezTo>
                      <a:pt x="5433" y="5875"/>
                      <a:pt x="5450" y="5779"/>
                      <a:pt x="5450" y="5660"/>
                    </a:cubicBezTo>
                    <a:cubicBezTo>
                      <a:pt x="5456" y="5587"/>
                      <a:pt x="5471" y="5437"/>
                      <a:pt x="5450" y="5106"/>
                    </a:cubicBezTo>
                    <a:cubicBezTo>
                      <a:pt x="5429" y="4775"/>
                      <a:pt x="5403" y="4165"/>
                      <a:pt x="5321" y="3675"/>
                    </a:cubicBezTo>
                    <a:cubicBezTo>
                      <a:pt x="5239" y="3185"/>
                      <a:pt x="5205" y="2707"/>
                      <a:pt x="4957" y="2167"/>
                    </a:cubicBezTo>
                    <a:cubicBezTo>
                      <a:pt x="4950" y="2160"/>
                      <a:pt x="4950" y="2153"/>
                      <a:pt x="4944" y="2146"/>
                    </a:cubicBezTo>
                    <a:cubicBezTo>
                      <a:pt x="4944" y="2146"/>
                      <a:pt x="4880" y="2233"/>
                      <a:pt x="4804" y="2332"/>
                    </a:cubicBezTo>
                    <a:cubicBezTo>
                      <a:pt x="4690" y="2470"/>
                      <a:pt x="4557" y="2648"/>
                      <a:pt x="4550" y="2674"/>
                    </a:cubicBezTo>
                    <a:cubicBezTo>
                      <a:pt x="4550" y="2674"/>
                      <a:pt x="4544" y="2715"/>
                      <a:pt x="4582" y="2774"/>
                    </a:cubicBezTo>
                    <a:cubicBezTo>
                      <a:pt x="4601" y="2806"/>
                      <a:pt x="4639" y="2846"/>
                      <a:pt x="4690" y="2886"/>
                    </a:cubicBezTo>
                    <a:cubicBezTo>
                      <a:pt x="4690" y="2886"/>
                      <a:pt x="4728" y="2919"/>
                      <a:pt x="4658" y="3018"/>
                    </a:cubicBezTo>
                    <a:cubicBezTo>
                      <a:pt x="4589" y="3116"/>
                      <a:pt x="4614" y="3354"/>
                      <a:pt x="4614" y="3414"/>
                    </a:cubicBezTo>
                    <a:cubicBezTo>
                      <a:pt x="4614" y="3460"/>
                      <a:pt x="4500" y="2951"/>
                      <a:pt x="4430" y="2635"/>
                    </a:cubicBezTo>
                    <a:cubicBezTo>
                      <a:pt x="4411" y="2536"/>
                      <a:pt x="4392" y="2457"/>
                      <a:pt x="4386" y="2417"/>
                    </a:cubicBezTo>
                    <a:cubicBezTo>
                      <a:pt x="4360" y="2272"/>
                      <a:pt x="4075" y="1092"/>
                      <a:pt x="3865" y="821"/>
                    </a:cubicBezTo>
                    <a:cubicBezTo>
                      <a:pt x="3814" y="755"/>
                      <a:pt x="3764" y="683"/>
                      <a:pt x="3719" y="616"/>
                    </a:cubicBezTo>
                    <a:cubicBezTo>
                      <a:pt x="3713" y="603"/>
                      <a:pt x="3707" y="596"/>
                      <a:pt x="3700" y="583"/>
                    </a:cubicBezTo>
                    <a:cubicBezTo>
                      <a:pt x="3622" y="325"/>
                      <a:pt x="3453" y="313"/>
                      <a:pt x="3421" y="201"/>
                    </a:cubicBezTo>
                    <a:cubicBezTo>
                      <a:pt x="3415" y="194"/>
                      <a:pt x="3402" y="181"/>
                      <a:pt x="3396" y="174"/>
                    </a:cubicBezTo>
                    <a:cubicBezTo>
                      <a:pt x="3332" y="115"/>
                      <a:pt x="3269" y="12"/>
                      <a:pt x="3199" y="16"/>
                    </a:cubicBezTo>
                    <a:cubicBezTo>
                      <a:pt x="3129" y="20"/>
                      <a:pt x="3056" y="-88"/>
                      <a:pt x="2973" y="197"/>
                    </a:cubicBezTo>
                    <a:cubicBezTo>
                      <a:pt x="2884" y="474"/>
                      <a:pt x="2724" y="534"/>
                      <a:pt x="2687" y="616"/>
                    </a:cubicBezTo>
                    <a:cubicBezTo>
                      <a:pt x="2650" y="698"/>
                      <a:pt x="2843" y="654"/>
                      <a:pt x="2748" y="689"/>
                    </a:cubicBezTo>
                    <a:cubicBezTo>
                      <a:pt x="2653" y="724"/>
                      <a:pt x="2571" y="755"/>
                      <a:pt x="2114" y="828"/>
                    </a:cubicBezTo>
                    <a:cubicBezTo>
                      <a:pt x="1656" y="900"/>
                      <a:pt x="1079" y="1356"/>
                      <a:pt x="850" y="1639"/>
                    </a:cubicBezTo>
                    <a:cubicBezTo>
                      <a:pt x="622" y="1916"/>
                      <a:pt x="6" y="3176"/>
                      <a:pt x="6" y="3176"/>
                    </a:cubicBezTo>
                    <a:cubicBezTo>
                      <a:pt x="4" y="5452"/>
                      <a:pt x="2" y="7727"/>
                      <a:pt x="0" y="10003"/>
                    </a:cubicBezTo>
                    <a:lnTo>
                      <a:pt x="476" y="10003"/>
                    </a:lnTo>
                    <a:lnTo>
                      <a:pt x="1415" y="9633"/>
                    </a:lnTo>
                    <a:cubicBezTo>
                      <a:pt x="1504" y="9587"/>
                      <a:pt x="3358" y="8802"/>
                      <a:pt x="3592" y="8710"/>
                    </a:cubicBezTo>
                    <a:cubicBezTo>
                      <a:pt x="3827" y="8611"/>
                      <a:pt x="4208" y="8380"/>
                      <a:pt x="4259" y="8420"/>
                    </a:cubicBezTo>
                    <a:cubicBezTo>
                      <a:pt x="4309" y="8453"/>
                      <a:pt x="4436" y="8710"/>
                      <a:pt x="4563" y="8717"/>
                    </a:cubicBezTo>
                    <a:cubicBezTo>
                      <a:pt x="4690" y="8724"/>
                      <a:pt x="4836" y="8710"/>
                      <a:pt x="4938" y="8717"/>
                    </a:cubicBezTo>
                    <a:cubicBezTo>
                      <a:pt x="5040" y="8724"/>
                      <a:pt x="5300" y="8737"/>
                      <a:pt x="5478" y="8743"/>
                    </a:cubicBezTo>
                    <a:cubicBezTo>
                      <a:pt x="5656" y="8750"/>
                      <a:pt x="6493" y="8750"/>
                      <a:pt x="6595" y="8763"/>
                    </a:cubicBezTo>
                    <a:cubicBezTo>
                      <a:pt x="6696" y="8769"/>
                      <a:pt x="7756" y="8789"/>
                      <a:pt x="7908" y="8789"/>
                    </a:cubicBezTo>
                    <a:cubicBezTo>
                      <a:pt x="8060" y="8789"/>
                      <a:pt x="8924" y="8796"/>
                      <a:pt x="9019" y="8802"/>
                    </a:cubicBezTo>
                    <a:cubicBezTo>
                      <a:pt x="9108" y="8815"/>
                      <a:pt x="9768" y="8901"/>
                      <a:pt x="9819" y="8776"/>
                    </a:cubicBezTo>
                    <a:cubicBezTo>
                      <a:pt x="9832" y="8743"/>
                      <a:pt x="9844" y="8683"/>
                      <a:pt x="9857" y="8611"/>
                    </a:cubicBezTo>
                    <a:cubicBezTo>
                      <a:pt x="9889" y="8400"/>
                      <a:pt x="9921" y="8083"/>
                      <a:pt x="9959" y="8011"/>
                    </a:cubicBezTo>
                    <a:cubicBezTo>
                      <a:pt x="9978" y="7971"/>
                      <a:pt x="9990" y="7886"/>
                      <a:pt x="9997" y="7787"/>
                    </a:cubicBezTo>
                    <a:cubicBezTo>
                      <a:pt x="10003" y="7700"/>
                      <a:pt x="10003" y="7609"/>
                      <a:pt x="9990" y="7555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147">
                <a:extLst>
                  <a:ext uri="{FF2B5EF4-FFF2-40B4-BE49-F238E27FC236}">
                    <a16:creationId xmlns:a16="http://schemas.microsoft.com/office/drawing/2014/main" id="{9B9359E8-9E61-4361-A6DB-28750C62F5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8375" y="6035784"/>
                <a:ext cx="1239915" cy="295561"/>
              </a:xfrm>
              <a:custGeom>
                <a:avLst/>
                <a:gdLst>
                  <a:gd name="T0" fmla="*/ 628 w 630"/>
                  <a:gd name="T1" fmla="*/ 28 h 150"/>
                  <a:gd name="T2" fmla="*/ 590 w 630"/>
                  <a:gd name="T3" fmla="*/ 33 h 150"/>
                  <a:gd name="T4" fmla="*/ 515 w 630"/>
                  <a:gd name="T5" fmla="*/ 5 h 150"/>
                  <a:gd name="T6" fmla="*/ 501 w 630"/>
                  <a:gd name="T7" fmla="*/ 11 h 150"/>
                  <a:gd name="T8" fmla="*/ 486 w 630"/>
                  <a:gd name="T9" fmla="*/ 0 h 150"/>
                  <a:gd name="T10" fmla="*/ 417 w 630"/>
                  <a:gd name="T11" fmla="*/ 11 h 150"/>
                  <a:gd name="T12" fmla="*/ 362 w 630"/>
                  <a:gd name="T13" fmla="*/ 19 h 150"/>
                  <a:gd name="T14" fmla="*/ 296 w 630"/>
                  <a:gd name="T15" fmla="*/ 29 h 150"/>
                  <a:gd name="T16" fmla="*/ 218 w 630"/>
                  <a:gd name="T17" fmla="*/ 40 h 150"/>
                  <a:gd name="T18" fmla="*/ 160 w 630"/>
                  <a:gd name="T19" fmla="*/ 49 h 150"/>
                  <a:gd name="T20" fmla="*/ 102 w 630"/>
                  <a:gd name="T21" fmla="*/ 60 h 150"/>
                  <a:gd name="T22" fmla="*/ 34 w 630"/>
                  <a:gd name="T23" fmla="*/ 72 h 150"/>
                  <a:gd name="T24" fmla="*/ 0 w 630"/>
                  <a:gd name="T25" fmla="*/ 80 h 150"/>
                  <a:gd name="T26" fmla="*/ 61 w 630"/>
                  <a:gd name="T27" fmla="*/ 89 h 150"/>
                  <a:gd name="T28" fmla="*/ 133 w 630"/>
                  <a:gd name="T29" fmla="*/ 96 h 150"/>
                  <a:gd name="T30" fmla="*/ 145 w 630"/>
                  <a:gd name="T31" fmla="*/ 101 h 150"/>
                  <a:gd name="T32" fmla="*/ 221 w 630"/>
                  <a:gd name="T33" fmla="*/ 128 h 150"/>
                  <a:gd name="T34" fmla="*/ 285 w 630"/>
                  <a:gd name="T35" fmla="*/ 150 h 150"/>
                  <a:gd name="T36" fmla="*/ 502 w 630"/>
                  <a:gd name="T37" fmla="*/ 102 h 150"/>
                  <a:gd name="T38" fmla="*/ 504 w 630"/>
                  <a:gd name="T39" fmla="*/ 101 h 150"/>
                  <a:gd name="T40" fmla="*/ 504 w 630"/>
                  <a:gd name="T41" fmla="*/ 102 h 150"/>
                  <a:gd name="T42" fmla="*/ 510 w 630"/>
                  <a:gd name="T43" fmla="*/ 129 h 150"/>
                  <a:gd name="T44" fmla="*/ 546 w 630"/>
                  <a:gd name="T45" fmla="*/ 132 h 150"/>
                  <a:gd name="T46" fmla="*/ 544 w 630"/>
                  <a:gd name="T47" fmla="*/ 102 h 150"/>
                  <a:gd name="T48" fmla="*/ 548 w 630"/>
                  <a:gd name="T49" fmla="*/ 88 h 150"/>
                  <a:gd name="T50" fmla="*/ 565 w 630"/>
                  <a:gd name="T51" fmla="*/ 80 h 150"/>
                  <a:gd name="T52" fmla="*/ 570 w 630"/>
                  <a:gd name="T53" fmla="*/ 48 h 150"/>
                  <a:gd name="T54" fmla="*/ 630 w 630"/>
                  <a:gd name="T55" fmla="*/ 35 h 150"/>
                  <a:gd name="T56" fmla="*/ 628 w 630"/>
                  <a:gd name="T57" fmla="*/ 2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150">
                    <a:moveTo>
                      <a:pt x="628" y="28"/>
                    </a:moveTo>
                    <a:cubicBezTo>
                      <a:pt x="590" y="33"/>
                      <a:pt x="590" y="33"/>
                      <a:pt x="590" y="33"/>
                    </a:cubicBezTo>
                    <a:cubicBezTo>
                      <a:pt x="515" y="5"/>
                      <a:pt x="515" y="5"/>
                      <a:pt x="515" y="5"/>
                    </a:cubicBezTo>
                    <a:cubicBezTo>
                      <a:pt x="509" y="8"/>
                      <a:pt x="504" y="11"/>
                      <a:pt x="501" y="11"/>
                    </a:cubicBezTo>
                    <a:cubicBezTo>
                      <a:pt x="494" y="11"/>
                      <a:pt x="486" y="0"/>
                      <a:pt x="486" y="0"/>
                    </a:cubicBezTo>
                    <a:cubicBezTo>
                      <a:pt x="417" y="11"/>
                      <a:pt x="417" y="11"/>
                      <a:pt x="417" y="11"/>
                    </a:cubicBezTo>
                    <a:cubicBezTo>
                      <a:pt x="362" y="19"/>
                      <a:pt x="362" y="19"/>
                      <a:pt x="362" y="19"/>
                    </a:cubicBezTo>
                    <a:cubicBezTo>
                      <a:pt x="357" y="17"/>
                      <a:pt x="296" y="29"/>
                      <a:pt x="296" y="29"/>
                    </a:cubicBezTo>
                    <a:cubicBezTo>
                      <a:pt x="296" y="29"/>
                      <a:pt x="226" y="39"/>
                      <a:pt x="218" y="40"/>
                    </a:cubicBezTo>
                    <a:cubicBezTo>
                      <a:pt x="210" y="41"/>
                      <a:pt x="166" y="48"/>
                      <a:pt x="160" y="49"/>
                    </a:cubicBezTo>
                    <a:cubicBezTo>
                      <a:pt x="153" y="51"/>
                      <a:pt x="112" y="60"/>
                      <a:pt x="102" y="60"/>
                    </a:cubicBezTo>
                    <a:cubicBezTo>
                      <a:pt x="93" y="60"/>
                      <a:pt x="77" y="67"/>
                      <a:pt x="34" y="72"/>
                    </a:cubicBezTo>
                    <a:cubicBezTo>
                      <a:pt x="19" y="74"/>
                      <a:pt x="8" y="77"/>
                      <a:pt x="0" y="80"/>
                    </a:cubicBezTo>
                    <a:cubicBezTo>
                      <a:pt x="31" y="85"/>
                      <a:pt x="54" y="88"/>
                      <a:pt x="61" y="89"/>
                    </a:cubicBezTo>
                    <a:cubicBezTo>
                      <a:pt x="81" y="91"/>
                      <a:pt x="113" y="90"/>
                      <a:pt x="133" y="96"/>
                    </a:cubicBezTo>
                    <a:cubicBezTo>
                      <a:pt x="138" y="97"/>
                      <a:pt x="142" y="99"/>
                      <a:pt x="145" y="101"/>
                    </a:cubicBezTo>
                    <a:cubicBezTo>
                      <a:pt x="162" y="113"/>
                      <a:pt x="188" y="124"/>
                      <a:pt x="221" y="128"/>
                    </a:cubicBezTo>
                    <a:cubicBezTo>
                      <a:pt x="243" y="131"/>
                      <a:pt x="270" y="142"/>
                      <a:pt x="285" y="150"/>
                    </a:cubicBezTo>
                    <a:cubicBezTo>
                      <a:pt x="502" y="102"/>
                      <a:pt x="502" y="102"/>
                      <a:pt x="502" y="102"/>
                    </a:cubicBezTo>
                    <a:cubicBezTo>
                      <a:pt x="504" y="101"/>
                      <a:pt x="504" y="101"/>
                      <a:pt x="504" y="101"/>
                    </a:cubicBezTo>
                    <a:cubicBezTo>
                      <a:pt x="504" y="101"/>
                      <a:pt x="504" y="101"/>
                      <a:pt x="504" y="102"/>
                    </a:cubicBezTo>
                    <a:cubicBezTo>
                      <a:pt x="504" y="104"/>
                      <a:pt x="505" y="118"/>
                      <a:pt x="510" y="129"/>
                    </a:cubicBezTo>
                    <a:cubicBezTo>
                      <a:pt x="516" y="141"/>
                      <a:pt x="546" y="132"/>
                      <a:pt x="546" y="132"/>
                    </a:cubicBezTo>
                    <a:cubicBezTo>
                      <a:pt x="546" y="132"/>
                      <a:pt x="544" y="115"/>
                      <a:pt x="544" y="102"/>
                    </a:cubicBezTo>
                    <a:cubicBezTo>
                      <a:pt x="544" y="94"/>
                      <a:pt x="545" y="88"/>
                      <a:pt x="548" y="88"/>
                    </a:cubicBezTo>
                    <a:cubicBezTo>
                      <a:pt x="554" y="88"/>
                      <a:pt x="565" y="80"/>
                      <a:pt x="565" y="80"/>
                    </a:cubicBezTo>
                    <a:cubicBezTo>
                      <a:pt x="570" y="80"/>
                      <a:pt x="570" y="48"/>
                      <a:pt x="570" y="48"/>
                    </a:cubicBezTo>
                    <a:cubicBezTo>
                      <a:pt x="630" y="35"/>
                      <a:pt x="630" y="35"/>
                      <a:pt x="630" y="35"/>
                    </a:cubicBezTo>
                    <a:cubicBezTo>
                      <a:pt x="630" y="32"/>
                      <a:pt x="629" y="30"/>
                      <a:pt x="628" y="28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148">
                <a:extLst>
                  <a:ext uri="{FF2B5EF4-FFF2-40B4-BE49-F238E27FC236}">
                    <a16:creationId xmlns:a16="http://schemas.microsoft.com/office/drawing/2014/main" id="{712AD00B-B4AA-4135-880F-B0D6339BC6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0264" y="6143916"/>
                <a:ext cx="1238713" cy="396485"/>
              </a:xfrm>
              <a:custGeom>
                <a:avLst/>
                <a:gdLst>
                  <a:gd name="T0" fmla="*/ 602 w 629"/>
                  <a:gd name="T1" fmla="*/ 156 h 201"/>
                  <a:gd name="T2" fmla="*/ 509 w 629"/>
                  <a:gd name="T3" fmla="*/ 100 h 201"/>
                  <a:gd name="T4" fmla="*/ 497 w 629"/>
                  <a:gd name="T5" fmla="*/ 94 h 201"/>
                  <a:gd name="T6" fmla="*/ 433 w 629"/>
                  <a:gd name="T7" fmla="*/ 72 h 201"/>
                  <a:gd name="T8" fmla="*/ 357 w 629"/>
                  <a:gd name="T9" fmla="*/ 45 h 201"/>
                  <a:gd name="T10" fmla="*/ 345 w 629"/>
                  <a:gd name="T11" fmla="*/ 40 h 201"/>
                  <a:gd name="T12" fmla="*/ 273 w 629"/>
                  <a:gd name="T13" fmla="*/ 33 h 201"/>
                  <a:gd name="T14" fmla="*/ 212 w 629"/>
                  <a:gd name="T15" fmla="*/ 24 h 201"/>
                  <a:gd name="T16" fmla="*/ 21 w 629"/>
                  <a:gd name="T17" fmla="*/ 0 h 201"/>
                  <a:gd name="T18" fmla="*/ 22 w 629"/>
                  <a:gd name="T19" fmla="*/ 35 h 201"/>
                  <a:gd name="T20" fmla="*/ 16 w 629"/>
                  <a:gd name="T21" fmla="*/ 69 h 201"/>
                  <a:gd name="T22" fmla="*/ 0 w 629"/>
                  <a:gd name="T23" fmla="*/ 160 h 201"/>
                  <a:gd name="T24" fmla="*/ 29 w 629"/>
                  <a:gd name="T25" fmla="*/ 169 h 201"/>
                  <a:gd name="T26" fmla="*/ 104 w 629"/>
                  <a:gd name="T27" fmla="*/ 177 h 201"/>
                  <a:gd name="T28" fmla="*/ 457 w 629"/>
                  <a:gd name="T29" fmla="*/ 196 h 201"/>
                  <a:gd name="T30" fmla="*/ 477 w 629"/>
                  <a:gd name="T31" fmla="*/ 181 h 201"/>
                  <a:gd name="T32" fmla="*/ 501 w 629"/>
                  <a:gd name="T33" fmla="*/ 192 h 201"/>
                  <a:gd name="T34" fmla="*/ 578 w 629"/>
                  <a:gd name="T35" fmla="*/ 193 h 201"/>
                  <a:gd name="T36" fmla="*/ 614 w 629"/>
                  <a:gd name="T37" fmla="*/ 191 h 201"/>
                  <a:gd name="T38" fmla="*/ 602 w 629"/>
                  <a:gd name="T39" fmla="*/ 15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29" h="201">
                    <a:moveTo>
                      <a:pt x="602" y="156"/>
                    </a:moveTo>
                    <a:cubicBezTo>
                      <a:pt x="576" y="144"/>
                      <a:pt x="513" y="101"/>
                      <a:pt x="509" y="100"/>
                    </a:cubicBezTo>
                    <a:cubicBezTo>
                      <a:pt x="509" y="100"/>
                      <a:pt x="504" y="97"/>
                      <a:pt x="497" y="94"/>
                    </a:cubicBezTo>
                    <a:cubicBezTo>
                      <a:pt x="482" y="86"/>
                      <a:pt x="455" y="75"/>
                      <a:pt x="433" y="72"/>
                    </a:cubicBezTo>
                    <a:cubicBezTo>
                      <a:pt x="400" y="68"/>
                      <a:pt x="374" y="57"/>
                      <a:pt x="357" y="45"/>
                    </a:cubicBezTo>
                    <a:cubicBezTo>
                      <a:pt x="354" y="43"/>
                      <a:pt x="350" y="41"/>
                      <a:pt x="345" y="40"/>
                    </a:cubicBezTo>
                    <a:cubicBezTo>
                      <a:pt x="325" y="34"/>
                      <a:pt x="293" y="35"/>
                      <a:pt x="273" y="33"/>
                    </a:cubicBezTo>
                    <a:cubicBezTo>
                      <a:pt x="266" y="32"/>
                      <a:pt x="243" y="29"/>
                      <a:pt x="212" y="24"/>
                    </a:cubicBezTo>
                    <a:cubicBezTo>
                      <a:pt x="152" y="15"/>
                      <a:pt x="63" y="2"/>
                      <a:pt x="21" y="0"/>
                    </a:cubicBezTo>
                    <a:cubicBezTo>
                      <a:pt x="23" y="8"/>
                      <a:pt x="23" y="22"/>
                      <a:pt x="22" y="35"/>
                    </a:cubicBezTo>
                    <a:cubicBezTo>
                      <a:pt x="21" y="50"/>
                      <a:pt x="19" y="63"/>
                      <a:pt x="16" y="69"/>
                    </a:cubicBezTo>
                    <a:cubicBezTo>
                      <a:pt x="10" y="80"/>
                      <a:pt x="5" y="128"/>
                      <a:pt x="0" y="160"/>
                    </a:cubicBezTo>
                    <a:cubicBezTo>
                      <a:pt x="11" y="163"/>
                      <a:pt x="22" y="166"/>
                      <a:pt x="29" y="169"/>
                    </a:cubicBezTo>
                    <a:cubicBezTo>
                      <a:pt x="46" y="177"/>
                      <a:pt x="84" y="176"/>
                      <a:pt x="104" y="177"/>
                    </a:cubicBezTo>
                    <a:cubicBezTo>
                      <a:pt x="124" y="179"/>
                      <a:pt x="440" y="201"/>
                      <a:pt x="457" y="196"/>
                    </a:cubicBezTo>
                    <a:cubicBezTo>
                      <a:pt x="474" y="191"/>
                      <a:pt x="477" y="185"/>
                      <a:pt x="477" y="181"/>
                    </a:cubicBezTo>
                    <a:cubicBezTo>
                      <a:pt x="477" y="177"/>
                      <a:pt x="486" y="188"/>
                      <a:pt x="501" y="192"/>
                    </a:cubicBezTo>
                    <a:cubicBezTo>
                      <a:pt x="516" y="196"/>
                      <a:pt x="574" y="201"/>
                      <a:pt x="578" y="193"/>
                    </a:cubicBezTo>
                    <a:cubicBezTo>
                      <a:pt x="578" y="193"/>
                      <a:pt x="609" y="199"/>
                      <a:pt x="614" y="191"/>
                    </a:cubicBezTo>
                    <a:cubicBezTo>
                      <a:pt x="620" y="183"/>
                      <a:pt x="629" y="168"/>
                      <a:pt x="602" y="156"/>
                    </a:cubicBezTo>
                    <a:close/>
                  </a:path>
                </a:pathLst>
              </a:custGeom>
              <a:solidFill>
                <a:srgbClr val="F4DDC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149">
                <a:extLst>
                  <a:ext uri="{FF2B5EF4-FFF2-40B4-BE49-F238E27FC236}">
                    <a16:creationId xmlns:a16="http://schemas.microsoft.com/office/drawing/2014/main" id="{695F85A5-67DE-4124-B87F-6C54FDCC71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1990" y="3559558"/>
                <a:ext cx="1489821" cy="2932784"/>
              </a:xfrm>
              <a:custGeom>
                <a:avLst/>
                <a:gdLst>
                  <a:gd name="T0" fmla="*/ 541 w 757"/>
                  <a:gd name="T1" fmla="*/ 1392 h 1490"/>
                  <a:gd name="T2" fmla="*/ 486 w 757"/>
                  <a:gd name="T3" fmla="*/ 1361 h 1490"/>
                  <a:gd name="T4" fmla="*/ 480 w 757"/>
                  <a:gd name="T5" fmla="*/ 1360 h 1490"/>
                  <a:gd name="T6" fmla="*/ 440 w 757"/>
                  <a:gd name="T7" fmla="*/ 1354 h 1490"/>
                  <a:gd name="T8" fmla="*/ 440 w 757"/>
                  <a:gd name="T9" fmla="*/ 1242 h 1490"/>
                  <a:gd name="T10" fmla="*/ 467 w 757"/>
                  <a:gd name="T11" fmla="*/ 1178 h 1490"/>
                  <a:gd name="T12" fmla="*/ 597 w 757"/>
                  <a:gd name="T13" fmla="*/ 794 h 1490"/>
                  <a:gd name="T14" fmla="*/ 739 w 757"/>
                  <a:gd name="T15" fmla="*/ 237 h 1490"/>
                  <a:gd name="T16" fmla="*/ 475 w 757"/>
                  <a:gd name="T17" fmla="*/ 26 h 1490"/>
                  <a:gd name="T18" fmla="*/ 392 w 757"/>
                  <a:gd name="T19" fmla="*/ 0 h 1490"/>
                  <a:gd name="T20" fmla="*/ 0 w 757"/>
                  <a:gd name="T21" fmla="*/ 1258 h 1490"/>
                  <a:gd name="T22" fmla="*/ 10 w 757"/>
                  <a:gd name="T23" fmla="*/ 1262 h 1490"/>
                  <a:gd name="T24" fmla="*/ 85 w 757"/>
                  <a:gd name="T25" fmla="*/ 1290 h 1490"/>
                  <a:gd name="T26" fmla="*/ 123 w 757"/>
                  <a:gd name="T27" fmla="*/ 1285 h 1490"/>
                  <a:gd name="T28" fmla="*/ 179 w 757"/>
                  <a:gd name="T29" fmla="*/ 1277 h 1490"/>
                  <a:gd name="T30" fmla="*/ 245 w 757"/>
                  <a:gd name="T31" fmla="*/ 1269 h 1490"/>
                  <a:gd name="T32" fmla="*/ 248 w 757"/>
                  <a:gd name="T33" fmla="*/ 1296 h 1490"/>
                  <a:gd name="T34" fmla="*/ 221 w 757"/>
                  <a:gd name="T35" fmla="*/ 1304 h 1490"/>
                  <a:gd name="T36" fmla="*/ 213 w 757"/>
                  <a:gd name="T37" fmla="*/ 1357 h 1490"/>
                  <a:gd name="T38" fmla="*/ 148 w 757"/>
                  <a:gd name="T39" fmla="*/ 1360 h 1490"/>
                  <a:gd name="T40" fmla="*/ 85 w 757"/>
                  <a:gd name="T41" fmla="*/ 1397 h 1490"/>
                  <a:gd name="T42" fmla="*/ 19 w 757"/>
                  <a:gd name="T43" fmla="*/ 1421 h 1490"/>
                  <a:gd name="T44" fmla="*/ 29 w 757"/>
                  <a:gd name="T45" fmla="*/ 1461 h 1490"/>
                  <a:gd name="T46" fmla="*/ 339 w 757"/>
                  <a:gd name="T47" fmla="*/ 1480 h 1490"/>
                  <a:gd name="T48" fmla="*/ 603 w 757"/>
                  <a:gd name="T49" fmla="*/ 1437 h 1490"/>
                  <a:gd name="T50" fmla="*/ 541 w 757"/>
                  <a:gd name="T51" fmla="*/ 1392 h 1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57" h="1490">
                    <a:moveTo>
                      <a:pt x="541" y="1392"/>
                    </a:moveTo>
                    <a:cubicBezTo>
                      <a:pt x="541" y="1392"/>
                      <a:pt x="524" y="1368"/>
                      <a:pt x="486" y="1361"/>
                    </a:cubicBezTo>
                    <a:cubicBezTo>
                      <a:pt x="484" y="1360"/>
                      <a:pt x="482" y="1360"/>
                      <a:pt x="480" y="1360"/>
                    </a:cubicBezTo>
                    <a:cubicBezTo>
                      <a:pt x="440" y="1354"/>
                      <a:pt x="440" y="1354"/>
                      <a:pt x="440" y="1354"/>
                    </a:cubicBezTo>
                    <a:cubicBezTo>
                      <a:pt x="440" y="1242"/>
                      <a:pt x="440" y="1242"/>
                      <a:pt x="440" y="1242"/>
                    </a:cubicBezTo>
                    <a:cubicBezTo>
                      <a:pt x="440" y="1242"/>
                      <a:pt x="453" y="1245"/>
                      <a:pt x="467" y="1178"/>
                    </a:cubicBezTo>
                    <a:cubicBezTo>
                      <a:pt x="480" y="1112"/>
                      <a:pt x="597" y="794"/>
                      <a:pt x="597" y="794"/>
                    </a:cubicBezTo>
                    <a:cubicBezTo>
                      <a:pt x="597" y="794"/>
                      <a:pt x="757" y="306"/>
                      <a:pt x="739" y="237"/>
                    </a:cubicBezTo>
                    <a:cubicBezTo>
                      <a:pt x="739" y="237"/>
                      <a:pt x="485" y="34"/>
                      <a:pt x="475" y="26"/>
                    </a:cubicBezTo>
                    <a:cubicBezTo>
                      <a:pt x="464" y="18"/>
                      <a:pt x="392" y="0"/>
                      <a:pt x="392" y="0"/>
                    </a:cubicBezTo>
                    <a:cubicBezTo>
                      <a:pt x="0" y="1258"/>
                      <a:pt x="0" y="1258"/>
                      <a:pt x="0" y="1258"/>
                    </a:cubicBezTo>
                    <a:cubicBezTo>
                      <a:pt x="10" y="1262"/>
                      <a:pt x="10" y="1262"/>
                      <a:pt x="10" y="1262"/>
                    </a:cubicBezTo>
                    <a:cubicBezTo>
                      <a:pt x="85" y="1290"/>
                      <a:pt x="85" y="1290"/>
                      <a:pt x="85" y="1290"/>
                    </a:cubicBezTo>
                    <a:cubicBezTo>
                      <a:pt x="123" y="1285"/>
                      <a:pt x="123" y="1285"/>
                      <a:pt x="123" y="1285"/>
                    </a:cubicBezTo>
                    <a:cubicBezTo>
                      <a:pt x="179" y="1277"/>
                      <a:pt x="179" y="1277"/>
                      <a:pt x="179" y="1277"/>
                    </a:cubicBezTo>
                    <a:cubicBezTo>
                      <a:pt x="179" y="1277"/>
                      <a:pt x="229" y="1280"/>
                      <a:pt x="245" y="1269"/>
                    </a:cubicBezTo>
                    <a:cubicBezTo>
                      <a:pt x="248" y="1296"/>
                      <a:pt x="248" y="1296"/>
                      <a:pt x="248" y="1296"/>
                    </a:cubicBezTo>
                    <a:cubicBezTo>
                      <a:pt x="221" y="1304"/>
                      <a:pt x="221" y="1304"/>
                      <a:pt x="221" y="1304"/>
                    </a:cubicBezTo>
                    <a:cubicBezTo>
                      <a:pt x="213" y="1357"/>
                      <a:pt x="213" y="1357"/>
                      <a:pt x="213" y="1357"/>
                    </a:cubicBezTo>
                    <a:cubicBezTo>
                      <a:pt x="213" y="1357"/>
                      <a:pt x="181" y="1355"/>
                      <a:pt x="148" y="1360"/>
                    </a:cubicBezTo>
                    <a:cubicBezTo>
                      <a:pt x="120" y="1365"/>
                      <a:pt x="93" y="1375"/>
                      <a:pt x="85" y="1397"/>
                    </a:cubicBezTo>
                    <a:cubicBezTo>
                      <a:pt x="85" y="1397"/>
                      <a:pt x="24" y="1400"/>
                      <a:pt x="19" y="1421"/>
                    </a:cubicBezTo>
                    <a:cubicBezTo>
                      <a:pt x="19" y="1421"/>
                      <a:pt x="0" y="1453"/>
                      <a:pt x="29" y="1461"/>
                    </a:cubicBezTo>
                    <a:cubicBezTo>
                      <a:pt x="59" y="1469"/>
                      <a:pt x="219" y="1490"/>
                      <a:pt x="339" y="1480"/>
                    </a:cubicBezTo>
                    <a:cubicBezTo>
                      <a:pt x="459" y="1469"/>
                      <a:pt x="590" y="1466"/>
                      <a:pt x="603" y="1437"/>
                    </a:cubicBezTo>
                    <a:cubicBezTo>
                      <a:pt x="603" y="1437"/>
                      <a:pt x="613" y="1408"/>
                      <a:pt x="541" y="1392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150">
                <a:extLst>
                  <a:ext uri="{FF2B5EF4-FFF2-40B4-BE49-F238E27FC236}">
                    <a16:creationId xmlns:a16="http://schemas.microsoft.com/office/drawing/2014/main" id="{A1802C58-E5B0-4F57-A393-7A5BCAFBD2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4169" y="5119064"/>
                <a:ext cx="959973" cy="1283168"/>
              </a:xfrm>
              <a:custGeom>
                <a:avLst/>
                <a:gdLst>
                  <a:gd name="T0" fmla="*/ 488 w 488"/>
                  <a:gd name="T1" fmla="*/ 652 h 652"/>
                  <a:gd name="T2" fmla="*/ 354 w 488"/>
                  <a:gd name="T3" fmla="*/ 476 h 652"/>
                  <a:gd name="T4" fmla="*/ 182 w 488"/>
                  <a:gd name="T5" fmla="*/ 230 h 652"/>
                  <a:gd name="T6" fmla="*/ 70 w 488"/>
                  <a:gd name="T7" fmla="*/ 60 h 652"/>
                  <a:gd name="T8" fmla="*/ 14 w 488"/>
                  <a:gd name="T9" fmla="*/ 6 h 652"/>
                  <a:gd name="T10" fmla="*/ 144 w 488"/>
                  <a:gd name="T11" fmla="*/ 198 h 652"/>
                  <a:gd name="T12" fmla="*/ 30 w 488"/>
                  <a:gd name="T13" fmla="*/ 100 h 652"/>
                  <a:gd name="T14" fmla="*/ 154 w 488"/>
                  <a:gd name="T15" fmla="*/ 226 h 652"/>
                  <a:gd name="T16" fmla="*/ 488 w 488"/>
                  <a:gd name="T17" fmla="*/ 65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8" h="652">
                    <a:moveTo>
                      <a:pt x="488" y="652"/>
                    </a:moveTo>
                    <a:cubicBezTo>
                      <a:pt x="488" y="652"/>
                      <a:pt x="360" y="488"/>
                      <a:pt x="354" y="476"/>
                    </a:cubicBezTo>
                    <a:cubicBezTo>
                      <a:pt x="348" y="464"/>
                      <a:pt x="192" y="246"/>
                      <a:pt x="182" y="230"/>
                    </a:cubicBezTo>
                    <a:cubicBezTo>
                      <a:pt x="172" y="214"/>
                      <a:pt x="88" y="76"/>
                      <a:pt x="70" y="60"/>
                    </a:cubicBezTo>
                    <a:cubicBezTo>
                      <a:pt x="52" y="44"/>
                      <a:pt x="28" y="12"/>
                      <a:pt x="14" y="6"/>
                    </a:cubicBezTo>
                    <a:cubicBezTo>
                      <a:pt x="0" y="0"/>
                      <a:pt x="136" y="150"/>
                      <a:pt x="144" y="198"/>
                    </a:cubicBezTo>
                    <a:cubicBezTo>
                      <a:pt x="144" y="198"/>
                      <a:pt x="36" y="114"/>
                      <a:pt x="30" y="100"/>
                    </a:cubicBezTo>
                    <a:cubicBezTo>
                      <a:pt x="24" y="86"/>
                      <a:pt x="106" y="188"/>
                      <a:pt x="154" y="226"/>
                    </a:cubicBezTo>
                    <a:cubicBezTo>
                      <a:pt x="154" y="226"/>
                      <a:pt x="375" y="555"/>
                      <a:pt x="488" y="65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151">
                <a:extLst>
                  <a:ext uri="{FF2B5EF4-FFF2-40B4-BE49-F238E27FC236}">
                    <a16:creationId xmlns:a16="http://schemas.microsoft.com/office/drawing/2014/main" id="{DC5E13CF-2D16-4816-9993-6BD39D2E83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37" y="5603256"/>
                <a:ext cx="330403" cy="204250"/>
              </a:xfrm>
              <a:custGeom>
                <a:avLst/>
                <a:gdLst>
                  <a:gd name="T0" fmla="*/ 144 w 168"/>
                  <a:gd name="T1" fmla="*/ 16 h 104"/>
                  <a:gd name="T2" fmla="*/ 78 w 168"/>
                  <a:gd name="T3" fmla="*/ 66 h 104"/>
                  <a:gd name="T4" fmla="*/ 16 w 168"/>
                  <a:gd name="T5" fmla="*/ 102 h 104"/>
                  <a:gd name="T6" fmla="*/ 102 w 168"/>
                  <a:gd name="T7" fmla="*/ 70 h 104"/>
                  <a:gd name="T8" fmla="*/ 160 w 168"/>
                  <a:gd name="T9" fmla="*/ 24 h 104"/>
                  <a:gd name="T10" fmla="*/ 144 w 168"/>
                  <a:gd name="T11" fmla="*/ 1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04">
                    <a:moveTo>
                      <a:pt x="144" y="16"/>
                    </a:moveTo>
                    <a:cubicBezTo>
                      <a:pt x="144" y="16"/>
                      <a:pt x="102" y="48"/>
                      <a:pt x="78" y="66"/>
                    </a:cubicBezTo>
                    <a:cubicBezTo>
                      <a:pt x="54" y="84"/>
                      <a:pt x="32" y="100"/>
                      <a:pt x="16" y="102"/>
                    </a:cubicBezTo>
                    <a:cubicBezTo>
                      <a:pt x="0" y="104"/>
                      <a:pt x="62" y="96"/>
                      <a:pt x="102" y="70"/>
                    </a:cubicBezTo>
                    <a:cubicBezTo>
                      <a:pt x="142" y="44"/>
                      <a:pt x="152" y="24"/>
                      <a:pt x="160" y="24"/>
                    </a:cubicBezTo>
                    <a:cubicBezTo>
                      <a:pt x="168" y="24"/>
                      <a:pt x="168" y="0"/>
                      <a:pt x="144" y="16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152">
                <a:extLst>
                  <a:ext uri="{FF2B5EF4-FFF2-40B4-BE49-F238E27FC236}">
                    <a16:creationId xmlns:a16="http://schemas.microsoft.com/office/drawing/2014/main" id="{A396D79F-91C5-4C5A-97BC-E052A8E056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5418229"/>
                <a:ext cx="528646" cy="354434"/>
              </a:xfrm>
              <a:custGeom>
                <a:avLst/>
                <a:gdLst>
                  <a:gd name="T0" fmla="*/ 4 w 268"/>
                  <a:gd name="T1" fmla="*/ 62 h 180"/>
                  <a:gd name="T2" fmla="*/ 150 w 268"/>
                  <a:gd name="T3" fmla="*/ 26 h 180"/>
                  <a:gd name="T4" fmla="*/ 252 w 268"/>
                  <a:gd name="T5" fmla="*/ 4 h 180"/>
                  <a:gd name="T6" fmla="*/ 258 w 268"/>
                  <a:gd name="T7" fmla="*/ 20 h 180"/>
                  <a:gd name="T8" fmla="*/ 174 w 268"/>
                  <a:gd name="T9" fmla="*/ 32 h 180"/>
                  <a:gd name="T10" fmla="*/ 22 w 268"/>
                  <a:gd name="T11" fmla="*/ 86 h 180"/>
                  <a:gd name="T12" fmla="*/ 22 w 268"/>
                  <a:gd name="T13" fmla="*/ 132 h 180"/>
                  <a:gd name="T14" fmla="*/ 164 w 268"/>
                  <a:gd name="T15" fmla="*/ 86 h 180"/>
                  <a:gd name="T16" fmla="*/ 216 w 268"/>
                  <a:gd name="T17" fmla="*/ 56 h 180"/>
                  <a:gd name="T18" fmla="*/ 174 w 268"/>
                  <a:gd name="T19" fmla="*/ 96 h 180"/>
                  <a:gd name="T20" fmla="*/ 40 w 268"/>
                  <a:gd name="T21" fmla="*/ 148 h 180"/>
                  <a:gd name="T22" fmla="*/ 0 w 268"/>
                  <a:gd name="T23" fmla="*/ 180 h 180"/>
                  <a:gd name="T24" fmla="*/ 4 w 268"/>
                  <a:gd name="T25" fmla="*/ 6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8" h="180">
                    <a:moveTo>
                      <a:pt x="4" y="62"/>
                    </a:moveTo>
                    <a:cubicBezTo>
                      <a:pt x="4" y="62"/>
                      <a:pt x="128" y="32"/>
                      <a:pt x="150" y="26"/>
                    </a:cubicBezTo>
                    <a:cubicBezTo>
                      <a:pt x="172" y="20"/>
                      <a:pt x="236" y="0"/>
                      <a:pt x="252" y="4"/>
                    </a:cubicBezTo>
                    <a:cubicBezTo>
                      <a:pt x="268" y="8"/>
                      <a:pt x="266" y="20"/>
                      <a:pt x="258" y="20"/>
                    </a:cubicBezTo>
                    <a:cubicBezTo>
                      <a:pt x="250" y="20"/>
                      <a:pt x="262" y="4"/>
                      <a:pt x="174" y="32"/>
                    </a:cubicBezTo>
                    <a:cubicBezTo>
                      <a:pt x="86" y="60"/>
                      <a:pt x="40" y="72"/>
                      <a:pt x="22" y="86"/>
                    </a:cubicBezTo>
                    <a:cubicBezTo>
                      <a:pt x="4" y="100"/>
                      <a:pt x="4" y="138"/>
                      <a:pt x="22" y="132"/>
                    </a:cubicBezTo>
                    <a:cubicBezTo>
                      <a:pt x="40" y="126"/>
                      <a:pt x="134" y="98"/>
                      <a:pt x="164" y="86"/>
                    </a:cubicBezTo>
                    <a:cubicBezTo>
                      <a:pt x="194" y="74"/>
                      <a:pt x="210" y="64"/>
                      <a:pt x="216" y="56"/>
                    </a:cubicBezTo>
                    <a:cubicBezTo>
                      <a:pt x="222" y="48"/>
                      <a:pt x="204" y="84"/>
                      <a:pt x="174" y="96"/>
                    </a:cubicBezTo>
                    <a:cubicBezTo>
                      <a:pt x="144" y="108"/>
                      <a:pt x="52" y="136"/>
                      <a:pt x="40" y="148"/>
                    </a:cubicBezTo>
                    <a:cubicBezTo>
                      <a:pt x="28" y="160"/>
                      <a:pt x="0" y="180"/>
                      <a:pt x="0" y="180"/>
                    </a:cubicBezTo>
                    <a:lnTo>
                      <a:pt x="4" y="62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153">
                <a:extLst>
                  <a:ext uri="{FF2B5EF4-FFF2-40B4-BE49-F238E27FC236}">
                    <a16:creationId xmlns:a16="http://schemas.microsoft.com/office/drawing/2014/main" id="{F4FF1400-5B87-4711-834B-ABC2F0BDB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778" y="6008150"/>
                <a:ext cx="1144999" cy="850640"/>
              </a:xfrm>
              <a:custGeom>
                <a:avLst/>
                <a:gdLst>
                  <a:gd name="T0" fmla="*/ 401 w 582"/>
                  <a:gd name="T1" fmla="*/ 0 h 432"/>
                  <a:gd name="T2" fmla="*/ 316 w 582"/>
                  <a:gd name="T3" fmla="*/ 16 h 432"/>
                  <a:gd name="T4" fmla="*/ 338 w 582"/>
                  <a:gd name="T5" fmla="*/ 60 h 432"/>
                  <a:gd name="T6" fmla="*/ 436 w 582"/>
                  <a:gd name="T7" fmla="*/ 134 h 432"/>
                  <a:gd name="T8" fmla="*/ 376 w 582"/>
                  <a:gd name="T9" fmla="*/ 204 h 432"/>
                  <a:gd name="T10" fmla="*/ 234 w 582"/>
                  <a:gd name="T11" fmla="*/ 288 h 432"/>
                  <a:gd name="T12" fmla="*/ 34 w 582"/>
                  <a:gd name="T13" fmla="*/ 414 h 432"/>
                  <a:gd name="T14" fmla="*/ 562 w 582"/>
                  <a:gd name="T15" fmla="*/ 198 h 432"/>
                  <a:gd name="T16" fmla="*/ 568 w 582"/>
                  <a:gd name="T17" fmla="*/ 200 h 432"/>
                  <a:gd name="T18" fmla="*/ 401 w 582"/>
                  <a:gd name="T19" fmla="*/ 0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2" h="432">
                    <a:moveTo>
                      <a:pt x="401" y="0"/>
                    </a:moveTo>
                    <a:cubicBezTo>
                      <a:pt x="401" y="0"/>
                      <a:pt x="330" y="4"/>
                      <a:pt x="316" y="16"/>
                    </a:cubicBezTo>
                    <a:cubicBezTo>
                      <a:pt x="302" y="28"/>
                      <a:pt x="274" y="32"/>
                      <a:pt x="338" y="60"/>
                    </a:cubicBezTo>
                    <a:cubicBezTo>
                      <a:pt x="401" y="88"/>
                      <a:pt x="426" y="64"/>
                      <a:pt x="436" y="134"/>
                    </a:cubicBezTo>
                    <a:cubicBezTo>
                      <a:pt x="446" y="204"/>
                      <a:pt x="390" y="192"/>
                      <a:pt x="376" y="204"/>
                    </a:cubicBezTo>
                    <a:cubicBezTo>
                      <a:pt x="376" y="204"/>
                      <a:pt x="286" y="234"/>
                      <a:pt x="234" y="288"/>
                    </a:cubicBezTo>
                    <a:cubicBezTo>
                      <a:pt x="182" y="342"/>
                      <a:pt x="68" y="396"/>
                      <a:pt x="34" y="414"/>
                    </a:cubicBezTo>
                    <a:cubicBezTo>
                      <a:pt x="0" y="432"/>
                      <a:pt x="542" y="208"/>
                      <a:pt x="562" y="198"/>
                    </a:cubicBezTo>
                    <a:cubicBezTo>
                      <a:pt x="582" y="188"/>
                      <a:pt x="568" y="200"/>
                      <a:pt x="568" y="200"/>
                    </a:cubicBezTo>
                    <a:lnTo>
                      <a:pt x="401" y="0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154">
                <a:extLst>
                  <a:ext uri="{FF2B5EF4-FFF2-40B4-BE49-F238E27FC236}">
                    <a16:creationId xmlns:a16="http://schemas.microsoft.com/office/drawing/2014/main" id="{34847A12-4B58-4932-A388-443BD1C1F1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5058990"/>
                <a:ext cx="394082" cy="248704"/>
              </a:xfrm>
              <a:custGeom>
                <a:avLst/>
                <a:gdLst>
                  <a:gd name="T0" fmla="*/ 2 w 200"/>
                  <a:gd name="T1" fmla="*/ 0 h 126"/>
                  <a:gd name="T2" fmla="*/ 200 w 200"/>
                  <a:gd name="T3" fmla="*/ 126 h 126"/>
                  <a:gd name="T4" fmla="*/ 2 w 200"/>
                  <a:gd name="T5" fmla="*/ 20 h 126"/>
                  <a:gd name="T6" fmla="*/ 2 w 200"/>
                  <a:gd name="T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0" h="126">
                    <a:moveTo>
                      <a:pt x="2" y="0"/>
                    </a:moveTo>
                    <a:cubicBezTo>
                      <a:pt x="2" y="0"/>
                      <a:pt x="178" y="120"/>
                      <a:pt x="200" y="126"/>
                    </a:cubicBezTo>
                    <a:cubicBezTo>
                      <a:pt x="200" y="126"/>
                      <a:pt x="4" y="26"/>
                      <a:pt x="2" y="20"/>
                    </a:cubicBezTo>
                    <a:cubicBezTo>
                      <a:pt x="0" y="14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155">
                <a:extLst>
                  <a:ext uri="{FF2B5EF4-FFF2-40B4-BE49-F238E27FC236}">
                    <a16:creationId xmlns:a16="http://schemas.microsoft.com/office/drawing/2014/main" id="{1B1A361F-8DCF-4BD4-A3A8-7AB09288C1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79567" y="6115081"/>
                <a:ext cx="570697" cy="287151"/>
              </a:xfrm>
              <a:custGeom>
                <a:avLst/>
                <a:gdLst>
                  <a:gd name="T0" fmla="*/ 264 w 290"/>
                  <a:gd name="T1" fmla="*/ 32 h 146"/>
                  <a:gd name="T2" fmla="*/ 198 w 290"/>
                  <a:gd name="T3" fmla="*/ 58 h 146"/>
                  <a:gd name="T4" fmla="*/ 16 w 290"/>
                  <a:gd name="T5" fmla="*/ 136 h 146"/>
                  <a:gd name="T6" fmla="*/ 90 w 290"/>
                  <a:gd name="T7" fmla="*/ 90 h 146"/>
                  <a:gd name="T8" fmla="*/ 182 w 290"/>
                  <a:gd name="T9" fmla="*/ 46 h 146"/>
                  <a:gd name="T10" fmla="*/ 264 w 290"/>
                  <a:gd name="T11" fmla="*/ 3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0" h="146">
                    <a:moveTo>
                      <a:pt x="264" y="32"/>
                    </a:moveTo>
                    <a:cubicBezTo>
                      <a:pt x="264" y="32"/>
                      <a:pt x="204" y="50"/>
                      <a:pt x="198" y="58"/>
                    </a:cubicBezTo>
                    <a:cubicBezTo>
                      <a:pt x="192" y="66"/>
                      <a:pt x="32" y="126"/>
                      <a:pt x="16" y="136"/>
                    </a:cubicBezTo>
                    <a:cubicBezTo>
                      <a:pt x="0" y="146"/>
                      <a:pt x="28" y="112"/>
                      <a:pt x="90" y="90"/>
                    </a:cubicBezTo>
                    <a:cubicBezTo>
                      <a:pt x="152" y="68"/>
                      <a:pt x="168" y="56"/>
                      <a:pt x="182" y="46"/>
                    </a:cubicBezTo>
                    <a:cubicBezTo>
                      <a:pt x="196" y="36"/>
                      <a:pt x="290" y="0"/>
                      <a:pt x="264" y="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156">
                <a:extLst>
                  <a:ext uri="{FF2B5EF4-FFF2-40B4-BE49-F238E27FC236}">
                    <a16:creationId xmlns:a16="http://schemas.microsoft.com/office/drawing/2014/main" id="{CBB51975-B507-4C2C-9F8A-A5B92A5672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3901" y="6035784"/>
                <a:ext cx="618756" cy="464969"/>
              </a:xfrm>
              <a:custGeom>
                <a:avLst/>
                <a:gdLst>
                  <a:gd name="T0" fmla="*/ 0 w 314"/>
                  <a:gd name="T1" fmla="*/ 224 h 236"/>
                  <a:gd name="T2" fmla="*/ 68 w 314"/>
                  <a:gd name="T3" fmla="*/ 144 h 236"/>
                  <a:gd name="T4" fmla="*/ 120 w 314"/>
                  <a:gd name="T5" fmla="*/ 68 h 236"/>
                  <a:gd name="T6" fmla="*/ 170 w 314"/>
                  <a:gd name="T7" fmla="*/ 0 h 236"/>
                  <a:gd name="T8" fmla="*/ 132 w 314"/>
                  <a:gd name="T9" fmla="*/ 74 h 236"/>
                  <a:gd name="T10" fmla="*/ 84 w 314"/>
                  <a:gd name="T11" fmla="*/ 168 h 236"/>
                  <a:gd name="T12" fmla="*/ 78 w 314"/>
                  <a:gd name="T13" fmla="*/ 174 h 236"/>
                  <a:gd name="T14" fmla="*/ 96 w 314"/>
                  <a:gd name="T15" fmla="*/ 214 h 236"/>
                  <a:gd name="T16" fmla="*/ 188 w 314"/>
                  <a:gd name="T17" fmla="*/ 164 h 236"/>
                  <a:gd name="T18" fmla="*/ 276 w 314"/>
                  <a:gd name="T19" fmla="*/ 98 h 236"/>
                  <a:gd name="T20" fmla="*/ 246 w 314"/>
                  <a:gd name="T21" fmla="*/ 138 h 236"/>
                  <a:gd name="T22" fmla="*/ 192 w 314"/>
                  <a:gd name="T23" fmla="*/ 188 h 236"/>
                  <a:gd name="T24" fmla="*/ 126 w 314"/>
                  <a:gd name="T25" fmla="*/ 235 h 236"/>
                  <a:gd name="T26" fmla="*/ 0 w 314"/>
                  <a:gd name="T27" fmla="*/ 2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4" h="236">
                    <a:moveTo>
                      <a:pt x="0" y="224"/>
                    </a:moveTo>
                    <a:cubicBezTo>
                      <a:pt x="0" y="224"/>
                      <a:pt x="56" y="158"/>
                      <a:pt x="68" y="144"/>
                    </a:cubicBezTo>
                    <a:cubicBezTo>
                      <a:pt x="80" y="130"/>
                      <a:pt x="108" y="108"/>
                      <a:pt x="120" y="68"/>
                    </a:cubicBezTo>
                    <a:cubicBezTo>
                      <a:pt x="132" y="28"/>
                      <a:pt x="170" y="0"/>
                      <a:pt x="170" y="0"/>
                    </a:cubicBezTo>
                    <a:cubicBezTo>
                      <a:pt x="170" y="0"/>
                      <a:pt x="144" y="40"/>
                      <a:pt x="132" y="74"/>
                    </a:cubicBezTo>
                    <a:cubicBezTo>
                      <a:pt x="120" y="108"/>
                      <a:pt x="90" y="162"/>
                      <a:pt x="84" y="168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4"/>
                      <a:pt x="38" y="218"/>
                      <a:pt x="96" y="214"/>
                    </a:cubicBezTo>
                    <a:cubicBezTo>
                      <a:pt x="154" y="210"/>
                      <a:pt x="164" y="184"/>
                      <a:pt x="188" y="164"/>
                    </a:cubicBezTo>
                    <a:cubicBezTo>
                      <a:pt x="212" y="144"/>
                      <a:pt x="238" y="130"/>
                      <a:pt x="276" y="98"/>
                    </a:cubicBezTo>
                    <a:cubicBezTo>
                      <a:pt x="314" y="66"/>
                      <a:pt x="260" y="126"/>
                      <a:pt x="246" y="138"/>
                    </a:cubicBezTo>
                    <a:cubicBezTo>
                      <a:pt x="232" y="150"/>
                      <a:pt x="206" y="162"/>
                      <a:pt x="192" y="188"/>
                    </a:cubicBezTo>
                    <a:cubicBezTo>
                      <a:pt x="178" y="214"/>
                      <a:pt x="155" y="234"/>
                      <a:pt x="126" y="235"/>
                    </a:cubicBezTo>
                    <a:cubicBezTo>
                      <a:pt x="98" y="236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157">
                <a:extLst>
                  <a:ext uri="{FF2B5EF4-FFF2-40B4-BE49-F238E27FC236}">
                    <a16:creationId xmlns:a16="http://schemas.microsoft.com/office/drawing/2014/main" id="{966C9978-8C6A-4B38-A637-8FC15032B8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6693" y="5701776"/>
                <a:ext cx="216264" cy="519034"/>
              </a:xfrm>
              <a:custGeom>
                <a:avLst/>
                <a:gdLst>
                  <a:gd name="T0" fmla="*/ 90 w 110"/>
                  <a:gd name="T1" fmla="*/ 0 h 264"/>
                  <a:gd name="T2" fmla="*/ 76 w 110"/>
                  <a:gd name="T3" fmla="*/ 68 h 264"/>
                  <a:gd name="T4" fmla="*/ 0 w 110"/>
                  <a:gd name="T5" fmla="*/ 264 h 264"/>
                  <a:gd name="T6" fmla="*/ 46 w 110"/>
                  <a:gd name="T7" fmla="*/ 146 h 264"/>
                  <a:gd name="T8" fmla="*/ 92 w 110"/>
                  <a:gd name="T9" fmla="*/ 90 h 264"/>
                  <a:gd name="T10" fmla="*/ 90 w 110"/>
                  <a:gd name="T11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" h="264">
                    <a:moveTo>
                      <a:pt x="90" y="0"/>
                    </a:moveTo>
                    <a:cubicBezTo>
                      <a:pt x="90" y="0"/>
                      <a:pt x="88" y="56"/>
                      <a:pt x="76" y="68"/>
                    </a:cubicBezTo>
                    <a:cubicBezTo>
                      <a:pt x="64" y="80"/>
                      <a:pt x="2" y="118"/>
                      <a:pt x="0" y="264"/>
                    </a:cubicBezTo>
                    <a:cubicBezTo>
                      <a:pt x="0" y="264"/>
                      <a:pt x="16" y="192"/>
                      <a:pt x="46" y="146"/>
                    </a:cubicBezTo>
                    <a:cubicBezTo>
                      <a:pt x="76" y="100"/>
                      <a:pt x="74" y="142"/>
                      <a:pt x="92" y="90"/>
                    </a:cubicBezTo>
                    <a:cubicBezTo>
                      <a:pt x="110" y="38"/>
                      <a:pt x="98" y="8"/>
                      <a:pt x="9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158">
                <a:extLst>
                  <a:ext uri="{FF2B5EF4-FFF2-40B4-BE49-F238E27FC236}">
                    <a16:creationId xmlns:a16="http://schemas.microsoft.com/office/drawing/2014/main" id="{6BAA2E04-C9B7-4101-8194-4970726787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6399" y="5610464"/>
                <a:ext cx="416909" cy="382067"/>
              </a:xfrm>
              <a:custGeom>
                <a:avLst/>
                <a:gdLst>
                  <a:gd name="T0" fmla="*/ 0 w 212"/>
                  <a:gd name="T1" fmla="*/ 172 h 194"/>
                  <a:gd name="T2" fmla="*/ 152 w 212"/>
                  <a:gd name="T3" fmla="*/ 126 h 194"/>
                  <a:gd name="T4" fmla="*/ 182 w 212"/>
                  <a:gd name="T5" fmla="*/ 16 h 194"/>
                  <a:gd name="T6" fmla="*/ 178 w 212"/>
                  <a:gd name="T7" fmla="*/ 88 h 194"/>
                  <a:gd name="T8" fmla="*/ 148 w 212"/>
                  <a:gd name="T9" fmla="*/ 154 h 194"/>
                  <a:gd name="T10" fmla="*/ 0 w 212"/>
                  <a:gd name="T11" fmla="*/ 172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94">
                    <a:moveTo>
                      <a:pt x="0" y="172"/>
                    </a:moveTo>
                    <a:cubicBezTo>
                      <a:pt x="0" y="172"/>
                      <a:pt x="138" y="176"/>
                      <a:pt x="152" y="126"/>
                    </a:cubicBezTo>
                    <a:cubicBezTo>
                      <a:pt x="166" y="76"/>
                      <a:pt x="190" y="32"/>
                      <a:pt x="182" y="16"/>
                    </a:cubicBezTo>
                    <a:cubicBezTo>
                      <a:pt x="174" y="0"/>
                      <a:pt x="212" y="20"/>
                      <a:pt x="178" y="88"/>
                    </a:cubicBezTo>
                    <a:cubicBezTo>
                      <a:pt x="178" y="88"/>
                      <a:pt x="168" y="140"/>
                      <a:pt x="148" y="154"/>
                    </a:cubicBezTo>
                    <a:cubicBezTo>
                      <a:pt x="128" y="168"/>
                      <a:pt x="58" y="194"/>
                      <a:pt x="0" y="17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159">
                <a:extLst>
                  <a:ext uri="{FF2B5EF4-FFF2-40B4-BE49-F238E27FC236}">
                    <a16:creationId xmlns:a16="http://schemas.microsoft.com/office/drawing/2014/main" id="{6A023738-A0AD-488E-816F-D739E9370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2501" y="4228776"/>
                <a:ext cx="700456" cy="1480209"/>
              </a:xfrm>
              <a:custGeom>
                <a:avLst/>
                <a:gdLst>
                  <a:gd name="T0" fmla="*/ 0 w 356"/>
                  <a:gd name="T1" fmla="*/ 0 h 752"/>
                  <a:gd name="T2" fmla="*/ 160 w 356"/>
                  <a:gd name="T3" fmla="*/ 246 h 752"/>
                  <a:gd name="T4" fmla="*/ 170 w 356"/>
                  <a:gd name="T5" fmla="*/ 306 h 752"/>
                  <a:gd name="T6" fmla="*/ 176 w 356"/>
                  <a:gd name="T7" fmla="*/ 360 h 752"/>
                  <a:gd name="T8" fmla="*/ 188 w 356"/>
                  <a:gd name="T9" fmla="*/ 426 h 752"/>
                  <a:gd name="T10" fmla="*/ 200 w 356"/>
                  <a:gd name="T11" fmla="*/ 450 h 752"/>
                  <a:gd name="T12" fmla="*/ 218 w 356"/>
                  <a:gd name="T13" fmla="*/ 516 h 752"/>
                  <a:gd name="T14" fmla="*/ 240 w 356"/>
                  <a:gd name="T15" fmla="*/ 572 h 752"/>
                  <a:gd name="T16" fmla="*/ 272 w 356"/>
                  <a:gd name="T17" fmla="*/ 654 h 752"/>
                  <a:gd name="T18" fmla="*/ 308 w 356"/>
                  <a:gd name="T19" fmla="*/ 708 h 752"/>
                  <a:gd name="T20" fmla="*/ 356 w 356"/>
                  <a:gd name="T21" fmla="*/ 752 h 752"/>
                  <a:gd name="T22" fmla="*/ 286 w 356"/>
                  <a:gd name="T23" fmla="*/ 652 h 752"/>
                  <a:gd name="T24" fmla="*/ 248 w 356"/>
                  <a:gd name="T25" fmla="*/ 514 h 752"/>
                  <a:gd name="T26" fmla="*/ 210 w 356"/>
                  <a:gd name="T27" fmla="*/ 396 h 752"/>
                  <a:gd name="T28" fmla="*/ 210 w 356"/>
                  <a:gd name="T29" fmla="*/ 432 h 752"/>
                  <a:gd name="T30" fmla="*/ 194 w 356"/>
                  <a:gd name="T31" fmla="*/ 334 h 752"/>
                  <a:gd name="T32" fmla="*/ 158 w 356"/>
                  <a:gd name="T33" fmla="*/ 200 h 752"/>
                  <a:gd name="T34" fmla="*/ 0 w 356"/>
                  <a:gd name="T3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6" h="752">
                    <a:moveTo>
                      <a:pt x="0" y="0"/>
                    </a:moveTo>
                    <a:cubicBezTo>
                      <a:pt x="0" y="0"/>
                      <a:pt x="138" y="130"/>
                      <a:pt x="160" y="246"/>
                    </a:cubicBezTo>
                    <a:cubicBezTo>
                      <a:pt x="160" y="246"/>
                      <a:pt x="172" y="286"/>
                      <a:pt x="170" y="306"/>
                    </a:cubicBezTo>
                    <a:cubicBezTo>
                      <a:pt x="168" y="326"/>
                      <a:pt x="176" y="338"/>
                      <a:pt x="176" y="360"/>
                    </a:cubicBezTo>
                    <a:cubicBezTo>
                      <a:pt x="176" y="382"/>
                      <a:pt x="182" y="394"/>
                      <a:pt x="188" y="426"/>
                    </a:cubicBezTo>
                    <a:cubicBezTo>
                      <a:pt x="194" y="458"/>
                      <a:pt x="198" y="460"/>
                      <a:pt x="200" y="450"/>
                    </a:cubicBezTo>
                    <a:cubicBezTo>
                      <a:pt x="202" y="440"/>
                      <a:pt x="206" y="492"/>
                      <a:pt x="218" y="516"/>
                    </a:cubicBezTo>
                    <a:cubicBezTo>
                      <a:pt x="230" y="540"/>
                      <a:pt x="240" y="546"/>
                      <a:pt x="240" y="572"/>
                    </a:cubicBezTo>
                    <a:cubicBezTo>
                      <a:pt x="240" y="598"/>
                      <a:pt x="250" y="628"/>
                      <a:pt x="272" y="654"/>
                    </a:cubicBezTo>
                    <a:cubicBezTo>
                      <a:pt x="294" y="680"/>
                      <a:pt x="286" y="694"/>
                      <a:pt x="308" y="708"/>
                    </a:cubicBezTo>
                    <a:cubicBezTo>
                      <a:pt x="330" y="722"/>
                      <a:pt x="356" y="752"/>
                      <a:pt x="356" y="752"/>
                    </a:cubicBezTo>
                    <a:cubicBezTo>
                      <a:pt x="356" y="752"/>
                      <a:pt x="290" y="682"/>
                      <a:pt x="286" y="652"/>
                    </a:cubicBezTo>
                    <a:cubicBezTo>
                      <a:pt x="282" y="622"/>
                      <a:pt x="256" y="542"/>
                      <a:pt x="248" y="514"/>
                    </a:cubicBezTo>
                    <a:cubicBezTo>
                      <a:pt x="240" y="486"/>
                      <a:pt x="214" y="406"/>
                      <a:pt x="210" y="396"/>
                    </a:cubicBezTo>
                    <a:cubicBezTo>
                      <a:pt x="206" y="386"/>
                      <a:pt x="206" y="420"/>
                      <a:pt x="210" y="432"/>
                    </a:cubicBezTo>
                    <a:cubicBezTo>
                      <a:pt x="214" y="444"/>
                      <a:pt x="202" y="434"/>
                      <a:pt x="194" y="334"/>
                    </a:cubicBezTo>
                    <a:cubicBezTo>
                      <a:pt x="186" y="234"/>
                      <a:pt x="158" y="200"/>
                      <a:pt x="158" y="200"/>
                    </a:cubicBezTo>
                    <a:cubicBezTo>
                      <a:pt x="158" y="200"/>
                      <a:pt x="128" y="90"/>
                      <a:pt x="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160">
                <a:extLst>
                  <a:ext uri="{FF2B5EF4-FFF2-40B4-BE49-F238E27FC236}">
                    <a16:creationId xmlns:a16="http://schemas.microsoft.com/office/drawing/2014/main" id="{43D83F22-5ED8-43F6-A9FA-100189294E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9814" y="5867579"/>
                <a:ext cx="102124" cy="102125"/>
              </a:xfrm>
              <a:custGeom>
                <a:avLst/>
                <a:gdLst>
                  <a:gd name="T0" fmla="*/ 18 w 52"/>
                  <a:gd name="T1" fmla="*/ 0 h 52"/>
                  <a:gd name="T2" fmla="*/ 12 w 52"/>
                  <a:gd name="T3" fmla="*/ 50 h 52"/>
                  <a:gd name="T4" fmla="*/ 44 w 52"/>
                  <a:gd name="T5" fmla="*/ 8 h 52"/>
                  <a:gd name="T6" fmla="*/ 18 w 52"/>
                  <a:gd name="T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52">
                    <a:moveTo>
                      <a:pt x="18" y="0"/>
                    </a:moveTo>
                    <a:cubicBezTo>
                      <a:pt x="18" y="0"/>
                      <a:pt x="0" y="52"/>
                      <a:pt x="12" y="50"/>
                    </a:cubicBezTo>
                    <a:cubicBezTo>
                      <a:pt x="24" y="48"/>
                      <a:pt x="36" y="16"/>
                      <a:pt x="44" y="8"/>
                    </a:cubicBezTo>
                    <a:cubicBezTo>
                      <a:pt x="52" y="0"/>
                      <a:pt x="4" y="48"/>
                      <a:pt x="18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161">
                <a:extLst>
                  <a:ext uri="{FF2B5EF4-FFF2-40B4-BE49-F238E27FC236}">
                    <a16:creationId xmlns:a16="http://schemas.microsoft.com/office/drawing/2014/main" id="{4583BD58-37DB-464D-BBDD-ABC04368E0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939" y="4209552"/>
                <a:ext cx="594726" cy="499811"/>
              </a:xfrm>
              <a:custGeom>
                <a:avLst/>
                <a:gdLst>
                  <a:gd name="T0" fmla="*/ 302 w 302"/>
                  <a:gd name="T1" fmla="*/ 254 h 254"/>
                  <a:gd name="T2" fmla="*/ 124 w 302"/>
                  <a:gd name="T3" fmla="*/ 92 h 254"/>
                  <a:gd name="T4" fmla="*/ 10 w 302"/>
                  <a:gd name="T5" fmla="*/ 46 h 254"/>
                  <a:gd name="T6" fmla="*/ 54 w 302"/>
                  <a:gd name="T7" fmla="*/ 24 h 254"/>
                  <a:gd name="T8" fmla="*/ 128 w 302"/>
                  <a:gd name="T9" fmla="*/ 12 h 254"/>
                  <a:gd name="T10" fmla="*/ 302 w 302"/>
                  <a:gd name="T1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2" h="254">
                    <a:moveTo>
                      <a:pt x="302" y="254"/>
                    </a:moveTo>
                    <a:cubicBezTo>
                      <a:pt x="302" y="254"/>
                      <a:pt x="162" y="94"/>
                      <a:pt x="124" y="92"/>
                    </a:cubicBezTo>
                    <a:cubicBezTo>
                      <a:pt x="86" y="90"/>
                      <a:pt x="20" y="62"/>
                      <a:pt x="10" y="46"/>
                    </a:cubicBezTo>
                    <a:cubicBezTo>
                      <a:pt x="0" y="30"/>
                      <a:pt x="8" y="30"/>
                      <a:pt x="54" y="24"/>
                    </a:cubicBezTo>
                    <a:cubicBezTo>
                      <a:pt x="100" y="18"/>
                      <a:pt x="100" y="0"/>
                      <a:pt x="128" y="12"/>
                    </a:cubicBezTo>
                    <a:cubicBezTo>
                      <a:pt x="156" y="24"/>
                      <a:pt x="276" y="98"/>
                      <a:pt x="302" y="254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162">
                <a:extLst>
                  <a:ext uri="{FF2B5EF4-FFF2-40B4-BE49-F238E27FC236}">
                    <a16:creationId xmlns:a16="http://schemas.microsoft.com/office/drawing/2014/main" id="{2544537F-9ACB-4F9E-ACA8-D564F0EC4B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683" y="4858345"/>
                <a:ext cx="610346" cy="326799"/>
              </a:xfrm>
              <a:custGeom>
                <a:avLst/>
                <a:gdLst>
                  <a:gd name="T0" fmla="*/ 278 w 310"/>
                  <a:gd name="T1" fmla="*/ 128 h 166"/>
                  <a:gd name="T2" fmla="*/ 78 w 310"/>
                  <a:gd name="T3" fmla="*/ 26 h 166"/>
                  <a:gd name="T4" fmla="*/ 2 w 310"/>
                  <a:gd name="T5" fmla="*/ 16 h 166"/>
                  <a:gd name="T6" fmla="*/ 100 w 310"/>
                  <a:gd name="T7" fmla="*/ 66 h 166"/>
                  <a:gd name="T8" fmla="*/ 282 w 310"/>
                  <a:gd name="T9" fmla="*/ 156 h 166"/>
                  <a:gd name="T10" fmla="*/ 278 w 310"/>
                  <a:gd name="T11" fmla="*/ 128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0" h="166">
                    <a:moveTo>
                      <a:pt x="278" y="128"/>
                    </a:moveTo>
                    <a:cubicBezTo>
                      <a:pt x="278" y="128"/>
                      <a:pt x="110" y="26"/>
                      <a:pt x="78" y="26"/>
                    </a:cubicBezTo>
                    <a:cubicBezTo>
                      <a:pt x="46" y="26"/>
                      <a:pt x="4" y="0"/>
                      <a:pt x="2" y="16"/>
                    </a:cubicBezTo>
                    <a:cubicBezTo>
                      <a:pt x="0" y="32"/>
                      <a:pt x="50" y="26"/>
                      <a:pt x="100" y="66"/>
                    </a:cubicBezTo>
                    <a:cubicBezTo>
                      <a:pt x="150" y="106"/>
                      <a:pt x="268" y="166"/>
                      <a:pt x="282" y="156"/>
                    </a:cubicBezTo>
                    <a:cubicBezTo>
                      <a:pt x="296" y="146"/>
                      <a:pt x="310" y="128"/>
                      <a:pt x="278" y="128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163">
                <a:extLst>
                  <a:ext uri="{FF2B5EF4-FFF2-40B4-BE49-F238E27FC236}">
                    <a16:creationId xmlns:a16="http://schemas.microsoft.com/office/drawing/2014/main" id="{8371CDDC-D2B1-47B7-8CD7-34B35928B6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547" y="5012133"/>
                <a:ext cx="944354" cy="342419"/>
              </a:xfrm>
              <a:custGeom>
                <a:avLst/>
                <a:gdLst>
                  <a:gd name="T0" fmla="*/ 448 w 480"/>
                  <a:gd name="T1" fmla="*/ 132 h 174"/>
                  <a:gd name="T2" fmla="*/ 450 w 480"/>
                  <a:gd name="T3" fmla="*/ 166 h 174"/>
                  <a:gd name="T4" fmla="*/ 208 w 480"/>
                  <a:gd name="T5" fmla="*/ 130 h 174"/>
                  <a:gd name="T6" fmla="*/ 16 w 480"/>
                  <a:gd name="T7" fmla="*/ 18 h 174"/>
                  <a:gd name="T8" fmla="*/ 176 w 480"/>
                  <a:gd name="T9" fmla="*/ 98 h 174"/>
                  <a:gd name="T10" fmla="*/ 364 w 480"/>
                  <a:gd name="T11" fmla="*/ 138 h 174"/>
                  <a:gd name="T12" fmla="*/ 448 w 480"/>
                  <a:gd name="T13" fmla="*/ 132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0" h="174">
                    <a:moveTo>
                      <a:pt x="448" y="132"/>
                    </a:moveTo>
                    <a:cubicBezTo>
                      <a:pt x="448" y="132"/>
                      <a:pt x="480" y="158"/>
                      <a:pt x="450" y="166"/>
                    </a:cubicBezTo>
                    <a:cubicBezTo>
                      <a:pt x="420" y="174"/>
                      <a:pt x="280" y="162"/>
                      <a:pt x="208" y="130"/>
                    </a:cubicBezTo>
                    <a:cubicBezTo>
                      <a:pt x="136" y="98"/>
                      <a:pt x="32" y="36"/>
                      <a:pt x="16" y="18"/>
                    </a:cubicBezTo>
                    <a:cubicBezTo>
                      <a:pt x="0" y="0"/>
                      <a:pt x="120" y="78"/>
                      <a:pt x="176" y="98"/>
                    </a:cubicBezTo>
                    <a:cubicBezTo>
                      <a:pt x="232" y="118"/>
                      <a:pt x="296" y="126"/>
                      <a:pt x="364" y="138"/>
                    </a:cubicBezTo>
                    <a:cubicBezTo>
                      <a:pt x="432" y="150"/>
                      <a:pt x="450" y="154"/>
                      <a:pt x="448" y="1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164">
                <a:extLst>
                  <a:ext uri="{FF2B5EF4-FFF2-40B4-BE49-F238E27FC236}">
                    <a16:creationId xmlns:a16="http://schemas.microsoft.com/office/drawing/2014/main" id="{66887AD0-1225-4135-AE54-CEF387EC27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2128" y="4515926"/>
                <a:ext cx="32439" cy="299166"/>
              </a:xfrm>
              <a:custGeom>
                <a:avLst/>
                <a:gdLst>
                  <a:gd name="T0" fmla="*/ 12 w 16"/>
                  <a:gd name="T1" fmla="*/ 0 h 152"/>
                  <a:gd name="T2" fmla="*/ 0 w 16"/>
                  <a:gd name="T3" fmla="*/ 82 h 152"/>
                  <a:gd name="T4" fmla="*/ 0 w 16"/>
                  <a:gd name="T5" fmla="*/ 104 h 152"/>
                  <a:gd name="T6" fmla="*/ 12 w 16"/>
                  <a:gd name="T7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52">
                    <a:moveTo>
                      <a:pt x="12" y="0"/>
                    </a:moveTo>
                    <a:cubicBezTo>
                      <a:pt x="12" y="0"/>
                      <a:pt x="2" y="56"/>
                      <a:pt x="0" y="82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16" y="152"/>
                      <a:pt x="12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165">
                <a:extLst>
                  <a:ext uri="{FF2B5EF4-FFF2-40B4-BE49-F238E27FC236}">
                    <a16:creationId xmlns:a16="http://schemas.microsoft.com/office/drawing/2014/main" id="{214EF538-863A-4C88-A7D9-37D96B5E1C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2354" y="4072585"/>
                <a:ext cx="253509" cy="261920"/>
              </a:xfrm>
              <a:custGeom>
                <a:avLst/>
                <a:gdLst>
                  <a:gd name="T0" fmla="*/ 0 w 129"/>
                  <a:gd name="T1" fmla="*/ 0 h 133"/>
                  <a:gd name="T2" fmla="*/ 10 w 129"/>
                  <a:gd name="T3" fmla="*/ 5 h 133"/>
                  <a:gd name="T4" fmla="*/ 78 w 129"/>
                  <a:gd name="T5" fmla="*/ 65 h 133"/>
                  <a:gd name="T6" fmla="*/ 129 w 129"/>
                  <a:gd name="T7" fmla="*/ 133 h 133"/>
                  <a:gd name="T8" fmla="*/ 59 w 129"/>
                  <a:gd name="T9" fmla="*/ 63 h 133"/>
                  <a:gd name="T10" fmla="*/ 0 w 129"/>
                  <a:gd name="T11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133">
                    <a:moveTo>
                      <a:pt x="0" y="0"/>
                    </a:moveTo>
                    <a:cubicBezTo>
                      <a:pt x="0" y="0"/>
                      <a:pt x="4" y="2"/>
                      <a:pt x="10" y="5"/>
                    </a:cubicBezTo>
                    <a:cubicBezTo>
                      <a:pt x="26" y="14"/>
                      <a:pt x="60" y="34"/>
                      <a:pt x="78" y="65"/>
                    </a:cubicBezTo>
                    <a:cubicBezTo>
                      <a:pt x="103" y="107"/>
                      <a:pt x="129" y="133"/>
                      <a:pt x="129" y="133"/>
                    </a:cubicBezTo>
                    <a:cubicBezTo>
                      <a:pt x="129" y="133"/>
                      <a:pt x="71" y="79"/>
                      <a:pt x="59" y="63"/>
                    </a:cubicBezTo>
                    <a:cubicBezTo>
                      <a:pt x="47" y="47"/>
                      <a:pt x="5" y="21"/>
                      <a:pt x="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166">
                <a:extLst>
                  <a:ext uri="{FF2B5EF4-FFF2-40B4-BE49-F238E27FC236}">
                    <a16:creationId xmlns:a16="http://schemas.microsoft.com/office/drawing/2014/main" id="{808F7BDA-3548-48BA-8B42-54A3C1CA67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3440" y="4584411"/>
                <a:ext cx="212659" cy="1041673"/>
              </a:xfrm>
              <a:custGeom>
                <a:avLst/>
                <a:gdLst>
                  <a:gd name="T0" fmla="*/ 46 w 108"/>
                  <a:gd name="T1" fmla="*/ 0 h 529"/>
                  <a:gd name="T2" fmla="*/ 64 w 108"/>
                  <a:gd name="T3" fmla="*/ 67 h 529"/>
                  <a:gd name="T4" fmla="*/ 74 w 108"/>
                  <a:gd name="T5" fmla="*/ 107 h 529"/>
                  <a:gd name="T6" fmla="*/ 84 w 108"/>
                  <a:gd name="T7" fmla="*/ 299 h 529"/>
                  <a:gd name="T8" fmla="*/ 98 w 108"/>
                  <a:gd name="T9" fmla="*/ 521 h 529"/>
                  <a:gd name="T10" fmla="*/ 66 w 108"/>
                  <a:gd name="T11" fmla="*/ 409 h 529"/>
                  <a:gd name="T12" fmla="*/ 32 w 108"/>
                  <a:gd name="T13" fmla="*/ 229 h 529"/>
                  <a:gd name="T14" fmla="*/ 16 w 108"/>
                  <a:gd name="T15" fmla="*/ 121 h 529"/>
                  <a:gd name="T16" fmla="*/ 32 w 108"/>
                  <a:gd name="T17" fmla="*/ 91 h 529"/>
                  <a:gd name="T18" fmla="*/ 11 w 108"/>
                  <a:gd name="T19" fmla="*/ 67 h 529"/>
                  <a:gd name="T20" fmla="*/ 14 w 108"/>
                  <a:gd name="T21" fmla="*/ 39 h 529"/>
                  <a:gd name="T22" fmla="*/ 46 w 108"/>
                  <a:gd name="T23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8" h="529">
                    <a:moveTo>
                      <a:pt x="46" y="0"/>
                    </a:moveTo>
                    <a:cubicBezTo>
                      <a:pt x="46" y="0"/>
                      <a:pt x="68" y="43"/>
                      <a:pt x="64" y="67"/>
                    </a:cubicBezTo>
                    <a:cubicBezTo>
                      <a:pt x="60" y="91"/>
                      <a:pt x="74" y="97"/>
                      <a:pt x="74" y="107"/>
                    </a:cubicBezTo>
                    <a:cubicBezTo>
                      <a:pt x="74" y="117"/>
                      <a:pt x="84" y="251"/>
                      <a:pt x="84" y="299"/>
                    </a:cubicBezTo>
                    <a:cubicBezTo>
                      <a:pt x="84" y="347"/>
                      <a:pt x="88" y="517"/>
                      <a:pt x="98" y="521"/>
                    </a:cubicBezTo>
                    <a:cubicBezTo>
                      <a:pt x="108" y="525"/>
                      <a:pt x="74" y="529"/>
                      <a:pt x="66" y="409"/>
                    </a:cubicBezTo>
                    <a:cubicBezTo>
                      <a:pt x="66" y="409"/>
                      <a:pt x="42" y="253"/>
                      <a:pt x="32" y="229"/>
                    </a:cubicBezTo>
                    <a:cubicBezTo>
                      <a:pt x="22" y="205"/>
                      <a:pt x="14" y="141"/>
                      <a:pt x="16" y="121"/>
                    </a:cubicBezTo>
                    <a:cubicBezTo>
                      <a:pt x="18" y="101"/>
                      <a:pt x="35" y="99"/>
                      <a:pt x="32" y="91"/>
                    </a:cubicBezTo>
                    <a:cubicBezTo>
                      <a:pt x="28" y="84"/>
                      <a:pt x="12" y="74"/>
                      <a:pt x="11" y="67"/>
                    </a:cubicBezTo>
                    <a:cubicBezTo>
                      <a:pt x="10" y="60"/>
                      <a:pt x="0" y="56"/>
                      <a:pt x="14" y="39"/>
                    </a:cubicBezTo>
                    <a:cubicBezTo>
                      <a:pt x="28" y="22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167">
                <a:extLst>
                  <a:ext uri="{FF2B5EF4-FFF2-40B4-BE49-F238E27FC236}">
                    <a16:creationId xmlns:a16="http://schemas.microsoft.com/office/drawing/2014/main" id="{5506C87D-08CE-4B78-BDAD-7394C39E0C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3629" y="4595223"/>
                <a:ext cx="361642" cy="271532"/>
              </a:xfrm>
              <a:custGeom>
                <a:avLst/>
                <a:gdLst>
                  <a:gd name="T0" fmla="*/ 184 w 184"/>
                  <a:gd name="T1" fmla="*/ 132 h 138"/>
                  <a:gd name="T2" fmla="*/ 144 w 184"/>
                  <a:gd name="T3" fmla="*/ 68 h 138"/>
                  <a:gd name="T4" fmla="*/ 36 w 184"/>
                  <a:gd name="T5" fmla="*/ 22 h 138"/>
                  <a:gd name="T6" fmla="*/ 104 w 184"/>
                  <a:gd name="T7" fmla="*/ 72 h 138"/>
                  <a:gd name="T8" fmla="*/ 164 w 184"/>
                  <a:gd name="T9" fmla="*/ 112 h 138"/>
                  <a:gd name="T10" fmla="*/ 184 w 184"/>
                  <a:gd name="T11" fmla="*/ 13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138">
                    <a:moveTo>
                      <a:pt x="184" y="132"/>
                    </a:moveTo>
                    <a:cubicBezTo>
                      <a:pt x="184" y="132"/>
                      <a:pt x="182" y="86"/>
                      <a:pt x="144" y="68"/>
                    </a:cubicBezTo>
                    <a:cubicBezTo>
                      <a:pt x="106" y="50"/>
                      <a:pt x="72" y="44"/>
                      <a:pt x="36" y="22"/>
                    </a:cubicBezTo>
                    <a:cubicBezTo>
                      <a:pt x="0" y="0"/>
                      <a:pt x="68" y="50"/>
                      <a:pt x="104" y="72"/>
                    </a:cubicBezTo>
                    <a:cubicBezTo>
                      <a:pt x="140" y="94"/>
                      <a:pt x="150" y="86"/>
                      <a:pt x="164" y="112"/>
                    </a:cubicBezTo>
                    <a:cubicBezTo>
                      <a:pt x="178" y="138"/>
                      <a:pt x="174" y="134"/>
                      <a:pt x="184" y="1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168">
                <a:extLst>
                  <a:ext uri="{FF2B5EF4-FFF2-40B4-BE49-F238E27FC236}">
                    <a16:creationId xmlns:a16="http://schemas.microsoft.com/office/drawing/2014/main" id="{9F4D909A-0B6D-4BA3-86AB-88EA9D3D2C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760" y="4185523"/>
                <a:ext cx="421715" cy="1086127"/>
              </a:xfrm>
              <a:custGeom>
                <a:avLst/>
                <a:gdLst>
                  <a:gd name="T0" fmla="*/ 214 w 214"/>
                  <a:gd name="T1" fmla="*/ 0 h 552"/>
                  <a:gd name="T2" fmla="*/ 20 w 214"/>
                  <a:gd name="T3" fmla="*/ 232 h 552"/>
                  <a:gd name="T4" fmla="*/ 14 w 214"/>
                  <a:gd name="T5" fmla="*/ 428 h 552"/>
                  <a:gd name="T6" fmla="*/ 54 w 214"/>
                  <a:gd name="T7" fmla="*/ 162 h 552"/>
                  <a:gd name="T8" fmla="*/ 214 w 214"/>
                  <a:gd name="T9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552">
                    <a:moveTo>
                      <a:pt x="214" y="0"/>
                    </a:moveTo>
                    <a:cubicBezTo>
                      <a:pt x="214" y="0"/>
                      <a:pt x="54" y="48"/>
                      <a:pt x="20" y="232"/>
                    </a:cubicBezTo>
                    <a:cubicBezTo>
                      <a:pt x="20" y="232"/>
                      <a:pt x="0" y="304"/>
                      <a:pt x="14" y="428"/>
                    </a:cubicBezTo>
                    <a:cubicBezTo>
                      <a:pt x="28" y="552"/>
                      <a:pt x="4" y="236"/>
                      <a:pt x="54" y="162"/>
                    </a:cubicBezTo>
                    <a:cubicBezTo>
                      <a:pt x="104" y="88"/>
                      <a:pt x="126" y="46"/>
                      <a:pt x="214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169">
                <a:extLst>
                  <a:ext uri="{FF2B5EF4-FFF2-40B4-BE49-F238E27FC236}">
                    <a16:creationId xmlns:a16="http://schemas.microsoft.com/office/drawing/2014/main" id="{DEAFABEC-4C76-46ED-AEFE-88497FC6F2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7695" y="3889962"/>
                <a:ext cx="323195" cy="418111"/>
              </a:xfrm>
              <a:custGeom>
                <a:avLst/>
                <a:gdLst>
                  <a:gd name="T0" fmla="*/ 164 w 164"/>
                  <a:gd name="T1" fmla="*/ 212 h 212"/>
                  <a:gd name="T2" fmla="*/ 96 w 164"/>
                  <a:gd name="T3" fmla="*/ 146 h 212"/>
                  <a:gd name="T4" fmla="*/ 32 w 164"/>
                  <a:gd name="T5" fmla="*/ 112 h 212"/>
                  <a:gd name="T6" fmla="*/ 44 w 164"/>
                  <a:gd name="T7" fmla="*/ 74 h 212"/>
                  <a:gd name="T8" fmla="*/ 21 w 164"/>
                  <a:gd name="T9" fmla="*/ 0 h 212"/>
                  <a:gd name="T10" fmla="*/ 164 w 164"/>
                  <a:gd name="T11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212">
                    <a:moveTo>
                      <a:pt x="164" y="212"/>
                    </a:moveTo>
                    <a:cubicBezTo>
                      <a:pt x="164" y="212"/>
                      <a:pt x="122" y="168"/>
                      <a:pt x="96" y="146"/>
                    </a:cubicBezTo>
                    <a:cubicBezTo>
                      <a:pt x="70" y="124"/>
                      <a:pt x="64" y="140"/>
                      <a:pt x="32" y="112"/>
                    </a:cubicBezTo>
                    <a:cubicBezTo>
                      <a:pt x="0" y="84"/>
                      <a:pt x="32" y="100"/>
                      <a:pt x="44" y="74"/>
                    </a:cubicBezTo>
                    <a:cubicBezTo>
                      <a:pt x="56" y="48"/>
                      <a:pt x="21" y="0"/>
                      <a:pt x="21" y="0"/>
                    </a:cubicBezTo>
                    <a:cubicBezTo>
                      <a:pt x="21" y="0"/>
                      <a:pt x="132" y="86"/>
                      <a:pt x="164" y="21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170">
                <a:extLst>
                  <a:ext uri="{FF2B5EF4-FFF2-40B4-BE49-F238E27FC236}">
                    <a16:creationId xmlns:a16="http://schemas.microsoft.com/office/drawing/2014/main" id="{7134E79E-13DC-46DA-A18E-3C23ED30ED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58864" y="6334949"/>
                <a:ext cx="499811" cy="205451"/>
              </a:xfrm>
              <a:custGeom>
                <a:avLst/>
                <a:gdLst>
                  <a:gd name="T0" fmla="*/ 252 w 254"/>
                  <a:gd name="T1" fmla="*/ 20 h 104"/>
                  <a:gd name="T2" fmla="*/ 248 w 254"/>
                  <a:gd name="T3" fmla="*/ 27 h 104"/>
                  <a:gd name="T4" fmla="*/ 228 w 254"/>
                  <a:gd name="T5" fmla="*/ 62 h 104"/>
                  <a:gd name="T6" fmla="*/ 164 w 254"/>
                  <a:gd name="T7" fmla="*/ 78 h 104"/>
                  <a:gd name="T8" fmla="*/ 8 w 254"/>
                  <a:gd name="T9" fmla="*/ 90 h 104"/>
                  <a:gd name="T10" fmla="*/ 0 w 254"/>
                  <a:gd name="T11" fmla="*/ 88 h 104"/>
                  <a:gd name="T12" fmla="*/ 180 w 254"/>
                  <a:gd name="T13" fmla="*/ 96 h 104"/>
                  <a:gd name="T14" fmla="*/ 252 w 254"/>
                  <a:gd name="T15" fmla="*/ 52 h 104"/>
                  <a:gd name="T16" fmla="*/ 252 w 254"/>
                  <a:gd name="T17" fmla="*/ 2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104">
                    <a:moveTo>
                      <a:pt x="252" y="20"/>
                    </a:moveTo>
                    <a:cubicBezTo>
                      <a:pt x="252" y="20"/>
                      <a:pt x="250" y="23"/>
                      <a:pt x="248" y="27"/>
                    </a:cubicBezTo>
                    <a:cubicBezTo>
                      <a:pt x="243" y="36"/>
                      <a:pt x="234" y="51"/>
                      <a:pt x="228" y="62"/>
                    </a:cubicBezTo>
                    <a:cubicBezTo>
                      <a:pt x="218" y="78"/>
                      <a:pt x="216" y="74"/>
                      <a:pt x="164" y="78"/>
                    </a:cubicBezTo>
                    <a:cubicBezTo>
                      <a:pt x="112" y="82"/>
                      <a:pt x="14" y="84"/>
                      <a:pt x="8" y="90"/>
                    </a:cubicBezTo>
                    <a:cubicBezTo>
                      <a:pt x="2" y="96"/>
                      <a:pt x="0" y="88"/>
                      <a:pt x="0" y="88"/>
                    </a:cubicBezTo>
                    <a:cubicBezTo>
                      <a:pt x="0" y="88"/>
                      <a:pt x="142" y="92"/>
                      <a:pt x="180" y="96"/>
                    </a:cubicBezTo>
                    <a:cubicBezTo>
                      <a:pt x="218" y="100"/>
                      <a:pt x="254" y="104"/>
                      <a:pt x="252" y="52"/>
                    </a:cubicBezTo>
                    <a:cubicBezTo>
                      <a:pt x="250" y="0"/>
                      <a:pt x="252" y="20"/>
                      <a:pt x="252" y="2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171">
                <a:extLst>
                  <a:ext uri="{FF2B5EF4-FFF2-40B4-BE49-F238E27FC236}">
                    <a16:creationId xmlns:a16="http://schemas.microsoft.com/office/drawing/2014/main" id="{93BEDEBB-BDA2-432C-9527-3907285D79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0264" y="6208796"/>
                <a:ext cx="205451" cy="287151"/>
              </a:xfrm>
              <a:custGeom>
                <a:avLst/>
                <a:gdLst>
                  <a:gd name="T0" fmla="*/ 22 w 104"/>
                  <a:gd name="T1" fmla="*/ 0 h 146"/>
                  <a:gd name="T2" fmla="*/ 40 w 104"/>
                  <a:gd name="T3" fmla="*/ 70 h 146"/>
                  <a:gd name="T4" fmla="*/ 70 w 104"/>
                  <a:gd name="T5" fmla="*/ 114 h 146"/>
                  <a:gd name="T6" fmla="*/ 104 w 104"/>
                  <a:gd name="T7" fmla="*/ 142 h 146"/>
                  <a:gd name="T8" fmla="*/ 10 w 104"/>
                  <a:gd name="T9" fmla="*/ 126 h 146"/>
                  <a:gd name="T10" fmla="*/ 8 w 104"/>
                  <a:gd name="T11" fmla="*/ 60 h 146"/>
                  <a:gd name="T12" fmla="*/ 22 w 104"/>
                  <a:gd name="T13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46">
                    <a:moveTo>
                      <a:pt x="22" y="0"/>
                    </a:moveTo>
                    <a:cubicBezTo>
                      <a:pt x="22" y="0"/>
                      <a:pt x="38" y="42"/>
                      <a:pt x="40" y="70"/>
                    </a:cubicBezTo>
                    <a:cubicBezTo>
                      <a:pt x="42" y="98"/>
                      <a:pt x="54" y="98"/>
                      <a:pt x="70" y="114"/>
                    </a:cubicBezTo>
                    <a:cubicBezTo>
                      <a:pt x="86" y="130"/>
                      <a:pt x="104" y="142"/>
                      <a:pt x="104" y="142"/>
                    </a:cubicBezTo>
                    <a:cubicBezTo>
                      <a:pt x="104" y="142"/>
                      <a:pt x="38" y="146"/>
                      <a:pt x="10" y="126"/>
                    </a:cubicBezTo>
                    <a:cubicBezTo>
                      <a:pt x="10" y="126"/>
                      <a:pt x="0" y="86"/>
                      <a:pt x="8" y="60"/>
                    </a:cubicBezTo>
                    <a:cubicBezTo>
                      <a:pt x="8" y="60"/>
                      <a:pt x="27" y="18"/>
                      <a:pt x="22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172">
                <a:extLst>
                  <a:ext uri="{FF2B5EF4-FFF2-40B4-BE49-F238E27FC236}">
                    <a16:creationId xmlns:a16="http://schemas.microsoft.com/office/drawing/2014/main" id="{0C360291-0BA3-4C4C-9B7F-8CD5DB98A7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4881" y="6366188"/>
                <a:ext cx="480587" cy="146579"/>
              </a:xfrm>
              <a:custGeom>
                <a:avLst/>
                <a:gdLst>
                  <a:gd name="T0" fmla="*/ 6 w 244"/>
                  <a:gd name="T1" fmla="*/ 6 h 74"/>
                  <a:gd name="T2" fmla="*/ 60 w 244"/>
                  <a:gd name="T3" fmla="*/ 18 h 74"/>
                  <a:gd name="T4" fmla="*/ 142 w 244"/>
                  <a:gd name="T5" fmla="*/ 42 h 74"/>
                  <a:gd name="T6" fmla="*/ 202 w 244"/>
                  <a:gd name="T7" fmla="*/ 58 h 74"/>
                  <a:gd name="T8" fmla="*/ 221 w 244"/>
                  <a:gd name="T9" fmla="*/ 68 h 74"/>
                  <a:gd name="T10" fmla="*/ 184 w 244"/>
                  <a:gd name="T11" fmla="*/ 46 h 74"/>
                  <a:gd name="T12" fmla="*/ 100 w 244"/>
                  <a:gd name="T13" fmla="*/ 20 h 74"/>
                  <a:gd name="T14" fmla="*/ 6 w 244"/>
                  <a:gd name="T15" fmla="*/ 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4" h="74">
                    <a:moveTo>
                      <a:pt x="6" y="6"/>
                    </a:moveTo>
                    <a:cubicBezTo>
                      <a:pt x="6" y="6"/>
                      <a:pt x="46" y="18"/>
                      <a:pt x="60" y="18"/>
                    </a:cubicBezTo>
                    <a:cubicBezTo>
                      <a:pt x="74" y="18"/>
                      <a:pt x="128" y="40"/>
                      <a:pt x="142" y="42"/>
                    </a:cubicBezTo>
                    <a:cubicBezTo>
                      <a:pt x="156" y="44"/>
                      <a:pt x="196" y="58"/>
                      <a:pt x="202" y="58"/>
                    </a:cubicBezTo>
                    <a:cubicBezTo>
                      <a:pt x="208" y="58"/>
                      <a:pt x="228" y="62"/>
                      <a:pt x="221" y="68"/>
                    </a:cubicBezTo>
                    <a:cubicBezTo>
                      <a:pt x="214" y="74"/>
                      <a:pt x="244" y="58"/>
                      <a:pt x="184" y="46"/>
                    </a:cubicBezTo>
                    <a:cubicBezTo>
                      <a:pt x="124" y="34"/>
                      <a:pt x="110" y="22"/>
                      <a:pt x="100" y="20"/>
                    </a:cubicBezTo>
                    <a:cubicBezTo>
                      <a:pt x="90" y="18"/>
                      <a:pt x="0" y="0"/>
                      <a:pt x="6" y="6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173">
                <a:extLst>
                  <a:ext uri="{FF2B5EF4-FFF2-40B4-BE49-F238E27FC236}">
                    <a16:creationId xmlns:a16="http://schemas.microsoft.com/office/drawing/2014/main" id="{7ED72DB7-1CFC-48E9-9DDD-F354ECE527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1848" y="6315726"/>
                <a:ext cx="582712" cy="207854"/>
              </a:xfrm>
              <a:custGeom>
                <a:avLst/>
                <a:gdLst>
                  <a:gd name="T0" fmla="*/ 0 w 296"/>
                  <a:gd name="T1" fmla="*/ 0 h 106"/>
                  <a:gd name="T2" fmla="*/ 64 w 296"/>
                  <a:gd name="T3" fmla="*/ 16 h 106"/>
                  <a:gd name="T4" fmla="*/ 112 w 296"/>
                  <a:gd name="T5" fmla="*/ 34 h 106"/>
                  <a:gd name="T6" fmla="*/ 190 w 296"/>
                  <a:gd name="T7" fmla="*/ 62 h 106"/>
                  <a:gd name="T8" fmla="*/ 248 w 296"/>
                  <a:gd name="T9" fmla="*/ 80 h 106"/>
                  <a:gd name="T10" fmla="*/ 252 w 296"/>
                  <a:gd name="T11" fmla="*/ 106 h 106"/>
                  <a:gd name="T12" fmla="*/ 232 w 296"/>
                  <a:gd name="T13" fmla="*/ 66 h 106"/>
                  <a:gd name="T14" fmla="*/ 128 w 296"/>
                  <a:gd name="T15" fmla="*/ 32 h 106"/>
                  <a:gd name="T16" fmla="*/ 0 w 296"/>
                  <a:gd name="T17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6" h="106">
                    <a:moveTo>
                      <a:pt x="0" y="0"/>
                    </a:moveTo>
                    <a:cubicBezTo>
                      <a:pt x="0" y="0"/>
                      <a:pt x="46" y="16"/>
                      <a:pt x="64" y="16"/>
                    </a:cubicBezTo>
                    <a:cubicBezTo>
                      <a:pt x="82" y="16"/>
                      <a:pt x="100" y="30"/>
                      <a:pt x="112" y="34"/>
                    </a:cubicBezTo>
                    <a:cubicBezTo>
                      <a:pt x="124" y="38"/>
                      <a:pt x="178" y="58"/>
                      <a:pt x="190" y="62"/>
                    </a:cubicBezTo>
                    <a:cubicBezTo>
                      <a:pt x="190" y="62"/>
                      <a:pt x="240" y="70"/>
                      <a:pt x="248" y="80"/>
                    </a:cubicBezTo>
                    <a:cubicBezTo>
                      <a:pt x="256" y="90"/>
                      <a:pt x="269" y="90"/>
                      <a:pt x="252" y="106"/>
                    </a:cubicBezTo>
                    <a:cubicBezTo>
                      <a:pt x="252" y="106"/>
                      <a:pt x="296" y="96"/>
                      <a:pt x="232" y="66"/>
                    </a:cubicBezTo>
                    <a:cubicBezTo>
                      <a:pt x="232" y="66"/>
                      <a:pt x="158" y="42"/>
                      <a:pt x="128" y="32"/>
                    </a:cubicBezTo>
                    <a:cubicBezTo>
                      <a:pt x="98" y="22"/>
                      <a:pt x="56" y="2"/>
                      <a:pt x="0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174">
                <a:extLst>
                  <a:ext uri="{FF2B5EF4-FFF2-40B4-BE49-F238E27FC236}">
                    <a16:creationId xmlns:a16="http://schemas.microsoft.com/office/drawing/2014/main" id="{B48ED7B6-263A-4B6D-B471-105D46163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6822" y="6497148"/>
                <a:ext cx="283546" cy="26432"/>
              </a:xfrm>
              <a:custGeom>
                <a:avLst/>
                <a:gdLst>
                  <a:gd name="T0" fmla="*/ 0 w 144"/>
                  <a:gd name="T1" fmla="*/ 4 h 14"/>
                  <a:gd name="T2" fmla="*/ 40 w 144"/>
                  <a:gd name="T3" fmla="*/ 0 h 14"/>
                  <a:gd name="T4" fmla="*/ 84 w 144"/>
                  <a:gd name="T5" fmla="*/ 4 h 14"/>
                  <a:gd name="T6" fmla="*/ 144 w 144"/>
                  <a:gd name="T7" fmla="*/ 14 h 14"/>
                  <a:gd name="T8" fmla="*/ 0 w 144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">
                    <a:moveTo>
                      <a:pt x="0" y="4"/>
                    </a:moveTo>
                    <a:cubicBezTo>
                      <a:pt x="0" y="4"/>
                      <a:pt x="32" y="0"/>
                      <a:pt x="40" y="0"/>
                    </a:cubicBezTo>
                    <a:cubicBezTo>
                      <a:pt x="48" y="0"/>
                      <a:pt x="54" y="0"/>
                      <a:pt x="84" y="4"/>
                    </a:cubicBezTo>
                    <a:cubicBezTo>
                      <a:pt x="114" y="8"/>
                      <a:pt x="144" y="14"/>
                      <a:pt x="144" y="14"/>
                    </a:cubicBezTo>
                    <a:lnTo>
                      <a:pt x="0" y="4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175">
                <a:extLst>
                  <a:ext uri="{FF2B5EF4-FFF2-40B4-BE49-F238E27FC236}">
                    <a16:creationId xmlns:a16="http://schemas.microsoft.com/office/drawing/2014/main" id="{8DE4DE14-1E77-4647-996C-C5FA65110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1184" y="4012512"/>
                <a:ext cx="287151" cy="294360"/>
              </a:xfrm>
              <a:custGeom>
                <a:avLst/>
                <a:gdLst>
                  <a:gd name="T0" fmla="*/ 146 w 146"/>
                  <a:gd name="T1" fmla="*/ 146 h 150"/>
                  <a:gd name="T2" fmla="*/ 0 w 146"/>
                  <a:gd name="T3" fmla="*/ 0 h 150"/>
                  <a:gd name="T4" fmla="*/ 120 w 146"/>
                  <a:gd name="T5" fmla="*/ 150 h 150"/>
                  <a:gd name="T6" fmla="*/ 146 w 146"/>
                  <a:gd name="T7" fmla="*/ 146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6" h="150">
                    <a:moveTo>
                      <a:pt x="146" y="146"/>
                    </a:moveTo>
                    <a:cubicBezTo>
                      <a:pt x="146" y="146"/>
                      <a:pt x="42" y="60"/>
                      <a:pt x="0" y="0"/>
                    </a:cubicBezTo>
                    <a:cubicBezTo>
                      <a:pt x="0" y="0"/>
                      <a:pt x="8" y="40"/>
                      <a:pt x="120" y="150"/>
                    </a:cubicBezTo>
                    <a:cubicBezTo>
                      <a:pt x="120" y="150"/>
                      <a:pt x="134" y="146"/>
                      <a:pt x="146" y="146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176">
                <a:extLst>
                  <a:ext uri="{FF2B5EF4-FFF2-40B4-BE49-F238E27FC236}">
                    <a16:creationId xmlns:a16="http://schemas.microsoft.com/office/drawing/2014/main" id="{A045662E-957B-453B-918C-AFAE4B529A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5336" y="3873141"/>
                <a:ext cx="198242" cy="552675"/>
              </a:xfrm>
              <a:custGeom>
                <a:avLst/>
                <a:gdLst>
                  <a:gd name="T0" fmla="*/ 101 w 101"/>
                  <a:gd name="T1" fmla="*/ 0 h 281"/>
                  <a:gd name="T2" fmla="*/ 83 w 101"/>
                  <a:gd name="T3" fmla="*/ 93 h 281"/>
                  <a:gd name="T4" fmla="*/ 45 w 101"/>
                  <a:gd name="T5" fmla="*/ 121 h 281"/>
                  <a:gd name="T6" fmla="*/ 87 w 101"/>
                  <a:gd name="T7" fmla="*/ 257 h 281"/>
                  <a:gd name="T8" fmla="*/ 85 w 101"/>
                  <a:gd name="T9" fmla="*/ 281 h 281"/>
                  <a:gd name="T10" fmla="*/ 0 w 101"/>
                  <a:gd name="T11" fmla="*/ 100 h 281"/>
                  <a:gd name="T12" fmla="*/ 47 w 101"/>
                  <a:gd name="T13" fmla="*/ 101 h 281"/>
                  <a:gd name="T14" fmla="*/ 23 w 101"/>
                  <a:gd name="T15" fmla="*/ 84 h 281"/>
                  <a:gd name="T16" fmla="*/ 55 w 101"/>
                  <a:gd name="T17" fmla="*/ 85 h 281"/>
                  <a:gd name="T18" fmla="*/ 101 w 101"/>
                  <a:gd name="T1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81">
                    <a:moveTo>
                      <a:pt x="101" y="0"/>
                    </a:moveTo>
                    <a:cubicBezTo>
                      <a:pt x="101" y="0"/>
                      <a:pt x="99" y="77"/>
                      <a:pt x="83" y="93"/>
                    </a:cubicBezTo>
                    <a:cubicBezTo>
                      <a:pt x="67" y="109"/>
                      <a:pt x="47" y="103"/>
                      <a:pt x="45" y="121"/>
                    </a:cubicBezTo>
                    <a:cubicBezTo>
                      <a:pt x="43" y="139"/>
                      <a:pt x="89" y="233"/>
                      <a:pt x="87" y="257"/>
                    </a:cubicBezTo>
                    <a:cubicBezTo>
                      <a:pt x="85" y="281"/>
                      <a:pt x="85" y="281"/>
                      <a:pt x="85" y="281"/>
                    </a:cubicBezTo>
                    <a:cubicBezTo>
                      <a:pt x="85" y="281"/>
                      <a:pt x="39" y="140"/>
                      <a:pt x="0" y="100"/>
                    </a:cubicBezTo>
                    <a:cubicBezTo>
                      <a:pt x="0" y="100"/>
                      <a:pt x="35" y="115"/>
                      <a:pt x="47" y="101"/>
                    </a:cubicBezTo>
                    <a:cubicBezTo>
                      <a:pt x="47" y="101"/>
                      <a:pt x="19" y="91"/>
                      <a:pt x="23" y="84"/>
                    </a:cubicBezTo>
                    <a:cubicBezTo>
                      <a:pt x="23" y="84"/>
                      <a:pt x="27" y="77"/>
                      <a:pt x="55" y="85"/>
                    </a:cubicBezTo>
                    <a:cubicBezTo>
                      <a:pt x="55" y="85"/>
                      <a:pt x="90" y="67"/>
                      <a:pt x="101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177">
                <a:extLst>
                  <a:ext uri="{FF2B5EF4-FFF2-40B4-BE49-F238E27FC236}">
                    <a16:creationId xmlns:a16="http://schemas.microsoft.com/office/drawing/2014/main" id="{94CB7499-68D8-4848-A1A8-DC2B293382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6561" y="2905959"/>
                <a:ext cx="440938" cy="366448"/>
              </a:xfrm>
              <a:custGeom>
                <a:avLst/>
                <a:gdLst>
                  <a:gd name="T0" fmla="*/ 38 w 224"/>
                  <a:gd name="T1" fmla="*/ 28 h 186"/>
                  <a:gd name="T2" fmla="*/ 110 w 224"/>
                  <a:gd name="T3" fmla="*/ 36 h 186"/>
                  <a:gd name="T4" fmla="*/ 108 w 224"/>
                  <a:gd name="T5" fmla="*/ 46 h 186"/>
                  <a:gd name="T6" fmla="*/ 184 w 224"/>
                  <a:gd name="T7" fmla="*/ 74 h 186"/>
                  <a:gd name="T8" fmla="*/ 200 w 224"/>
                  <a:gd name="T9" fmla="*/ 156 h 186"/>
                  <a:gd name="T10" fmla="*/ 184 w 224"/>
                  <a:gd name="T11" fmla="*/ 112 h 186"/>
                  <a:gd name="T12" fmla="*/ 156 w 224"/>
                  <a:gd name="T13" fmla="*/ 82 h 186"/>
                  <a:gd name="T14" fmla="*/ 166 w 224"/>
                  <a:gd name="T15" fmla="*/ 132 h 186"/>
                  <a:gd name="T16" fmla="*/ 102 w 224"/>
                  <a:gd name="T17" fmla="*/ 90 h 186"/>
                  <a:gd name="T18" fmla="*/ 38 w 224"/>
                  <a:gd name="T19" fmla="*/ 2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4" h="186">
                    <a:moveTo>
                      <a:pt x="38" y="28"/>
                    </a:moveTo>
                    <a:cubicBezTo>
                      <a:pt x="38" y="28"/>
                      <a:pt x="92" y="36"/>
                      <a:pt x="110" y="36"/>
                    </a:cubicBezTo>
                    <a:cubicBezTo>
                      <a:pt x="128" y="36"/>
                      <a:pt x="114" y="46"/>
                      <a:pt x="108" y="46"/>
                    </a:cubicBezTo>
                    <a:cubicBezTo>
                      <a:pt x="102" y="46"/>
                      <a:pt x="162" y="52"/>
                      <a:pt x="184" y="74"/>
                    </a:cubicBezTo>
                    <a:cubicBezTo>
                      <a:pt x="206" y="96"/>
                      <a:pt x="224" y="126"/>
                      <a:pt x="200" y="156"/>
                    </a:cubicBezTo>
                    <a:cubicBezTo>
                      <a:pt x="176" y="186"/>
                      <a:pt x="196" y="134"/>
                      <a:pt x="184" y="112"/>
                    </a:cubicBezTo>
                    <a:cubicBezTo>
                      <a:pt x="172" y="90"/>
                      <a:pt x="168" y="88"/>
                      <a:pt x="156" y="82"/>
                    </a:cubicBezTo>
                    <a:cubicBezTo>
                      <a:pt x="156" y="82"/>
                      <a:pt x="174" y="102"/>
                      <a:pt x="166" y="132"/>
                    </a:cubicBezTo>
                    <a:cubicBezTo>
                      <a:pt x="158" y="162"/>
                      <a:pt x="142" y="104"/>
                      <a:pt x="102" y="90"/>
                    </a:cubicBezTo>
                    <a:cubicBezTo>
                      <a:pt x="62" y="76"/>
                      <a:pt x="0" y="0"/>
                      <a:pt x="38" y="28"/>
                    </a:cubicBezTo>
                    <a:close/>
                  </a:path>
                </a:pathLst>
              </a:custGeom>
              <a:solidFill>
                <a:srgbClr val="4C392A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178">
                <a:extLst>
                  <a:ext uri="{FF2B5EF4-FFF2-40B4-BE49-F238E27FC236}">
                    <a16:creationId xmlns:a16="http://schemas.microsoft.com/office/drawing/2014/main" id="{D264AD8B-64C8-4214-BAAA-4FBC9C648B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2794" y="2921578"/>
                <a:ext cx="346023" cy="346023"/>
              </a:xfrm>
              <a:custGeom>
                <a:avLst/>
                <a:gdLst>
                  <a:gd name="T0" fmla="*/ 176 w 176"/>
                  <a:gd name="T1" fmla="*/ 0 h 176"/>
                  <a:gd name="T2" fmla="*/ 94 w 176"/>
                  <a:gd name="T3" fmla="*/ 12 h 176"/>
                  <a:gd name="T4" fmla="*/ 36 w 176"/>
                  <a:gd name="T5" fmla="*/ 92 h 176"/>
                  <a:gd name="T6" fmla="*/ 10 w 176"/>
                  <a:gd name="T7" fmla="*/ 164 h 176"/>
                  <a:gd name="T8" fmla="*/ 68 w 176"/>
                  <a:gd name="T9" fmla="*/ 108 h 176"/>
                  <a:gd name="T10" fmla="*/ 96 w 176"/>
                  <a:gd name="T11" fmla="*/ 54 h 176"/>
                  <a:gd name="T12" fmla="*/ 176 w 176"/>
                  <a:gd name="T1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76">
                    <a:moveTo>
                      <a:pt x="176" y="0"/>
                    </a:moveTo>
                    <a:cubicBezTo>
                      <a:pt x="176" y="0"/>
                      <a:pt x="116" y="4"/>
                      <a:pt x="94" y="12"/>
                    </a:cubicBezTo>
                    <a:cubicBezTo>
                      <a:pt x="72" y="20"/>
                      <a:pt x="46" y="42"/>
                      <a:pt x="36" y="92"/>
                    </a:cubicBezTo>
                    <a:cubicBezTo>
                      <a:pt x="26" y="142"/>
                      <a:pt x="20" y="152"/>
                      <a:pt x="10" y="164"/>
                    </a:cubicBezTo>
                    <a:cubicBezTo>
                      <a:pt x="0" y="176"/>
                      <a:pt x="62" y="136"/>
                      <a:pt x="68" y="108"/>
                    </a:cubicBezTo>
                    <a:cubicBezTo>
                      <a:pt x="74" y="80"/>
                      <a:pt x="48" y="84"/>
                      <a:pt x="96" y="54"/>
                    </a:cubicBezTo>
                    <a:cubicBezTo>
                      <a:pt x="144" y="24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179">
                <a:extLst>
                  <a:ext uri="{FF2B5EF4-FFF2-40B4-BE49-F238E27FC236}">
                    <a16:creationId xmlns:a16="http://schemas.microsoft.com/office/drawing/2014/main" id="{8CE1C401-C655-47E7-8618-E53BB8E7F3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6613" y="6004546"/>
                <a:ext cx="165803" cy="90110"/>
              </a:xfrm>
              <a:custGeom>
                <a:avLst/>
                <a:gdLst>
                  <a:gd name="T0" fmla="*/ 82 w 84"/>
                  <a:gd name="T1" fmla="*/ 10 h 46"/>
                  <a:gd name="T2" fmla="*/ 0 w 84"/>
                  <a:gd name="T3" fmla="*/ 46 h 46"/>
                  <a:gd name="T4" fmla="*/ 48 w 84"/>
                  <a:gd name="T5" fmla="*/ 26 h 46"/>
                  <a:gd name="T6" fmla="*/ 82 w 84"/>
                  <a:gd name="T7" fmla="*/ 1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4" h="46">
                    <a:moveTo>
                      <a:pt x="82" y="10"/>
                    </a:moveTo>
                    <a:cubicBezTo>
                      <a:pt x="82" y="10"/>
                      <a:pt x="12" y="0"/>
                      <a:pt x="0" y="46"/>
                    </a:cubicBezTo>
                    <a:cubicBezTo>
                      <a:pt x="0" y="46"/>
                      <a:pt x="32" y="28"/>
                      <a:pt x="48" y="26"/>
                    </a:cubicBezTo>
                    <a:cubicBezTo>
                      <a:pt x="64" y="24"/>
                      <a:pt x="84" y="26"/>
                      <a:pt x="82" y="1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180">
                <a:extLst>
                  <a:ext uri="{FF2B5EF4-FFF2-40B4-BE49-F238E27FC236}">
                    <a16:creationId xmlns:a16="http://schemas.microsoft.com/office/drawing/2014/main" id="{69162321-CD80-4C32-AF50-D7F13DD43C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5727" y="6125894"/>
                <a:ext cx="394082" cy="371254"/>
              </a:xfrm>
              <a:custGeom>
                <a:avLst/>
                <a:gdLst>
                  <a:gd name="T0" fmla="*/ 0 w 200"/>
                  <a:gd name="T1" fmla="*/ 186 h 188"/>
                  <a:gd name="T2" fmla="*/ 78 w 200"/>
                  <a:gd name="T3" fmla="*/ 132 h 188"/>
                  <a:gd name="T4" fmla="*/ 160 w 200"/>
                  <a:gd name="T5" fmla="*/ 26 h 188"/>
                  <a:gd name="T6" fmla="*/ 126 w 200"/>
                  <a:gd name="T7" fmla="*/ 80 h 188"/>
                  <a:gd name="T8" fmla="*/ 88 w 200"/>
                  <a:gd name="T9" fmla="*/ 154 h 188"/>
                  <a:gd name="T10" fmla="*/ 24 w 200"/>
                  <a:gd name="T11" fmla="*/ 188 h 188"/>
                  <a:gd name="T12" fmla="*/ 0 w 200"/>
                  <a:gd name="T13" fmla="*/ 18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188">
                    <a:moveTo>
                      <a:pt x="0" y="186"/>
                    </a:moveTo>
                    <a:cubicBezTo>
                      <a:pt x="0" y="186"/>
                      <a:pt x="70" y="152"/>
                      <a:pt x="78" y="132"/>
                    </a:cubicBezTo>
                    <a:cubicBezTo>
                      <a:pt x="86" y="112"/>
                      <a:pt x="120" y="52"/>
                      <a:pt x="160" y="26"/>
                    </a:cubicBezTo>
                    <a:cubicBezTo>
                      <a:pt x="200" y="0"/>
                      <a:pt x="146" y="42"/>
                      <a:pt x="126" y="80"/>
                    </a:cubicBezTo>
                    <a:cubicBezTo>
                      <a:pt x="106" y="118"/>
                      <a:pt x="110" y="134"/>
                      <a:pt x="88" y="154"/>
                    </a:cubicBezTo>
                    <a:cubicBezTo>
                      <a:pt x="66" y="174"/>
                      <a:pt x="24" y="188"/>
                      <a:pt x="24" y="188"/>
                    </a:cubicBez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181">
                <a:extLst>
                  <a:ext uri="{FF2B5EF4-FFF2-40B4-BE49-F238E27FC236}">
                    <a16:creationId xmlns:a16="http://schemas.microsoft.com/office/drawing/2014/main" id="{4A669FC3-7C16-49C0-A750-C9BD5ED4CB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8324" y="3610019"/>
                <a:ext cx="108132" cy="437334"/>
              </a:xfrm>
              <a:custGeom>
                <a:avLst/>
                <a:gdLst>
                  <a:gd name="T0" fmla="*/ 5 w 55"/>
                  <a:gd name="T1" fmla="*/ 4 h 222"/>
                  <a:gd name="T2" fmla="*/ 41 w 55"/>
                  <a:gd name="T3" fmla="*/ 104 h 222"/>
                  <a:gd name="T4" fmla="*/ 19 w 55"/>
                  <a:gd name="T5" fmla="*/ 222 h 222"/>
                  <a:gd name="T6" fmla="*/ 33 w 55"/>
                  <a:gd name="T7" fmla="*/ 82 h 222"/>
                  <a:gd name="T8" fmla="*/ 5 w 55"/>
                  <a:gd name="T9" fmla="*/ 4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22">
                    <a:moveTo>
                      <a:pt x="5" y="4"/>
                    </a:moveTo>
                    <a:cubicBezTo>
                      <a:pt x="5" y="4"/>
                      <a:pt x="55" y="26"/>
                      <a:pt x="41" y="104"/>
                    </a:cubicBezTo>
                    <a:cubicBezTo>
                      <a:pt x="27" y="182"/>
                      <a:pt x="19" y="222"/>
                      <a:pt x="19" y="222"/>
                    </a:cubicBezTo>
                    <a:cubicBezTo>
                      <a:pt x="19" y="222"/>
                      <a:pt x="31" y="108"/>
                      <a:pt x="33" y="82"/>
                    </a:cubicBezTo>
                    <a:cubicBezTo>
                      <a:pt x="35" y="56"/>
                      <a:pt x="0" y="0"/>
                      <a:pt x="5" y="4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182">
                <a:extLst>
                  <a:ext uri="{FF2B5EF4-FFF2-40B4-BE49-F238E27FC236}">
                    <a16:creationId xmlns:a16="http://schemas.microsoft.com/office/drawing/2014/main" id="{6EDD654E-E254-4A84-B856-B53C25D920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846" y="3819075"/>
                <a:ext cx="323195" cy="185026"/>
              </a:xfrm>
              <a:custGeom>
                <a:avLst/>
                <a:gdLst>
                  <a:gd name="T0" fmla="*/ 164 w 164"/>
                  <a:gd name="T1" fmla="*/ 0 h 94"/>
                  <a:gd name="T2" fmla="*/ 112 w 164"/>
                  <a:gd name="T3" fmla="*/ 56 h 94"/>
                  <a:gd name="T4" fmla="*/ 46 w 164"/>
                  <a:gd name="T5" fmla="*/ 74 h 94"/>
                  <a:gd name="T6" fmla="*/ 92 w 164"/>
                  <a:gd name="T7" fmla="*/ 94 h 94"/>
                  <a:gd name="T8" fmla="*/ 140 w 164"/>
                  <a:gd name="T9" fmla="*/ 46 h 94"/>
                  <a:gd name="T10" fmla="*/ 164 w 164"/>
                  <a:gd name="T1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94">
                    <a:moveTo>
                      <a:pt x="164" y="0"/>
                    </a:moveTo>
                    <a:cubicBezTo>
                      <a:pt x="164" y="0"/>
                      <a:pt x="116" y="40"/>
                      <a:pt x="112" y="56"/>
                    </a:cubicBezTo>
                    <a:cubicBezTo>
                      <a:pt x="108" y="72"/>
                      <a:pt x="66" y="84"/>
                      <a:pt x="46" y="74"/>
                    </a:cubicBezTo>
                    <a:cubicBezTo>
                      <a:pt x="26" y="64"/>
                      <a:pt x="0" y="90"/>
                      <a:pt x="92" y="94"/>
                    </a:cubicBezTo>
                    <a:cubicBezTo>
                      <a:pt x="92" y="94"/>
                      <a:pt x="116" y="92"/>
                      <a:pt x="140" y="46"/>
                    </a:cubicBezTo>
                    <a:cubicBezTo>
                      <a:pt x="164" y="0"/>
                      <a:pt x="148" y="6"/>
                      <a:pt x="16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183">
                <a:extLst>
                  <a:ext uri="{FF2B5EF4-FFF2-40B4-BE49-F238E27FC236}">
                    <a16:creationId xmlns:a16="http://schemas.microsoft.com/office/drawing/2014/main" id="{0B002F70-5030-4EC7-9304-8095163F05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65" y="4109829"/>
                <a:ext cx="819401" cy="737702"/>
              </a:xfrm>
              <a:custGeom>
                <a:avLst/>
                <a:gdLst>
                  <a:gd name="T0" fmla="*/ 0 w 416"/>
                  <a:gd name="T1" fmla="*/ 308 h 375"/>
                  <a:gd name="T2" fmla="*/ 34 w 416"/>
                  <a:gd name="T3" fmla="*/ 240 h 375"/>
                  <a:gd name="T4" fmla="*/ 80 w 416"/>
                  <a:gd name="T5" fmla="*/ 168 h 375"/>
                  <a:gd name="T6" fmla="*/ 212 w 416"/>
                  <a:gd name="T7" fmla="*/ 24 h 375"/>
                  <a:gd name="T8" fmla="*/ 416 w 416"/>
                  <a:gd name="T9" fmla="*/ 0 h 375"/>
                  <a:gd name="T10" fmla="*/ 216 w 416"/>
                  <a:gd name="T11" fmla="*/ 70 h 375"/>
                  <a:gd name="T12" fmla="*/ 46 w 416"/>
                  <a:gd name="T13" fmla="*/ 286 h 375"/>
                  <a:gd name="T14" fmla="*/ 0 w 416"/>
                  <a:gd name="T15" fmla="*/ 375 h 375"/>
                  <a:gd name="T16" fmla="*/ 0 w 416"/>
                  <a:gd name="T17" fmla="*/ 308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375">
                    <a:moveTo>
                      <a:pt x="0" y="308"/>
                    </a:moveTo>
                    <a:cubicBezTo>
                      <a:pt x="0" y="308"/>
                      <a:pt x="26" y="292"/>
                      <a:pt x="34" y="240"/>
                    </a:cubicBezTo>
                    <a:cubicBezTo>
                      <a:pt x="42" y="188"/>
                      <a:pt x="66" y="190"/>
                      <a:pt x="80" y="168"/>
                    </a:cubicBezTo>
                    <a:cubicBezTo>
                      <a:pt x="94" y="146"/>
                      <a:pt x="144" y="44"/>
                      <a:pt x="212" y="24"/>
                    </a:cubicBezTo>
                    <a:cubicBezTo>
                      <a:pt x="280" y="4"/>
                      <a:pt x="400" y="3"/>
                      <a:pt x="416" y="0"/>
                    </a:cubicBezTo>
                    <a:cubicBezTo>
                      <a:pt x="416" y="0"/>
                      <a:pt x="284" y="20"/>
                      <a:pt x="216" y="70"/>
                    </a:cubicBezTo>
                    <a:cubicBezTo>
                      <a:pt x="216" y="70"/>
                      <a:pt x="140" y="92"/>
                      <a:pt x="46" y="286"/>
                    </a:cubicBezTo>
                    <a:cubicBezTo>
                      <a:pt x="0" y="375"/>
                      <a:pt x="0" y="375"/>
                      <a:pt x="0" y="375"/>
                    </a:cubicBezTo>
                    <a:lnTo>
                      <a:pt x="0" y="30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184">
                <a:extLst>
                  <a:ext uri="{FF2B5EF4-FFF2-40B4-BE49-F238E27FC236}">
                    <a16:creationId xmlns:a16="http://schemas.microsoft.com/office/drawing/2014/main" id="{C422A15C-EB01-4939-80E7-FDEFB94728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4052" y="5658523"/>
                <a:ext cx="271532" cy="160997"/>
              </a:xfrm>
              <a:custGeom>
                <a:avLst/>
                <a:gdLst>
                  <a:gd name="T0" fmla="*/ 130 w 138"/>
                  <a:gd name="T1" fmla="*/ 6 h 82"/>
                  <a:gd name="T2" fmla="*/ 32 w 138"/>
                  <a:gd name="T3" fmla="*/ 26 h 82"/>
                  <a:gd name="T4" fmla="*/ 0 w 138"/>
                  <a:gd name="T5" fmla="*/ 76 h 82"/>
                  <a:gd name="T6" fmla="*/ 60 w 138"/>
                  <a:gd name="T7" fmla="*/ 20 h 82"/>
                  <a:gd name="T8" fmla="*/ 130 w 138"/>
                  <a:gd name="T9" fmla="*/ 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82">
                    <a:moveTo>
                      <a:pt x="130" y="6"/>
                    </a:moveTo>
                    <a:cubicBezTo>
                      <a:pt x="130" y="6"/>
                      <a:pt x="54" y="0"/>
                      <a:pt x="32" y="26"/>
                    </a:cubicBezTo>
                    <a:cubicBezTo>
                      <a:pt x="10" y="52"/>
                      <a:pt x="0" y="70"/>
                      <a:pt x="0" y="76"/>
                    </a:cubicBezTo>
                    <a:cubicBezTo>
                      <a:pt x="0" y="82"/>
                      <a:pt x="48" y="18"/>
                      <a:pt x="60" y="20"/>
                    </a:cubicBezTo>
                    <a:cubicBezTo>
                      <a:pt x="72" y="22"/>
                      <a:pt x="138" y="15"/>
                      <a:pt x="130" y="6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185">
                <a:extLst>
                  <a:ext uri="{FF2B5EF4-FFF2-40B4-BE49-F238E27FC236}">
                    <a16:creationId xmlns:a16="http://schemas.microsoft.com/office/drawing/2014/main" id="{E2F02526-296B-48DA-A4B6-58C03F7375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6067" y="5799095"/>
                <a:ext cx="129759" cy="126155"/>
              </a:xfrm>
              <a:custGeom>
                <a:avLst/>
                <a:gdLst>
                  <a:gd name="T0" fmla="*/ 2 w 66"/>
                  <a:gd name="T1" fmla="*/ 22 h 64"/>
                  <a:gd name="T2" fmla="*/ 26 w 66"/>
                  <a:gd name="T3" fmla="*/ 16 h 64"/>
                  <a:gd name="T4" fmla="*/ 66 w 66"/>
                  <a:gd name="T5" fmla="*/ 0 h 64"/>
                  <a:gd name="T6" fmla="*/ 6 w 66"/>
                  <a:gd name="T7" fmla="*/ 59 h 64"/>
                  <a:gd name="T8" fmla="*/ 2 w 66"/>
                  <a:gd name="T9" fmla="*/ 2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4">
                    <a:moveTo>
                      <a:pt x="2" y="22"/>
                    </a:moveTo>
                    <a:cubicBezTo>
                      <a:pt x="2" y="22"/>
                      <a:pt x="18" y="22"/>
                      <a:pt x="26" y="16"/>
                    </a:cubicBezTo>
                    <a:cubicBezTo>
                      <a:pt x="34" y="10"/>
                      <a:pt x="66" y="0"/>
                      <a:pt x="66" y="0"/>
                    </a:cubicBezTo>
                    <a:cubicBezTo>
                      <a:pt x="66" y="0"/>
                      <a:pt x="13" y="54"/>
                      <a:pt x="6" y="59"/>
                    </a:cubicBezTo>
                    <a:cubicBezTo>
                      <a:pt x="0" y="64"/>
                      <a:pt x="2" y="22"/>
                      <a:pt x="2" y="22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186">
                <a:extLst>
                  <a:ext uri="{FF2B5EF4-FFF2-40B4-BE49-F238E27FC236}">
                    <a16:creationId xmlns:a16="http://schemas.microsoft.com/office/drawing/2014/main" id="{D0F6979C-1D90-4D20-8EF2-B95129FF85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0148" y="5018140"/>
                <a:ext cx="342418" cy="403693"/>
              </a:xfrm>
              <a:custGeom>
                <a:avLst/>
                <a:gdLst>
                  <a:gd name="T0" fmla="*/ 174 w 174"/>
                  <a:gd name="T1" fmla="*/ 0 h 205"/>
                  <a:gd name="T2" fmla="*/ 150 w 174"/>
                  <a:gd name="T3" fmla="*/ 55 h 205"/>
                  <a:gd name="T4" fmla="*/ 80 w 174"/>
                  <a:gd name="T5" fmla="*/ 85 h 205"/>
                  <a:gd name="T6" fmla="*/ 32 w 174"/>
                  <a:gd name="T7" fmla="*/ 141 h 205"/>
                  <a:gd name="T8" fmla="*/ 0 w 174"/>
                  <a:gd name="T9" fmla="*/ 205 h 205"/>
                  <a:gd name="T10" fmla="*/ 64 w 174"/>
                  <a:gd name="T11" fmla="*/ 121 h 205"/>
                  <a:gd name="T12" fmla="*/ 104 w 174"/>
                  <a:gd name="T13" fmla="*/ 89 h 205"/>
                  <a:gd name="T14" fmla="*/ 174 w 174"/>
                  <a:gd name="T15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4" h="205">
                    <a:moveTo>
                      <a:pt x="174" y="0"/>
                    </a:moveTo>
                    <a:cubicBezTo>
                      <a:pt x="174" y="0"/>
                      <a:pt x="170" y="43"/>
                      <a:pt x="150" y="55"/>
                    </a:cubicBezTo>
                    <a:cubicBezTo>
                      <a:pt x="130" y="67"/>
                      <a:pt x="84" y="73"/>
                      <a:pt x="80" y="85"/>
                    </a:cubicBezTo>
                    <a:cubicBezTo>
                      <a:pt x="76" y="97"/>
                      <a:pt x="40" y="121"/>
                      <a:pt x="32" y="141"/>
                    </a:cubicBezTo>
                    <a:cubicBezTo>
                      <a:pt x="24" y="161"/>
                      <a:pt x="14" y="199"/>
                      <a:pt x="0" y="205"/>
                    </a:cubicBezTo>
                    <a:cubicBezTo>
                      <a:pt x="0" y="205"/>
                      <a:pt x="48" y="157"/>
                      <a:pt x="64" y="121"/>
                    </a:cubicBezTo>
                    <a:cubicBezTo>
                      <a:pt x="64" y="121"/>
                      <a:pt x="88" y="99"/>
                      <a:pt x="104" y="89"/>
                    </a:cubicBezTo>
                    <a:cubicBezTo>
                      <a:pt x="120" y="79"/>
                      <a:pt x="169" y="83"/>
                      <a:pt x="174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187">
                <a:extLst>
                  <a:ext uri="{FF2B5EF4-FFF2-40B4-BE49-F238E27FC236}">
                    <a16:creationId xmlns:a16="http://schemas.microsoft.com/office/drawing/2014/main" id="{B731E660-16B4-4EDE-A540-7904D36EDF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5395" y="5091430"/>
                <a:ext cx="264323" cy="43253"/>
              </a:xfrm>
              <a:custGeom>
                <a:avLst/>
                <a:gdLst>
                  <a:gd name="T0" fmla="*/ 126 w 134"/>
                  <a:gd name="T1" fmla="*/ 0 h 22"/>
                  <a:gd name="T2" fmla="*/ 78 w 134"/>
                  <a:gd name="T3" fmla="*/ 4 h 22"/>
                  <a:gd name="T4" fmla="*/ 18 w 134"/>
                  <a:gd name="T5" fmla="*/ 16 h 22"/>
                  <a:gd name="T6" fmla="*/ 56 w 134"/>
                  <a:gd name="T7" fmla="*/ 14 h 22"/>
                  <a:gd name="T8" fmla="*/ 126 w 134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22">
                    <a:moveTo>
                      <a:pt x="126" y="0"/>
                    </a:moveTo>
                    <a:cubicBezTo>
                      <a:pt x="126" y="0"/>
                      <a:pt x="96" y="8"/>
                      <a:pt x="78" y="4"/>
                    </a:cubicBezTo>
                    <a:cubicBezTo>
                      <a:pt x="60" y="0"/>
                      <a:pt x="36" y="10"/>
                      <a:pt x="18" y="16"/>
                    </a:cubicBezTo>
                    <a:cubicBezTo>
                      <a:pt x="0" y="22"/>
                      <a:pt x="34" y="14"/>
                      <a:pt x="56" y="14"/>
                    </a:cubicBezTo>
                    <a:cubicBezTo>
                      <a:pt x="78" y="14"/>
                      <a:pt x="134" y="16"/>
                      <a:pt x="12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188">
                <a:extLst>
                  <a:ext uri="{FF2B5EF4-FFF2-40B4-BE49-F238E27FC236}">
                    <a16:creationId xmlns:a16="http://schemas.microsoft.com/office/drawing/2014/main" id="{8E3B2886-BC85-410B-B6C3-DC8C1061D2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79556" y="5319709"/>
                <a:ext cx="186227" cy="145378"/>
              </a:xfrm>
              <a:custGeom>
                <a:avLst/>
                <a:gdLst>
                  <a:gd name="T0" fmla="*/ 68 w 95"/>
                  <a:gd name="T1" fmla="*/ 0 h 74"/>
                  <a:gd name="T2" fmla="*/ 5 w 95"/>
                  <a:gd name="T3" fmla="*/ 29 h 74"/>
                  <a:gd name="T4" fmla="*/ 0 w 95"/>
                  <a:gd name="T5" fmla="*/ 36 h 74"/>
                  <a:gd name="T6" fmla="*/ 30 w 95"/>
                  <a:gd name="T7" fmla="*/ 66 h 74"/>
                  <a:gd name="T8" fmla="*/ 95 w 95"/>
                  <a:gd name="T9" fmla="*/ 44 h 74"/>
                  <a:gd name="T10" fmla="*/ 18 w 95"/>
                  <a:gd name="T11" fmla="*/ 54 h 74"/>
                  <a:gd name="T12" fmla="*/ 12 w 95"/>
                  <a:gd name="T13" fmla="*/ 34 h 74"/>
                  <a:gd name="T14" fmla="*/ 68 w 95"/>
                  <a:gd name="T1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74">
                    <a:moveTo>
                      <a:pt x="68" y="0"/>
                    </a:moveTo>
                    <a:cubicBezTo>
                      <a:pt x="68" y="0"/>
                      <a:pt x="22" y="16"/>
                      <a:pt x="5" y="29"/>
                    </a:cubicBezTo>
                    <a:cubicBezTo>
                      <a:pt x="2" y="31"/>
                      <a:pt x="0" y="34"/>
                      <a:pt x="0" y="36"/>
                    </a:cubicBezTo>
                    <a:cubicBezTo>
                      <a:pt x="0" y="48"/>
                      <a:pt x="6" y="74"/>
                      <a:pt x="30" y="66"/>
                    </a:cubicBezTo>
                    <a:cubicBezTo>
                      <a:pt x="54" y="58"/>
                      <a:pt x="95" y="44"/>
                      <a:pt x="95" y="44"/>
                    </a:cubicBezTo>
                    <a:cubicBezTo>
                      <a:pt x="95" y="44"/>
                      <a:pt x="22" y="62"/>
                      <a:pt x="18" y="54"/>
                    </a:cubicBezTo>
                    <a:cubicBezTo>
                      <a:pt x="18" y="54"/>
                      <a:pt x="4" y="44"/>
                      <a:pt x="12" y="34"/>
                    </a:cubicBezTo>
                    <a:cubicBezTo>
                      <a:pt x="20" y="24"/>
                      <a:pt x="68" y="0"/>
                      <a:pt x="68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189">
                <a:extLst>
                  <a:ext uri="{FF2B5EF4-FFF2-40B4-BE49-F238E27FC236}">
                    <a16:creationId xmlns:a16="http://schemas.microsoft.com/office/drawing/2014/main" id="{E4F2D0FC-BACF-4E9E-B3DB-9F3BDB81EF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6303" y="5449468"/>
                <a:ext cx="136967" cy="70887"/>
              </a:xfrm>
              <a:custGeom>
                <a:avLst/>
                <a:gdLst>
                  <a:gd name="T0" fmla="*/ 70 w 70"/>
                  <a:gd name="T1" fmla="*/ 28 h 36"/>
                  <a:gd name="T2" fmla="*/ 16 w 70"/>
                  <a:gd name="T3" fmla="*/ 12 h 36"/>
                  <a:gd name="T4" fmla="*/ 54 w 70"/>
                  <a:gd name="T5" fmla="*/ 36 h 36"/>
                  <a:gd name="T6" fmla="*/ 70 w 70"/>
                  <a:gd name="T7" fmla="*/ 2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36">
                    <a:moveTo>
                      <a:pt x="70" y="28"/>
                    </a:moveTo>
                    <a:cubicBezTo>
                      <a:pt x="70" y="28"/>
                      <a:pt x="32" y="24"/>
                      <a:pt x="16" y="12"/>
                    </a:cubicBezTo>
                    <a:cubicBezTo>
                      <a:pt x="0" y="0"/>
                      <a:pt x="54" y="36"/>
                      <a:pt x="54" y="36"/>
                    </a:cubicBezTo>
                    <a:lnTo>
                      <a:pt x="70" y="28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190">
                <a:extLst>
                  <a:ext uri="{FF2B5EF4-FFF2-40B4-BE49-F238E27FC236}">
                    <a16:creationId xmlns:a16="http://schemas.microsoft.com/office/drawing/2014/main" id="{2AA0BD3F-7336-415E-8FC7-F016C90C38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89078" y="5555197"/>
                <a:ext cx="165803" cy="118946"/>
              </a:xfrm>
              <a:custGeom>
                <a:avLst/>
                <a:gdLst>
                  <a:gd name="T0" fmla="*/ 0 w 84"/>
                  <a:gd name="T1" fmla="*/ 34 h 60"/>
                  <a:gd name="T2" fmla="*/ 32 w 84"/>
                  <a:gd name="T3" fmla="*/ 24 h 60"/>
                  <a:gd name="T4" fmla="*/ 84 w 84"/>
                  <a:gd name="T5" fmla="*/ 20 h 60"/>
                  <a:gd name="T6" fmla="*/ 28 w 84"/>
                  <a:gd name="T7" fmla="*/ 50 h 60"/>
                  <a:gd name="T8" fmla="*/ 0 w 84"/>
                  <a:gd name="T9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60">
                    <a:moveTo>
                      <a:pt x="0" y="34"/>
                    </a:moveTo>
                    <a:cubicBezTo>
                      <a:pt x="0" y="34"/>
                      <a:pt x="14" y="40"/>
                      <a:pt x="32" y="24"/>
                    </a:cubicBezTo>
                    <a:cubicBezTo>
                      <a:pt x="50" y="8"/>
                      <a:pt x="72" y="0"/>
                      <a:pt x="84" y="20"/>
                    </a:cubicBezTo>
                    <a:cubicBezTo>
                      <a:pt x="84" y="20"/>
                      <a:pt x="76" y="7"/>
                      <a:pt x="28" y="50"/>
                    </a:cubicBezTo>
                    <a:cubicBezTo>
                      <a:pt x="28" y="50"/>
                      <a:pt x="14" y="60"/>
                      <a:pt x="0" y="34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191">
                <a:extLst>
                  <a:ext uri="{FF2B5EF4-FFF2-40B4-BE49-F238E27FC236}">
                    <a16:creationId xmlns:a16="http://schemas.microsoft.com/office/drawing/2014/main" id="{AB4834DC-09F5-4EB1-B51B-2A965992BA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006" y="4536352"/>
                <a:ext cx="764134" cy="996018"/>
              </a:xfrm>
              <a:custGeom>
                <a:avLst/>
                <a:gdLst>
                  <a:gd name="T0" fmla="*/ 0 w 388"/>
                  <a:gd name="T1" fmla="*/ 506 h 506"/>
                  <a:gd name="T2" fmla="*/ 128 w 388"/>
                  <a:gd name="T3" fmla="*/ 376 h 506"/>
                  <a:gd name="T4" fmla="*/ 254 w 388"/>
                  <a:gd name="T5" fmla="*/ 218 h 506"/>
                  <a:gd name="T6" fmla="*/ 364 w 388"/>
                  <a:gd name="T7" fmla="*/ 2 h 506"/>
                  <a:gd name="T8" fmla="*/ 336 w 388"/>
                  <a:gd name="T9" fmla="*/ 106 h 506"/>
                  <a:gd name="T10" fmla="*/ 266 w 388"/>
                  <a:gd name="T11" fmla="*/ 218 h 506"/>
                  <a:gd name="T12" fmla="*/ 206 w 388"/>
                  <a:gd name="T13" fmla="*/ 300 h 506"/>
                  <a:gd name="T14" fmla="*/ 240 w 388"/>
                  <a:gd name="T15" fmla="*/ 298 h 506"/>
                  <a:gd name="T16" fmla="*/ 288 w 388"/>
                  <a:gd name="T17" fmla="*/ 300 h 506"/>
                  <a:gd name="T18" fmla="*/ 240 w 388"/>
                  <a:gd name="T19" fmla="*/ 310 h 506"/>
                  <a:gd name="T20" fmla="*/ 190 w 388"/>
                  <a:gd name="T21" fmla="*/ 320 h 506"/>
                  <a:gd name="T22" fmla="*/ 230 w 388"/>
                  <a:gd name="T23" fmla="*/ 340 h 506"/>
                  <a:gd name="T24" fmla="*/ 292 w 388"/>
                  <a:gd name="T25" fmla="*/ 352 h 506"/>
                  <a:gd name="T26" fmla="*/ 320 w 388"/>
                  <a:gd name="T27" fmla="*/ 378 h 506"/>
                  <a:gd name="T28" fmla="*/ 208 w 388"/>
                  <a:gd name="T29" fmla="*/ 354 h 506"/>
                  <a:gd name="T30" fmla="*/ 170 w 388"/>
                  <a:gd name="T31" fmla="*/ 350 h 506"/>
                  <a:gd name="T32" fmla="*/ 208 w 388"/>
                  <a:gd name="T33" fmla="*/ 372 h 506"/>
                  <a:gd name="T34" fmla="*/ 264 w 388"/>
                  <a:gd name="T35" fmla="*/ 416 h 506"/>
                  <a:gd name="T36" fmla="*/ 228 w 388"/>
                  <a:gd name="T37" fmla="*/ 406 h 506"/>
                  <a:gd name="T38" fmla="*/ 148 w 388"/>
                  <a:gd name="T39" fmla="*/ 394 h 506"/>
                  <a:gd name="T40" fmla="*/ 0 w 388"/>
                  <a:gd name="T41" fmla="*/ 506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8" h="506">
                    <a:moveTo>
                      <a:pt x="0" y="506"/>
                    </a:moveTo>
                    <a:cubicBezTo>
                      <a:pt x="0" y="506"/>
                      <a:pt x="112" y="400"/>
                      <a:pt x="128" y="376"/>
                    </a:cubicBezTo>
                    <a:cubicBezTo>
                      <a:pt x="144" y="352"/>
                      <a:pt x="232" y="234"/>
                      <a:pt x="254" y="218"/>
                    </a:cubicBezTo>
                    <a:cubicBezTo>
                      <a:pt x="276" y="202"/>
                      <a:pt x="362" y="68"/>
                      <a:pt x="364" y="2"/>
                    </a:cubicBezTo>
                    <a:cubicBezTo>
                      <a:pt x="364" y="2"/>
                      <a:pt x="388" y="0"/>
                      <a:pt x="336" y="106"/>
                    </a:cubicBezTo>
                    <a:cubicBezTo>
                      <a:pt x="336" y="106"/>
                      <a:pt x="296" y="186"/>
                      <a:pt x="266" y="218"/>
                    </a:cubicBezTo>
                    <a:cubicBezTo>
                      <a:pt x="236" y="250"/>
                      <a:pt x="196" y="302"/>
                      <a:pt x="206" y="300"/>
                    </a:cubicBezTo>
                    <a:cubicBezTo>
                      <a:pt x="216" y="298"/>
                      <a:pt x="220" y="290"/>
                      <a:pt x="240" y="298"/>
                    </a:cubicBezTo>
                    <a:cubicBezTo>
                      <a:pt x="260" y="306"/>
                      <a:pt x="288" y="300"/>
                      <a:pt x="288" y="300"/>
                    </a:cubicBezTo>
                    <a:cubicBezTo>
                      <a:pt x="288" y="300"/>
                      <a:pt x="290" y="310"/>
                      <a:pt x="240" y="310"/>
                    </a:cubicBezTo>
                    <a:cubicBezTo>
                      <a:pt x="190" y="310"/>
                      <a:pt x="194" y="314"/>
                      <a:pt x="190" y="320"/>
                    </a:cubicBezTo>
                    <a:cubicBezTo>
                      <a:pt x="186" y="326"/>
                      <a:pt x="204" y="328"/>
                      <a:pt x="230" y="340"/>
                    </a:cubicBezTo>
                    <a:cubicBezTo>
                      <a:pt x="256" y="352"/>
                      <a:pt x="278" y="348"/>
                      <a:pt x="292" y="352"/>
                    </a:cubicBezTo>
                    <a:cubicBezTo>
                      <a:pt x="306" y="356"/>
                      <a:pt x="326" y="368"/>
                      <a:pt x="320" y="378"/>
                    </a:cubicBezTo>
                    <a:cubicBezTo>
                      <a:pt x="314" y="388"/>
                      <a:pt x="234" y="364"/>
                      <a:pt x="208" y="354"/>
                    </a:cubicBezTo>
                    <a:cubicBezTo>
                      <a:pt x="182" y="344"/>
                      <a:pt x="174" y="336"/>
                      <a:pt x="170" y="350"/>
                    </a:cubicBezTo>
                    <a:cubicBezTo>
                      <a:pt x="166" y="364"/>
                      <a:pt x="176" y="356"/>
                      <a:pt x="208" y="372"/>
                    </a:cubicBezTo>
                    <a:cubicBezTo>
                      <a:pt x="240" y="388"/>
                      <a:pt x="268" y="406"/>
                      <a:pt x="264" y="416"/>
                    </a:cubicBezTo>
                    <a:cubicBezTo>
                      <a:pt x="260" y="426"/>
                      <a:pt x="256" y="422"/>
                      <a:pt x="228" y="406"/>
                    </a:cubicBezTo>
                    <a:cubicBezTo>
                      <a:pt x="200" y="390"/>
                      <a:pt x="152" y="382"/>
                      <a:pt x="148" y="394"/>
                    </a:cubicBezTo>
                    <a:cubicBezTo>
                      <a:pt x="144" y="406"/>
                      <a:pt x="108" y="422"/>
                      <a:pt x="0" y="506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192">
                <a:extLst>
                  <a:ext uri="{FF2B5EF4-FFF2-40B4-BE49-F238E27FC236}">
                    <a16:creationId xmlns:a16="http://schemas.microsoft.com/office/drawing/2014/main" id="{0F299EAA-4949-41DE-87AC-DDBE55E1F0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07200" y="5378581"/>
                <a:ext cx="319591" cy="200646"/>
              </a:xfrm>
              <a:custGeom>
                <a:avLst/>
                <a:gdLst>
                  <a:gd name="T0" fmla="*/ 162 w 162"/>
                  <a:gd name="T1" fmla="*/ 102 h 102"/>
                  <a:gd name="T2" fmla="*/ 86 w 162"/>
                  <a:gd name="T3" fmla="*/ 52 h 102"/>
                  <a:gd name="T4" fmla="*/ 16 w 162"/>
                  <a:gd name="T5" fmla="*/ 14 h 102"/>
                  <a:gd name="T6" fmla="*/ 76 w 162"/>
                  <a:gd name="T7" fmla="*/ 66 h 102"/>
                  <a:gd name="T8" fmla="*/ 162 w 162"/>
                  <a:gd name="T9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102">
                    <a:moveTo>
                      <a:pt x="162" y="102"/>
                    </a:moveTo>
                    <a:cubicBezTo>
                      <a:pt x="162" y="102"/>
                      <a:pt x="128" y="68"/>
                      <a:pt x="86" y="52"/>
                    </a:cubicBezTo>
                    <a:cubicBezTo>
                      <a:pt x="44" y="36"/>
                      <a:pt x="32" y="28"/>
                      <a:pt x="16" y="14"/>
                    </a:cubicBezTo>
                    <a:cubicBezTo>
                      <a:pt x="0" y="0"/>
                      <a:pt x="32" y="48"/>
                      <a:pt x="76" y="66"/>
                    </a:cubicBezTo>
                    <a:cubicBezTo>
                      <a:pt x="120" y="84"/>
                      <a:pt x="140" y="100"/>
                      <a:pt x="162" y="102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193">
                <a:extLst>
                  <a:ext uri="{FF2B5EF4-FFF2-40B4-BE49-F238E27FC236}">
                    <a16:creationId xmlns:a16="http://schemas.microsoft.com/office/drawing/2014/main" id="{224D9836-08EA-4EE0-99F9-4D41CF0DCF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5186" y="5579226"/>
                <a:ext cx="409700" cy="401290"/>
              </a:xfrm>
              <a:custGeom>
                <a:avLst/>
                <a:gdLst>
                  <a:gd name="T0" fmla="*/ 208 w 208"/>
                  <a:gd name="T1" fmla="*/ 0 h 204"/>
                  <a:gd name="T2" fmla="*/ 132 w 208"/>
                  <a:gd name="T3" fmla="*/ 62 h 204"/>
                  <a:gd name="T4" fmla="*/ 32 w 208"/>
                  <a:gd name="T5" fmla="*/ 164 h 204"/>
                  <a:gd name="T6" fmla="*/ 118 w 208"/>
                  <a:gd name="T7" fmla="*/ 58 h 204"/>
                  <a:gd name="T8" fmla="*/ 208 w 208"/>
                  <a:gd name="T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04">
                    <a:moveTo>
                      <a:pt x="208" y="0"/>
                    </a:moveTo>
                    <a:cubicBezTo>
                      <a:pt x="208" y="0"/>
                      <a:pt x="158" y="42"/>
                      <a:pt x="132" y="62"/>
                    </a:cubicBezTo>
                    <a:cubicBezTo>
                      <a:pt x="106" y="82"/>
                      <a:pt x="36" y="124"/>
                      <a:pt x="32" y="164"/>
                    </a:cubicBezTo>
                    <a:cubicBezTo>
                      <a:pt x="28" y="204"/>
                      <a:pt x="0" y="122"/>
                      <a:pt x="118" y="58"/>
                    </a:cubicBezTo>
                    <a:cubicBezTo>
                      <a:pt x="118" y="58"/>
                      <a:pt x="193" y="2"/>
                      <a:pt x="20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194">
                <a:extLst>
                  <a:ext uri="{FF2B5EF4-FFF2-40B4-BE49-F238E27FC236}">
                    <a16:creationId xmlns:a16="http://schemas.microsoft.com/office/drawing/2014/main" id="{F49CD478-A421-4AC5-A54C-EC7AC77135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2887" y="5748633"/>
                <a:ext cx="200645" cy="283547"/>
              </a:xfrm>
              <a:custGeom>
                <a:avLst/>
                <a:gdLst>
                  <a:gd name="T0" fmla="*/ 0 w 102"/>
                  <a:gd name="T1" fmla="*/ 85 h 144"/>
                  <a:gd name="T2" fmla="*/ 44 w 102"/>
                  <a:gd name="T3" fmla="*/ 134 h 144"/>
                  <a:gd name="T4" fmla="*/ 82 w 102"/>
                  <a:gd name="T5" fmla="*/ 106 h 144"/>
                  <a:gd name="T6" fmla="*/ 102 w 102"/>
                  <a:gd name="T7" fmla="*/ 0 h 144"/>
                  <a:gd name="T8" fmla="*/ 0 w 102"/>
                  <a:gd name="T9" fmla="*/ 8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44">
                    <a:moveTo>
                      <a:pt x="0" y="85"/>
                    </a:moveTo>
                    <a:cubicBezTo>
                      <a:pt x="0" y="85"/>
                      <a:pt x="0" y="144"/>
                      <a:pt x="44" y="134"/>
                    </a:cubicBezTo>
                    <a:cubicBezTo>
                      <a:pt x="88" y="124"/>
                      <a:pt x="78" y="124"/>
                      <a:pt x="82" y="106"/>
                    </a:cubicBezTo>
                    <a:cubicBezTo>
                      <a:pt x="86" y="88"/>
                      <a:pt x="102" y="0"/>
                      <a:pt x="102" y="0"/>
                    </a:cubicBezTo>
                    <a:cubicBezTo>
                      <a:pt x="102" y="0"/>
                      <a:pt x="31" y="46"/>
                      <a:pt x="0" y="85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195">
                <a:extLst>
                  <a:ext uri="{FF2B5EF4-FFF2-40B4-BE49-F238E27FC236}">
                    <a16:creationId xmlns:a16="http://schemas.microsoft.com/office/drawing/2014/main" id="{C9172527-2D91-486B-B1C6-2BA9B8CB6B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59609" y="4422212"/>
                <a:ext cx="684837" cy="1224297"/>
              </a:xfrm>
              <a:custGeom>
                <a:avLst/>
                <a:gdLst>
                  <a:gd name="T0" fmla="*/ 312 w 348"/>
                  <a:gd name="T1" fmla="*/ 0 h 622"/>
                  <a:gd name="T2" fmla="*/ 328 w 348"/>
                  <a:gd name="T3" fmla="*/ 52 h 622"/>
                  <a:gd name="T4" fmla="*/ 272 w 348"/>
                  <a:gd name="T5" fmla="*/ 104 h 622"/>
                  <a:gd name="T6" fmla="*/ 326 w 348"/>
                  <a:gd name="T7" fmla="*/ 188 h 622"/>
                  <a:gd name="T8" fmla="*/ 248 w 348"/>
                  <a:gd name="T9" fmla="*/ 332 h 622"/>
                  <a:gd name="T10" fmla="*/ 52 w 348"/>
                  <a:gd name="T11" fmla="*/ 566 h 622"/>
                  <a:gd name="T12" fmla="*/ 294 w 348"/>
                  <a:gd name="T13" fmla="*/ 278 h 622"/>
                  <a:gd name="T14" fmla="*/ 338 w 348"/>
                  <a:gd name="T15" fmla="*/ 174 h 622"/>
                  <a:gd name="T16" fmla="*/ 296 w 348"/>
                  <a:gd name="T17" fmla="*/ 98 h 622"/>
                  <a:gd name="T18" fmla="*/ 348 w 348"/>
                  <a:gd name="T19" fmla="*/ 32 h 622"/>
                  <a:gd name="T20" fmla="*/ 312 w 348"/>
                  <a:gd name="T21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8" h="622">
                    <a:moveTo>
                      <a:pt x="312" y="0"/>
                    </a:moveTo>
                    <a:cubicBezTo>
                      <a:pt x="328" y="52"/>
                      <a:pt x="328" y="52"/>
                      <a:pt x="328" y="52"/>
                    </a:cubicBezTo>
                    <a:cubicBezTo>
                      <a:pt x="272" y="104"/>
                      <a:pt x="272" y="104"/>
                      <a:pt x="272" y="104"/>
                    </a:cubicBezTo>
                    <a:cubicBezTo>
                      <a:pt x="326" y="188"/>
                      <a:pt x="326" y="188"/>
                      <a:pt x="326" y="188"/>
                    </a:cubicBezTo>
                    <a:cubicBezTo>
                      <a:pt x="326" y="188"/>
                      <a:pt x="312" y="242"/>
                      <a:pt x="248" y="332"/>
                    </a:cubicBezTo>
                    <a:cubicBezTo>
                      <a:pt x="184" y="422"/>
                      <a:pt x="104" y="510"/>
                      <a:pt x="52" y="566"/>
                    </a:cubicBezTo>
                    <a:cubicBezTo>
                      <a:pt x="0" y="622"/>
                      <a:pt x="206" y="436"/>
                      <a:pt x="294" y="278"/>
                    </a:cubicBezTo>
                    <a:cubicBezTo>
                      <a:pt x="294" y="278"/>
                      <a:pt x="336" y="196"/>
                      <a:pt x="338" y="174"/>
                    </a:cubicBezTo>
                    <a:cubicBezTo>
                      <a:pt x="340" y="152"/>
                      <a:pt x="284" y="118"/>
                      <a:pt x="296" y="98"/>
                    </a:cubicBezTo>
                    <a:cubicBezTo>
                      <a:pt x="308" y="78"/>
                      <a:pt x="348" y="84"/>
                      <a:pt x="348" y="32"/>
                    </a:cubicBezTo>
                    <a:lnTo>
                      <a:pt x="31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196">
                <a:extLst>
                  <a:ext uri="{FF2B5EF4-FFF2-40B4-BE49-F238E27FC236}">
                    <a16:creationId xmlns:a16="http://schemas.microsoft.com/office/drawing/2014/main" id="{F2678503-50C0-4E3D-AE7F-9BF9280DFB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8334" y="4429421"/>
                <a:ext cx="452953" cy="1014039"/>
              </a:xfrm>
              <a:custGeom>
                <a:avLst/>
                <a:gdLst>
                  <a:gd name="T0" fmla="*/ 230 w 230"/>
                  <a:gd name="T1" fmla="*/ 0 h 515"/>
                  <a:gd name="T2" fmla="*/ 184 w 230"/>
                  <a:gd name="T3" fmla="*/ 106 h 515"/>
                  <a:gd name="T4" fmla="*/ 102 w 230"/>
                  <a:gd name="T5" fmla="*/ 314 h 515"/>
                  <a:gd name="T6" fmla="*/ 0 w 230"/>
                  <a:gd name="T7" fmla="*/ 515 h 515"/>
                  <a:gd name="T8" fmla="*/ 58 w 230"/>
                  <a:gd name="T9" fmla="*/ 332 h 515"/>
                  <a:gd name="T10" fmla="*/ 134 w 230"/>
                  <a:gd name="T11" fmla="*/ 134 h 515"/>
                  <a:gd name="T12" fmla="*/ 230 w 230"/>
                  <a:gd name="T13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0" h="515">
                    <a:moveTo>
                      <a:pt x="230" y="0"/>
                    </a:moveTo>
                    <a:cubicBezTo>
                      <a:pt x="230" y="0"/>
                      <a:pt x="216" y="40"/>
                      <a:pt x="184" y="106"/>
                    </a:cubicBezTo>
                    <a:cubicBezTo>
                      <a:pt x="152" y="172"/>
                      <a:pt x="118" y="230"/>
                      <a:pt x="102" y="314"/>
                    </a:cubicBezTo>
                    <a:cubicBezTo>
                      <a:pt x="86" y="398"/>
                      <a:pt x="38" y="476"/>
                      <a:pt x="0" y="515"/>
                    </a:cubicBezTo>
                    <a:cubicBezTo>
                      <a:pt x="0" y="515"/>
                      <a:pt x="50" y="350"/>
                      <a:pt x="58" y="332"/>
                    </a:cubicBezTo>
                    <a:cubicBezTo>
                      <a:pt x="58" y="332"/>
                      <a:pt x="122" y="156"/>
                      <a:pt x="134" y="134"/>
                    </a:cubicBezTo>
                    <a:cubicBezTo>
                      <a:pt x="134" y="134"/>
                      <a:pt x="218" y="2"/>
                      <a:pt x="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197">
                <a:extLst>
                  <a:ext uri="{FF2B5EF4-FFF2-40B4-BE49-F238E27FC236}">
                    <a16:creationId xmlns:a16="http://schemas.microsoft.com/office/drawing/2014/main" id="{827A6D62-6E79-4CC0-A979-C4540F815E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16167" y="4348923"/>
                <a:ext cx="197041" cy="264323"/>
              </a:xfrm>
              <a:custGeom>
                <a:avLst/>
                <a:gdLst>
                  <a:gd name="T0" fmla="*/ 26 w 100"/>
                  <a:gd name="T1" fmla="*/ 0 h 134"/>
                  <a:gd name="T2" fmla="*/ 12 w 100"/>
                  <a:gd name="T3" fmla="*/ 84 h 134"/>
                  <a:gd name="T4" fmla="*/ 50 w 100"/>
                  <a:gd name="T5" fmla="*/ 134 h 134"/>
                  <a:gd name="T6" fmla="*/ 98 w 100"/>
                  <a:gd name="T7" fmla="*/ 86 h 134"/>
                  <a:gd name="T8" fmla="*/ 84 w 100"/>
                  <a:gd name="T9" fmla="*/ 34 h 134"/>
                  <a:gd name="T10" fmla="*/ 26 w 100"/>
                  <a:gd name="T11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134">
                    <a:moveTo>
                      <a:pt x="26" y="0"/>
                    </a:moveTo>
                    <a:cubicBezTo>
                      <a:pt x="26" y="0"/>
                      <a:pt x="0" y="62"/>
                      <a:pt x="12" y="84"/>
                    </a:cubicBezTo>
                    <a:cubicBezTo>
                      <a:pt x="24" y="106"/>
                      <a:pt x="50" y="134"/>
                      <a:pt x="50" y="134"/>
                    </a:cubicBezTo>
                    <a:cubicBezTo>
                      <a:pt x="50" y="134"/>
                      <a:pt x="96" y="104"/>
                      <a:pt x="98" y="86"/>
                    </a:cubicBezTo>
                    <a:cubicBezTo>
                      <a:pt x="100" y="68"/>
                      <a:pt x="84" y="34"/>
                      <a:pt x="84" y="34"/>
                    </a:cubicBez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198">
                <a:extLst>
                  <a:ext uri="{FF2B5EF4-FFF2-40B4-BE49-F238E27FC236}">
                    <a16:creationId xmlns:a16="http://schemas.microsoft.com/office/drawing/2014/main" id="{6D374D8E-28A9-4A65-A420-2F65581B7B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20050" y="5527563"/>
                <a:ext cx="499811" cy="67282"/>
              </a:xfrm>
              <a:custGeom>
                <a:avLst/>
                <a:gdLst>
                  <a:gd name="T0" fmla="*/ 0 w 254"/>
                  <a:gd name="T1" fmla="*/ 0 h 34"/>
                  <a:gd name="T2" fmla="*/ 110 w 254"/>
                  <a:gd name="T3" fmla="*/ 10 h 34"/>
                  <a:gd name="T4" fmla="*/ 200 w 254"/>
                  <a:gd name="T5" fmla="*/ 16 h 34"/>
                  <a:gd name="T6" fmla="*/ 120 w 254"/>
                  <a:gd name="T7" fmla="*/ 26 h 34"/>
                  <a:gd name="T8" fmla="*/ 0 w 25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4">
                    <a:moveTo>
                      <a:pt x="0" y="0"/>
                    </a:moveTo>
                    <a:cubicBezTo>
                      <a:pt x="0" y="0"/>
                      <a:pt x="76" y="6"/>
                      <a:pt x="110" y="10"/>
                    </a:cubicBezTo>
                    <a:cubicBezTo>
                      <a:pt x="144" y="14"/>
                      <a:pt x="146" y="8"/>
                      <a:pt x="200" y="16"/>
                    </a:cubicBezTo>
                    <a:cubicBezTo>
                      <a:pt x="254" y="24"/>
                      <a:pt x="152" y="34"/>
                      <a:pt x="120" y="26"/>
                    </a:cubicBezTo>
                    <a:cubicBezTo>
                      <a:pt x="88" y="18"/>
                      <a:pt x="10" y="0"/>
                      <a:pt x="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199">
                <a:extLst>
                  <a:ext uri="{FF2B5EF4-FFF2-40B4-BE49-F238E27FC236}">
                    <a16:creationId xmlns:a16="http://schemas.microsoft.com/office/drawing/2014/main" id="{BDD59244-531A-4909-9F70-854B32CD7D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6803" y="4407794"/>
                <a:ext cx="115341" cy="185026"/>
              </a:xfrm>
              <a:custGeom>
                <a:avLst/>
                <a:gdLst>
                  <a:gd name="T0" fmla="*/ 58 w 58"/>
                  <a:gd name="T1" fmla="*/ 0 h 94"/>
                  <a:gd name="T2" fmla="*/ 14 w 58"/>
                  <a:gd name="T3" fmla="*/ 94 h 94"/>
                  <a:gd name="T4" fmla="*/ 0 w 58"/>
                  <a:gd name="T5" fmla="*/ 64 h 94"/>
                  <a:gd name="T6" fmla="*/ 58 w 58"/>
                  <a:gd name="T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" h="94">
                    <a:moveTo>
                      <a:pt x="58" y="0"/>
                    </a:moveTo>
                    <a:cubicBezTo>
                      <a:pt x="14" y="94"/>
                      <a:pt x="14" y="94"/>
                      <a:pt x="14" y="9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50" y="2"/>
                      <a:pt x="58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200">
                <a:extLst>
                  <a:ext uri="{FF2B5EF4-FFF2-40B4-BE49-F238E27FC236}">
                    <a16:creationId xmlns:a16="http://schemas.microsoft.com/office/drawing/2014/main" id="{94244E82-B6B9-4536-8F8A-54CDDFB5A0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3192" y="4118241"/>
                <a:ext cx="195839" cy="240294"/>
              </a:xfrm>
              <a:custGeom>
                <a:avLst/>
                <a:gdLst>
                  <a:gd name="T0" fmla="*/ 100 w 100"/>
                  <a:gd name="T1" fmla="*/ 116 h 122"/>
                  <a:gd name="T2" fmla="*/ 14 w 100"/>
                  <a:gd name="T3" fmla="*/ 32 h 122"/>
                  <a:gd name="T4" fmla="*/ 74 w 100"/>
                  <a:gd name="T5" fmla="*/ 122 h 122"/>
                  <a:gd name="T6" fmla="*/ 100 w 100"/>
                  <a:gd name="T7" fmla="*/ 11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122">
                    <a:moveTo>
                      <a:pt x="100" y="116"/>
                    </a:moveTo>
                    <a:cubicBezTo>
                      <a:pt x="100" y="116"/>
                      <a:pt x="28" y="64"/>
                      <a:pt x="14" y="32"/>
                    </a:cubicBezTo>
                    <a:cubicBezTo>
                      <a:pt x="0" y="0"/>
                      <a:pt x="10" y="68"/>
                      <a:pt x="74" y="122"/>
                    </a:cubicBezTo>
                    <a:lnTo>
                      <a:pt x="100" y="11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201">
                <a:extLst>
                  <a:ext uri="{FF2B5EF4-FFF2-40B4-BE49-F238E27FC236}">
                    <a16:creationId xmlns:a16="http://schemas.microsoft.com/office/drawing/2014/main" id="{C90CFC86-A8D5-4778-8DAB-ADD5DCBF18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82993" y="5215181"/>
                <a:ext cx="187429" cy="299166"/>
              </a:xfrm>
              <a:custGeom>
                <a:avLst/>
                <a:gdLst>
                  <a:gd name="T0" fmla="*/ 3 w 95"/>
                  <a:gd name="T1" fmla="*/ 114 h 152"/>
                  <a:gd name="T2" fmla="*/ 43 w 95"/>
                  <a:gd name="T3" fmla="*/ 98 h 152"/>
                  <a:gd name="T4" fmla="*/ 95 w 95"/>
                  <a:gd name="T5" fmla="*/ 0 h 152"/>
                  <a:gd name="T6" fmla="*/ 61 w 95"/>
                  <a:gd name="T7" fmla="*/ 117 h 152"/>
                  <a:gd name="T8" fmla="*/ 27 w 95"/>
                  <a:gd name="T9" fmla="*/ 142 h 152"/>
                  <a:gd name="T10" fmla="*/ 0 w 95"/>
                  <a:gd name="T11" fmla="*/ 152 h 152"/>
                  <a:gd name="T12" fmla="*/ 3 w 95"/>
                  <a:gd name="T13" fmla="*/ 114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152">
                    <a:moveTo>
                      <a:pt x="3" y="114"/>
                    </a:moveTo>
                    <a:cubicBezTo>
                      <a:pt x="3" y="114"/>
                      <a:pt x="33" y="110"/>
                      <a:pt x="43" y="98"/>
                    </a:cubicBezTo>
                    <a:cubicBezTo>
                      <a:pt x="53" y="86"/>
                      <a:pt x="79" y="4"/>
                      <a:pt x="95" y="0"/>
                    </a:cubicBezTo>
                    <a:cubicBezTo>
                      <a:pt x="95" y="0"/>
                      <a:pt x="67" y="108"/>
                      <a:pt x="61" y="117"/>
                    </a:cubicBezTo>
                    <a:cubicBezTo>
                      <a:pt x="55" y="126"/>
                      <a:pt x="34" y="142"/>
                      <a:pt x="27" y="142"/>
                    </a:cubicBezTo>
                    <a:cubicBezTo>
                      <a:pt x="19" y="142"/>
                      <a:pt x="0" y="152"/>
                      <a:pt x="0" y="152"/>
                    </a:cubicBezTo>
                    <a:lnTo>
                      <a:pt x="3" y="114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204">
                <a:extLst>
                  <a:ext uri="{FF2B5EF4-FFF2-40B4-BE49-F238E27FC236}">
                    <a16:creationId xmlns:a16="http://schemas.microsoft.com/office/drawing/2014/main" id="{96F46419-0C6F-4236-9255-E8431120E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6099" y="4441435"/>
                <a:ext cx="519034" cy="764134"/>
              </a:xfrm>
              <a:custGeom>
                <a:avLst/>
                <a:gdLst>
                  <a:gd name="T0" fmla="*/ 32 w 264"/>
                  <a:gd name="T1" fmla="*/ 388 h 388"/>
                  <a:gd name="T2" fmla="*/ 146 w 264"/>
                  <a:gd name="T3" fmla="*/ 186 h 388"/>
                  <a:gd name="T4" fmla="*/ 184 w 264"/>
                  <a:gd name="T5" fmla="*/ 136 h 388"/>
                  <a:gd name="T6" fmla="*/ 246 w 264"/>
                  <a:gd name="T7" fmla="*/ 12 h 388"/>
                  <a:gd name="T8" fmla="*/ 220 w 264"/>
                  <a:gd name="T9" fmla="*/ 8 h 388"/>
                  <a:gd name="T10" fmla="*/ 118 w 264"/>
                  <a:gd name="T11" fmla="*/ 80 h 388"/>
                  <a:gd name="T12" fmla="*/ 88 w 264"/>
                  <a:gd name="T13" fmla="*/ 104 h 388"/>
                  <a:gd name="T14" fmla="*/ 0 w 264"/>
                  <a:gd name="T15" fmla="*/ 176 h 388"/>
                  <a:gd name="T16" fmla="*/ 32 w 264"/>
                  <a:gd name="T17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388">
                    <a:moveTo>
                      <a:pt x="32" y="388"/>
                    </a:moveTo>
                    <a:cubicBezTo>
                      <a:pt x="32" y="388"/>
                      <a:pt x="122" y="256"/>
                      <a:pt x="146" y="186"/>
                    </a:cubicBezTo>
                    <a:cubicBezTo>
                      <a:pt x="146" y="186"/>
                      <a:pt x="178" y="144"/>
                      <a:pt x="184" y="136"/>
                    </a:cubicBezTo>
                    <a:cubicBezTo>
                      <a:pt x="190" y="128"/>
                      <a:pt x="264" y="70"/>
                      <a:pt x="246" y="12"/>
                    </a:cubicBezTo>
                    <a:cubicBezTo>
                      <a:pt x="246" y="12"/>
                      <a:pt x="226" y="0"/>
                      <a:pt x="220" y="8"/>
                    </a:cubicBezTo>
                    <a:cubicBezTo>
                      <a:pt x="214" y="16"/>
                      <a:pt x="162" y="70"/>
                      <a:pt x="118" y="80"/>
                    </a:cubicBezTo>
                    <a:cubicBezTo>
                      <a:pt x="118" y="80"/>
                      <a:pt x="98" y="92"/>
                      <a:pt x="88" y="104"/>
                    </a:cubicBezTo>
                    <a:cubicBezTo>
                      <a:pt x="78" y="116"/>
                      <a:pt x="0" y="176"/>
                      <a:pt x="0" y="176"/>
                    </a:cubicBezTo>
                    <a:cubicBezTo>
                      <a:pt x="0" y="176"/>
                      <a:pt x="30" y="338"/>
                      <a:pt x="32" y="38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205">
                <a:extLst>
                  <a:ext uri="{FF2B5EF4-FFF2-40B4-BE49-F238E27FC236}">
                    <a16:creationId xmlns:a16="http://schemas.microsoft.com/office/drawing/2014/main" id="{A4AC5966-66B4-491B-AD31-38187DCD53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9463" y="4598828"/>
                <a:ext cx="98520" cy="193437"/>
              </a:xfrm>
              <a:custGeom>
                <a:avLst/>
                <a:gdLst>
                  <a:gd name="T0" fmla="*/ 0 w 50"/>
                  <a:gd name="T1" fmla="*/ 98 h 98"/>
                  <a:gd name="T2" fmla="*/ 50 w 50"/>
                  <a:gd name="T3" fmla="*/ 0 h 98"/>
                  <a:gd name="T4" fmla="*/ 0 w 50"/>
                  <a:gd name="T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0" h="98">
                    <a:moveTo>
                      <a:pt x="0" y="98"/>
                    </a:moveTo>
                    <a:cubicBezTo>
                      <a:pt x="0" y="98"/>
                      <a:pt x="48" y="36"/>
                      <a:pt x="50" y="0"/>
                    </a:cubicBezTo>
                    <a:cubicBezTo>
                      <a:pt x="50" y="0"/>
                      <a:pt x="14" y="60"/>
                      <a:pt x="0" y="9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206">
                <a:extLst>
                  <a:ext uri="{FF2B5EF4-FFF2-40B4-BE49-F238E27FC236}">
                    <a16:creationId xmlns:a16="http://schemas.microsoft.com/office/drawing/2014/main" id="{DCE69E6B-DE67-4574-972C-BB559B2FD1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1828" y="4878770"/>
                <a:ext cx="145377" cy="152587"/>
              </a:xfrm>
              <a:custGeom>
                <a:avLst/>
                <a:gdLst>
                  <a:gd name="T0" fmla="*/ 74 w 74"/>
                  <a:gd name="T1" fmla="*/ 0 h 78"/>
                  <a:gd name="T2" fmla="*/ 18 w 74"/>
                  <a:gd name="T3" fmla="*/ 56 h 78"/>
                  <a:gd name="T4" fmla="*/ 38 w 74"/>
                  <a:gd name="T5" fmla="*/ 66 h 78"/>
                  <a:gd name="T6" fmla="*/ 74 w 74"/>
                  <a:gd name="T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78">
                    <a:moveTo>
                      <a:pt x="74" y="0"/>
                    </a:moveTo>
                    <a:cubicBezTo>
                      <a:pt x="74" y="0"/>
                      <a:pt x="36" y="36"/>
                      <a:pt x="18" y="56"/>
                    </a:cubicBezTo>
                    <a:cubicBezTo>
                      <a:pt x="0" y="76"/>
                      <a:pt x="22" y="78"/>
                      <a:pt x="38" y="66"/>
                    </a:cubicBezTo>
                    <a:cubicBezTo>
                      <a:pt x="54" y="54"/>
                      <a:pt x="68" y="10"/>
                      <a:pt x="7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207">
                <a:extLst>
                  <a:ext uri="{FF2B5EF4-FFF2-40B4-BE49-F238E27FC236}">
                    <a16:creationId xmlns:a16="http://schemas.microsoft.com/office/drawing/2014/main" id="{687E6162-72E9-440B-96DB-7F84B7392A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6605" y="5075767"/>
                <a:ext cx="93715" cy="118946"/>
              </a:xfrm>
              <a:custGeom>
                <a:avLst/>
                <a:gdLst>
                  <a:gd name="T0" fmla="*/ 78 w 78"/>
                  <a:gd name="T1" fmla="*/ 0 h 99"/>
                  <a:gd name="T2" fmla="*/ 0 w 78"/>
                  <a:gd name="T3" fmla="*/ 26 h 99"/>
                  <a:gd name="T4" fmla="*/ 9 w 78"/>
                  <a:gd name="T5" fmla="*/ 99 h 99"/>
                  <a:gd name="T6" fmla="*/ 78 w 78"/>
                  <a:gd name="T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99">
                    <a:moveTo>
                      <a:pt x="78" y="0"/>
                    </a:moveTo>
                    <a:lnTo>
                      <a:pt x="0" y="26"/>
                    </a:lnTo>
                    <a:lnTo>
                      <a:pt x="9" y="99"/>
                    </a:lnTo>
                    <a:lnTo>
                      <a:pt x="78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208">
                <a:extLst>
                  <a:ext uri="{FF2B5EF4-FFF2-40B4-BE49-F238E27FC236}">
                    <a16:creationId xmlns:a16="http://schemas.microsoft.com/office/drawing/2014/main" id="{C1970EEF-A853-4B79-8B12-7CC64F685E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0062" y="4293054"/>
                <a:ext cx="289553" cy="86506"/>
              </a:xfrm>
              <a:custGeom>
                <a:avLst/>
                <a:gdLst>
                  <a:gd name="T0" fmla="*/ 147 w 147"/>
                  <a:gd name="T1" fmla="*/ 19 h 44"/>
                  <a:gd name="T2" fmla="*/ 112 w 147"/>
                  <a:gd name="T3" fmla="*/ 44 h 44"/>
                  <a:gd name="T4" fmla="*/ 44 w 147"/>
                  <a:gd name="T5" fmla="*/ 28 h 44"/>
                  <a:gd name="T6" fmla="*/ 0 w 147"/>
                  <a:gd name="T7" fmla="*/ 12 h 44"/>
                  <a:gd name="T8" fmla="*/ 36 w 147"/>
                  <a:gd name="T9" fmla="*/ 4 h 44"/>
                  <a:gd name="T10" fmla="*/ 147 w 147"/>
                  <a:gd name="T11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44">
                    <a:moveTo>
                      <a:pt x="147" y="19"/>
                    </a:moveTo>
                    <a:cubicBezTo>
                      <a:pt x="147" y="19"/>
                      <a:pt x="124" y="44"/>
                      <a:pt x="112" y="44"/>
                    </a:cubicBezTo>
                    <a:cubicBezTo>
                      <a:pt x="100" y="44"/>
                      <a:pt x="74" y="34"/>
                      <a:pt x="44" y="28"/>
                    </a:cubicBezTo>
                    <a:cubicBezTo>
                      <a:pt x="14" y="22"/>
                      <a:pt x="0" y="12"/>
                      <a:pt x="0" y="12"/>
                    </a:cubicBezTo>
                    <a:cubicBezTo>
                      <a:pt x="0" y="12"/>
                      <a:pt x="24" y="0"/>
                      <a:pt x="36" y="4"/>
                    </a:cubicBezTo>
                    <a:cubicBezTo>
                      <a:pt x="48" y="8"/>
                      <a:pt x="114" y="21"/>
                      <a:pt x="147" y="19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209">
                <a:extLst>
                  <a:ext uri="{FF2B5EF4-FFF2-40B4-BE49-F238E27FC236}">
                    <a16:creationId xmlns:a16="http://schemas.microsoft.com/office/drawing/2014/main" id="{7FEACFFD-752D-4ADA-88D9-BD61E2D68B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5479" y="3094590"/>
                <a:ext cx="335209" cy="299166"/>
              </a:xfrm>
              <a:custGeom>
                <a:avLst/>
                <a:gdLst>
                  <a:gd name="T0" fmla="*/ 48 w 170"/>
                  <a:gd name="T1" fmla="*/ 4 h 152"/>
                  <a:gd name="T2" fmla="*/ 114 w 170"/>
                  <a:gd name="T3" fmla="*/ 44 h 152"/>
                  <a:gd name="T4" fmla="*/ 94 w 170"/>
                  <a:gd name="T5" fmla="*/ 50 h 152"/>
                  <a:gd name="T6" fmla="*/ 134 w 170"/>
                  <a:gd name="T7" fmla="*/ 102 h 152"/>
                  <a:gd name="T8" fmla="*/ 170 w 170"/>
                  <a:gd name="T9" fmla="*/ 144 h 152"/>
                  <a:gd name="T10" fmla="*/ 86 w 170"/>
                  <a:gd name="T11" fmla="*/ 88 h 152"/>
                  <a:gd name="T12" fmla="*/ 6 w 170"/>
                  <a:gd name="T13" fmla="*/ 16 h 152"/>
                  <a:gd name="T14" fmla="*/ 48 w 170"/>
                  <a:gd name="T15" fmla="*/ 4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0" h="152">
                    <a:moveTo>
                      <a:pt x="48" y="4"/>
                    </a:moveTo>
                    <a:cubicBezTo>
                      <a:pt x="48" y="4"/>
                      <a:pt x="102" y="32"/>
                      <a:pt x="114" y="44"/>
                    </a:cubicBezTo>
                    <a:cubicBezTo>
                      <a:pt x="126" y="56"/>
                      <a:pt x="100" y="52"/>
                      <a:pt x="94" y="50"/>
                    </a:cubicBezTo>
                    <a:cubicBezTo>
                      <a:pt x="88" y="48"/>
                      <a:pt x="118" y="78"/>
                      <a:pt x="134" y="102"/>
                    </a:cubicBezTo>
                    <a:cubicBezTo>
                      <a:pt x="150" y="126"/>
                      <a:pt x="170" y="136"/>
                      <a:pt x="170" y="144"/>
                    </a:cubicBezTo>
                    <a:cubicBezTo>
                      <a:pt x="170" y="152"/>
                      <a:pt x="120" y="116"/>
                      <a:pt x="86" y="88"/>
                    </a:cubicBezTo>
                    <a:cubicBezTo>
                      <a:pt x="86" y="88"/>
                      <a:pt x="0" y="32"/>
                      <a:pt x="6" y="16"/>
                    </a:cubicBezTo>
                    <a:cubicBezTo>
                      <a:pt x="12" y="0"/>
                      <a:pt x="48" y="4"/>
                      <a:pt x="48" y="4"/>
                    </a:cubicBezTo>
                    <a:close/>
                  </a:path>
                </a:pathLst>
              </a:custGeom>
              <a:solidFill>
                <a:srgbClr val="C090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210">
                <a:extLst>
                  <a:ext uri="{FF2B5EF4-FFF2-40B4-BE49-F238E27FC236}">
                    <a16:creationId xmlns:a16="http://schemas.microsoft.com/office/drawing/2014/main" id="{B6E313FC-0B45-404A-AEC2-F4A9542811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4892" y="3248378"/>
                <a:ext cx="236689" cy="252308"/>
              </a:xfrm>
              <a:custGeom>
                <a:avLst/>
                <a:gdLst>
                  <a:gd name="T0" fmla="*/ 24 w 120"/>
                  <a:gd name="T1" fmla="*/ 128 h 128"/>
                  <a:gd name="T2" fmla="*/ 66 w 120"/>
                  <a:gd name="T3" fmla="*/ 114 h 128"/>
                  <a:gd name="T4" fmla="*/ 104 w 120"/>
                  <a:gd name="T5" fmla="*/ 78 h 128"/>
                  <a:gd name="T6" fmla="*/ 88 w 120"/>
                  <a:gd name="T7" fmla="*/ 42 h 128"/>
                  <a:gd name="T8" fmla="*/ 58 w 120"/>
                  <a:gd name="T9" fmla="*/ 0 h 128"/>
                  <a:gd name="T10" fmla="*/ 9 w 120"/>
                  <a:gd name="T11" fmla="*/ 69 h 128"/>
                  <a:gd name="T12" fmla="*/ 24 w 120"/>
                  <a:gd name="T13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8">
                    <a:moveTo>
                      <a:pt x="24" y="128"/>
                    </a:moveTo>
                    <a:cubicBezTo>
                      <a:pt x="24" y="128"/>
                      <a:pt x="34" y="128"/>
                      <a:pt x="66" y="114"/>
                    </a:cubicBezTo>
                    <a:cubicBezTo>
                      <a:pt x="98" y="100"/>
                      <a:pt x="104" y="78"/>
                      <a:pt x="104" y="78"/>
                    </a:cubicBezTo>
                    <a:cubicBezTo>
                      <a:pt x="104" y="78"/>
                      <a:pt x="120" y="68"/>
                      <a:pt x="88" y="42"/>
                    </a:cubicBezTo>
                    <a:cubicBezTo>
                      <a:pt x="88" y="42"/>
                      <a:pt x="58" y="18"/>
                      <a:pt x="58" y="0"/>
                    </a:cubicBezTo>
                    <a:cubicBezTo>
                      <a:pt x="58" y="0"/>
                      <a:pt x="61" y="60"/>
                      <a:pt x="9" y="69"/>
                    </a:cubicBezTo>
                    <a:cubicBezTo>
                      <a:pt x="9" y="69"/>
                      <a:pt x="0" y="122"/>
                      <a:pt x="24" y="128"/>
                    </a:cubicBezTo>
                    <a:close/>
                  </a:path>
                </a:pathLst>
              </a:custGeom>
              <a:solidFill>
                <a:srgbClr val="C090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211">
                <a:extLst>
                  <a:ext uri="{FF2B5EF4-FFF2-40B4-BE49-F238E27FC236}">
                    <a16:creationId xmlns:a16="http://schemas.microsoft.com/office/drawing/2014/main" id="{83A776BD-98F1-42D3-A062-34ABE164A1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1875" y="4947254"/>
                <a:ext cx="86506" cy="80499"/>
              </a:xfrm>
              <a:custGeom>
                <a:avLst/>
                <a:gdLst>
                  <a:gd name="T0" fmla="*/ 44 w 44"/>
                  <a:gd name="T1" fmla="*/ 0 h 41"/>
                  <a:gd name="T2" fmla="*/ 2 w 44"/>
                  <a:gd name="T3" fmla="*/ 27 h 41"/>
                  <a:gd name="T4" fmla="*/ 42 w 44"/>
                  <a:gd name="T5" fmla="*/ 16 h 41"/>
                  <a:gd name="T6" fmla="*/ 44 w 44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41">
                    <a:moveTo>
                      <a:pt x="44" y="0"/>
                    </a:moveTo>
                    <a:cubicBezTo>
                      <a:pt x="44" y="0"/>
                      <a:pt x="4" y="13"/>
                      <a:pt x="2" y="27"/>
                    </a:cubicBezTo>
                    <a:cubicBezTo>
                      <a:pt x="0" y="41"/>
                      <a:pt x="42" y="16"/>
                      <a:pt x="42" y="16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212">
                <a:extLst>
                  <a:ext uri="{FF2B5EF4-FFF2-40B4-BE49-F238E27FC236}">
                    <a16:creationId xmlns:a16="http://schemas.microsoft.com/office/drawing/2014/main" id="{006091AA-2105-4876-AF25-7FC4BD3B53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1990" y="3559558"/>
                <a:ext cx="934742" cy="2539904"/>
              </a:xfrm>
              <a:custGeom>
                <a:avLst/>
                <a:gdLst>
                  <a:gd name="T0" fmla="*/ 778 w 778"/>
                  <a:gd name="T1" fmla="*/ 42 h 2114"/>
                  <a:gd name="T2" fmla="*/ 139 w 778"/>
                  <a:gd name="T3" fmla="*/ 2114 h 2114"/>
                  <a:gd name="T4" fmla="*/ 0 w 778"/>
                  <a:gd name="T5" fmla="*/ 2061 h 2114"/>
                  <a:gd name="T6" fmla="*/ 642 w 778"/>
                  <a:gd name="T7" fmla="*/ 0 h 2114"/>
                  <a:gd name="T8" fmla="*/ 778 w 778"/>
                  <a:gd name="T9" fmla="*/ 42 h 2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8" h="2114">
                    <a:moveTo>
                      <a:pt x="778" y="42"/>
                    </a:moveTo>
                    <a:lnTo>
                      <a:pt x="139" y="2114"/>
                    </a:lnTo>
                    <a:lnTo>
                      <a:pt x="0" y="2061"/>
                    </a:lnTo>
                    <a:lnTo>
                      <a:pt x="642" y="0"/>
                    </a:lnTo>
                    <a:lnTo>
                      <a:pt x="778" y="42"/>
                    </a:ln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213">
                <a:extLst>
                  <a:ext uri="{FF2B5EF4-FFF2-40B4-BE49-F238E27FC236}">
                    <a16:creationId xmlns:a16="http://schemas.microsoft.com/office/drawing/2014/main" id="{DF345322-4DE3-4466-8083-37B1169C4D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06811" y="6456298"/>
                <a:ext cx="842229" cy="413305"/>
              </a:xfrm>
              <a:custGeom>
                <a:avLst/>
                <a:gdLst>
                  <a:gd name="T0" fmla="*/ 46 w 428"/>
                  <a:gd name="T1" fmla="*/ 10 h 210"/>
                  <a:gd name="T2" fmla="*/ 42 w 428"/>
                  <a:gd name="T3" fmla="*/ 114 h 210"/>
                  <a:gd name="T4" fmla="*/ 4 w 428"/>
                  <a:gd name="T5" fmla="*/ 154 h 210"/>
                  <a:gd name="T6" fmla="*/ 14 w 428"/>
                  <a:gd name="T7" fmla="*/ 206 h 210"/>
                  <a:gd name="T8" fmla="*/ 428 w 428"/>
                  <a:gd name="T9" fmla="*/ 206 h 210"/>
                  <a:gd name="T10" fmla="*/ 364 w 428"/>
                  <a:gd name="T11" fmla="*/ 158 h 210"/>
                  <a:gd name="T12" fmla="*/ 274 w 428"/>
                  <a:gd name="T13" fmla="*/ 120 h 210"/>
                  <a:gd name="T14" fmla="*/ 266 w 428"/>
                  <a:gd name="T15" fmla="*/ 52 h 210"/>
                  <a:gd name="T16" fmla="*/ 250 w 428"/>
                  <a:gd name="T17" fmla="*/ 4 h 210"/>
                  <a:gd name="T18" fmla="*/ 46 w 428"/>
                  <a:gd name="T19" fmla="*/ 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8" h="210">
                    <a:moveTo>
                      <a:pt x="46" y="10"/>
                    </a:moveTo>
                    <a:cubicBezTo>
                      <a:pt x="46" y="10"/>
                      <a:pt x="46" y="98"/>
                      <a:pt x="42" y="114"/>
                    </a:cubicBezTo>
                    <a:cubicBezTo>
                      <a:pt x="38" y="130"/>
                      <a:pt x="8" y="144"/>
                      <a:pt x="4" y="154"/>
                    </a:cubicBezTo>
                    <a:cubicBezTo>
                      <a:pt x="0" y="164"/>
                      <a:pt x="6" y="202"/>
                      <a:pt x="14" y="206"/>
                    </a:cubicBezTo>
                    <a:cubicBezTo>
                      <a:pt x="22" y="210"/>
                      <a:pt x="428" y="206"/>
                      <a:pt x="428" y="206"/>
                    </a:cubicBezTo>
                    <a:cubicBezTo>
                      <a:pt x="428" y="206"/>
                      <a:pt x="412" y="194"/>
                      <a:pt x="364" y="158"/>
                    </a:cubicBezTo>
                    <a:cubicBezTo>
                      <a:pt x="316" y="122"/>
                      <a:pt x="286" y="150"/>
                      <a:pt x="274" y="120"/>
                    </a:cubicBezTo>
                    <a:cubicBezTo>
                      <a:pt x="262" y="90"/>
                      <a:pt x="264" y="88"/>
                      <a:pt x="266" y="52"/>
                    </a:cubicBezTo>
                    <a:cubicBezTo>
                      <a:pt x="268" y="16"/>
                      <a:pt x="258" y="8"/>
                      <a:pt x="250" y="4"/>
                    </a:cubicBezTo>
                    <a:cubicBezTo>
                      <a:pt x="242" y="0"/>
                      <a:pt x="114" y="24"/>
                      <a:pt x="46" y="10"/>
                    </a:cubicBezTo>
                    <a:close/>
                  </a:path>
                </a:pathLst>
              </a:custGeom>
              <a:gradFill>
                <a:gsLst>
                  <a:gs pos="100000">
                    <a:srgbClr val="FFFFFF">
                      <a:alpha val="0"/>
                    </a:srgbClr>
                  </a:gs>
                  <a:gs pos="0">
                    <a:srgbClr val="DDDDDD">
                      <a:lumMod val="85000"/>
                    </a:srgbClr>
                  </a:gs>
                </a:gsLst>
                <a:lin ang="5400000" scaled="1"/>
              </a:gra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214">
                <a:extLst>
                  <a:ext uri="{FF2B5EF4-FFF2-40B4-BE49-F238E27FC236}">
                    <a16:creationId xmlns:a16="http://schemas.microsoft.com/office/drawing/2014/main" id="{88774362-5B13-46AA-AF08-0333E813F6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71601" y="6356576"/>
                <a:ext cx="1272354" cy="153788"/>
              </a:xfrm>
              <a:custGeom>
                <a:avLst/>
                <a:gdLst>
                  <a:gd name="T0" fmla="*/ 14 w 646"/>
                  <a:gd name="T1" fmla="*/ 0 h 78"/>
                  <a:gd name="T2" fmla="*/ 106 w 646"/>
                  <a:gd name="T3" fmla="*/ 29 h 78"/>
                  <a:gd name="T4" fmla="*/ 424 w 646"/>
                  <a:gd name="T5" fmla="*/ 29 h 78"/>
                  <a:gd name="T6" fmla="*/ 594 w 646"/>
                  <a:gd name="T7" fmla="*/ 3 h 78"/>
                  <a:gd name="T8" fmla="*/ 350 w 646"/>
                  <a:gd name="T9" fmla="*/ 59 h 78"/>
                  <a:gd name="T10" fmla="*/ 25 w 646"/>
                  <a:gd name="T11" fmla="*/ 38 h 78"/>
                  <a:gd name="T12" fmla="*/ 16 w 646"/>
                  <a:gd name="T13" fmla="*/ 35 h 78"/>
                  <a:gd name="T14" fmla="*/ 14 w 646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6" h="78">
                    <a:moveTo>
                      <a:pt x="14" y="0"/>
                    </a:moveTo>
                    <a:cubicBezTo>
                      <a:pt x="14" y="0"/>
                      <a:pt x="24" y="27"/>
                      <a:pt x="106" y="29"/>
                    </a:cubicBezTo>
                    <a:cubicBezTo>
                      <a:pt x="188" y="31"/>
                      <a:pt x="400" y="35"/>
                      <a:pt x="424" y="29"/>
                    </a:cubicBezTo>
                    <a:cubicBezTo>
                      <a:pt x="448" y="23"/>
                      <a:pt x="554" y="27"/>
                      <a:pt x="594" y="3"/>
                    </a:cubicBezTo>
                    <a:cubicBezTo>
                      <a:pt x="594" y="3"/>
                      <a:pt x="646" y="47"/>
                      <a:pt x="350" y="59"/>
                    </a:cubicBezTo>
                    <a:cubicBezTo>
                      <a:pt x="350" y="59"/>
                      <a:pt x="173" y="78"/>
                      <a:pt x="25" y="38"/>
                    </a:cubicBezTo>
                    <a:cubicBezTo>
                      <a:pt x="22" y="37"/>
                      <a:pt x="19" y="36"/>
                      <a:pt x="16" y="35"/>
                    </a:cubicBezTo>
                    <a:cubicBezTo>
                      <a:pt x="16" y="35"/>
                      <a:pt x="0" y="19"/>
                      <a:pt x="14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215">
                <a:extLst>
                  <a:ext uri="{FF2B5EF4-FFF2-40B4-BE49-F238E27FC236}">
                    <a16:creationId xmlns:a16="http://schemas.microsoft.com/office/drawing/2014/main" id="{82920B43-FC42-4852-87B9-4703361523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3050" y="6080238"/>
                <a:ext cx="940749" cy="165803"/>
              </a:xfrm>
              <a:custGeom>
                <a:avLst/>
                <a:gdLst>
                  <a:gd name="T0" fmla="*/ 0 w 478"/>
                  <a:gd name="T1" fmla="*/ 62 h 84"/>
                  <a:gd name="T2" fmla="*/ 136 w 478"/>
                  <a:gd name="T3" fmla="*/ 50 h 84"/>
                  <a:gd name="T4" fmla="*/ 442 w 478"/>
                  <a:gd name="T5" fmla="*/ 0 h 84"/>
                  <a:gd name="T6" fmla="*/ 478 w 478"/>
                  <a:gd name="T7" fmla="*/ 12 h 84"/>
                  <a:gd name="T8" fmla="*/ 164 w 478"/>
                  <a:gd name="T9" fmla="*/ 70 h 84"/>
                  <a:gd name="T10" fmla="*/ 40 w 478"/>
                  <a:gd name="T11" fmla="*/ 82 h 84"/>
                  <a:gd name="T12" fmla="*/ 0 w 478"/>
                  <a:gd name="T13" fmla="*/ 6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84">
                    <a:moveTo>
                      <a:pt x="0" y="62"/>
                    </a:moveTo>
                    <a:cubicBezTo>
                      <a:pt x="0" y="62"/>
                      <a:pt x="116" y="54"/>
                      <a:pt x="136" y="50"/>
                    </a:cubicBezTo>
                    <a:cubicBezTo>
                      <a:pt x="156" y="46"/>
                      <a:pt x="442" y="0"/>
                      <a:pt x="442" y="0"/>
                    </a:cubicBezTo>
                    <a:cubicBezTo>
                      <a:pt x="478" y="12"/>
                      <a:pt x="478" y="12"/>
                      <a:pt x="478" y="12"/>
                    </a:cubicBezTo>
                    <a:cubicBezTo>
                      <a:pt x="478" y="12"/>
                      <a:pt x="174" y="68"/>
                      <a:pt x="164" y="70"/>
                    </a:cubicBezTo>
                    <a:cubicBezTo>
                      <a:pt x="154" y="72"/>
                      <a:pt x="56" y="84"/>
                      <a:pt x="40" y="82"/>
                    </a:cubicBezTo>
                    <a:cubicBezTo>
                      <a:pt x="40" y="82"/>
                      <a:pt x="32" y="76"/>
                      <a:pt x="0" y="6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216">
                <a:extLst>
                  <a:ext uri="{FF2B5EF4-FFF2-40B4-BE49-F238E27FC236}">
                    <a16:creationId xmlns:a16="http://schemas.microsoft.com/office/drawing/2014/main" id="{DEDF6D4E-3EF3-44D7-93D6-D32A4A5E90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9461" y="6276078"/>
                <a:ext cx="293158" cy="141773"/>
              </a:xfrm>
              <a:custGeom>
                <a:avLst/>
                <a:gdLst>
                  <a:gd name="T0" fmla="*/ 81 w 149"/>
                  <a:gd name="T1" fmla="*/ 72 h 72"/>
                  <a:gd name="T2" fmla="*/ 115 w 149"/>
                  <a:gd name="T3" fmla="*/ 68 h 72"/>
                  <a:gd name="T4" fmla="*/ 145 w 149"/>
                  <a:gd name="T5" fmla="*/ 44 h 72"/>
                  <a:gd name="T6" fmla="*/ 81 w 149"/>
                  <a:gd name="T7" fmla="*/ 6 h 72"/>
                  <a:gd name="T8" fmla="*/ 0 w 149"/>
                  <a:gd name="T9" fmla="*/ 27 h 72"/>
                  <a:gd name="T10" fmla="*/ 81 w 149"/>
                  <a:gd name="T1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9" h="72">
                    <a:moveTo>
                      <a:pt x="81" y="72"/>
                    </a:moveTo>
                    <a:cubicBezTo>
                      <a:pt x="81" y="72"/>
                      <a:pt x="93" y="68"/>
                      <a:pt x="115" y="68"/>
                    </a:cubicBezTo>
                    <a:cubicBezTo>
                      <a:pt x="137" y="68"/>
                      <a:pt x="141" y="58"/>
                      <a:pt x="145" y="44"/>
                    </a:cubicBezTo>
                    <a:cubicBezTo>
                      <a:pt x="149" y="30"/>
                      <a:pt x="119" y="0"/>
                      <a:pt x="81" y="6"/>
                    </a:cubicBezTo>
                    <a:cubicBezTo>
                      <a:pt x="43" y="12"/>
                      <a:pt x="0" y="27"/>
                      <a:pt x="0" y="27"/>
                    </a:cubicBezTo>
                    <a:lnTo>
                      <a:pt x="81" y="72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217">
                <a:extLst>
                  <a:ext uri="{FF2B5EF4-FFF2-40B4-BE49-F238E27FC236}">
                    <a16:creationId xmlns:a16="http://schemas.microsoft.com/office/drawing/2014/main" id="{2EA670EA-A538-4C4F-BEDB-0BDDD22F3D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6142" y="6402232"/>
                <a:ext cx="1505439" cy="145378"/>
              </a:xfrm>
              <a:custGeom>
                <a:avLst/>
                <a:gdLst>
                  <a:gd name="T0" fmla="*/ 0 w 765"/>
                  <a:gd name="T1" fmla="*/ 66 h 74"/>
                  <a:gd name="T2" fmla="*/ 75 w 765"/>
                  <a:gd name="T3" fmla="*/ 58 h 74"/>
                  <a:gd name="T4" fmla="*/ 185 w 765"/>
                  <a:gd name="T5" fmla="*/ 60 h 74"/>
                  <a:gd name="T6" fmla="*/ 331 w 765"/>
                  <a:gd name="T7" fmla="*/ 62 h 74"/>
                  <a:gd name="T8" fmla="*/ 509 w 765"/>
                  <a:gd name="T9" fmla="*/ 68 h 74"/>
                  <a:gd name="T10" fmla="*/ 765 w 765"/>
                  <a:gd name="T11" fmla="*/ 56 h 74"/>
                  <a:gd name="T12" fmla="*/ 207 w 765"/>
                  <a:gd name="T13" fmla="*/ 44 h 74"/>
                  <a:gd name="T14" fmla="*/ 167 w 765"/>
                  <a:gd name="T15" fmla="*/ 0 h 74"/>
                  <a:gd name="T16" fmla="*/ 0 w 765"/>
                  <a:gd name="T17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5" h="74">
                    <a:moveTo>
                      <a:pt x="0" y="66"/>
                    </a:moveTo>
                    <a:cubicBezTo>
                      <a:pt x="0" y="66"/>
                      <a:pt x="51" y="48"/>
                      <a:pt x="75" y="58"/>
                    </a:cubicBezTo>
                    <a:cubicBezTo>
                      <a:pt x="99" y="68"/>
                      <a:pt x="163" y="66"/>
                      <a:pt x="185" y="60"/>
                    </a:cubicBezTo>
                    <a:cubicBezTo>
                      <a:pt x="207" y="54"/>
                      <a:pt x="287" y="58"/>
                      <a:pt x="331" y="62"/>
                    </a:cubicBezTo>
                    <a:cubicBezTo>
                      <a:pt x="375" y="66"/>
                      <a:pt x="471" y="74"/>
                      <a:pt x="509" y="68"/>
                    </a:cubicBezTo>
                    <a:cubicBezTo>
                      <a:pt x="547" y="62"/>
                      <a:pt x="765" y="56"/>
                      <a:pt x="765" y="56"/>
                    </a:cubicBezTo>
                    <a:cubicBezTo>
                      <a:pt x="765" y="56"/>
                      <a:pt x="217" y="46"/>
                      <a:pt x="207" y="44"/>
                    </a:cubicBezTo>
                    <a:cubicBezTo>
                      <a:pt x="167" y="0"/>
                      <a:pt x="167" y="0"/>
                      <a:pt x="167" y="0"/>
                    </a:cubicBez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218">
                <a:extLst>
                  <a:ext uri="{FF2B5EF4-FFF2-40B4-BE49-F238E27FC236}">
                    <a16:creationId xmlns:a16="http://schemas.microsoft.com/office/drawing/2014/main" id="{521E883C-557A-4B93-A4ED-625A852124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9451" y="6458701"/>
                <a:ext cx="669217" cy="85305"/>
              </a:xfrm>
              <a:custGeom>
                <a:avLst/>
                <a:gdLst>
                  <a:gd name="T0" fmla="*/ 0 w 340"/>
                  <a:gd name="T1" fmla="*/ 25 h 43"/>
                  <a:gd name="T2" fmla="*/ 52 w 340"/>
                  <a:gd name="T3" fmla="*/ 29 h 43"/>
                  <a:gd name="T4" fmla="*/ 266 w 340"/>
                  <a:gd name="T5" fmla="*/ 41 h 43"/>
                  <a:gd name="T6" fmla="*/ 340 w 340"/>
                  <a:gd name="T7" fmla="*/ 31 h 43"/>
                  <a:gd name="T8" fmla="*/ 6 w 340"/>
                  <a:gd name="T9" fmla="*/ 0 h 43"/>
                  <a:gd name="T10" fmla="*/ 0 w 340"/>
                  <a:gd name="T11" fmla="*/ 2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0" h="43">
                    <a:moveTo>
                      <a:pt x="0" y="25"/>
                    </a:moveTo>
                    <a:cubicBezTo>
                      <a:pt x="0" y="25"/>
                      <a:pt x="20" y="33"/>
                      <a:pt x="52" y="29"/>
                    </a:cubicBezTo>
                    <a:cubicBezTo>
                      <a:pt x="84" y="25"/>
                      <a:pt x="222" y="43"/>
                      <a:pt x="266" y="41"/>
                    </a:cubicBezTo>
                    <a:cubicBezTo>
                      <a:pt x="310" y="39"/>
                      <a:pt x="340" y="31"/>
                      <a:pt x="340" y="31"/>
                    </a:cubicBezTo>
                    <a:cubicBezTo>
                      <a:pt x="340" y="31"/>
                      <a:pt x="59" y="30"/>
                      <a:pt x="6" y="0"/>
                    </a:cubicBezTo>
                    <a:cubicBezTo>
                      <a:pt x="6" y="0"/>
                      <a:pt x="11" y="19"/>
                      <a:pt x="0" y="25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219">
                <a:extLst>
                  <a:ext uri="{FF2B5EF4-FFF2-40B4-BE49-F238E27FC236}">
                    <a16:creationId xmlns:a16="http://schemas.microsoft.com/office/drawing/2014/main" id="{5267ACAD-FAC4-4326-B4DC-9CB828B455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8993" y="3610019"/>
                <a:ext cx="838625" cy="2489442"/>
              </a:xfrm>
              <a:custGeom>
                <a:avLst/>
                <a:gdLst>
                  <a:gd name="T0" fmla="*/ 390 w 426"/>
                  <a:gd name="T1" fmla="*/ 0 h 1264"/>
                  <a:gd name="T2" fmla="*/ 424 w 426"/>
                  <a:gd name="T3" fmla="*/ 142 h 1264"/>
                  <a:gd name="T4" fmla="*/ 404 w 426"/>
                  <a:gd name="T5" fmla="*/ 80 h 1264"/>
                  <a:gd name="T6" fmla="*/ 386 w 426"/>
                  <a:gd name="T7" fmla="*/ 136 h 1264"/>
                  <a:gd name="T8" fmla="*/ 60 w 426"/>
                  <a:gd name="T9" fmla="*/ 1250 h 1264"/>
                  <a:gd name="T10" fmla="*/ 0 w 426"/>
                  <a:gd name="T11" fmla="*/ 1264 h 1264"/>
                  <a:gd name="T12" fmla="*/ 390 w 426"/>
                  <a:gd name="T13" fmla="*/ 0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6" h="1264">
                    <a:moveTo>
                      <a:pt x="390" y="0"/>
                    </a:moveTo>
                    <a:cubicBezTo>
                      <a:pt x="390" y="0"/>
                      <a:pt x="426" y="126"/>
                      <a:pt x="424" y="142"/>
                    </a:cubicBezTo>
                    <a:cubicBezTo>
                      <a:pt x="422" y="158"/>
                      <a:pt x="410" y="104"/>
                      <a:pt x="404" y="80"/>
                    </a:cubicBezTo>
                    <a:cubicBezTo>
                      <a:pt x="398" y="56"/>
                      <a:pt x="400" y="100"/>
                      <a:pt x="386" y="136"/>
                    </a:cubicBezTo>
                    <a:cubicBezTo>
                      <a:pt x="372" y="172"/>
                      <a:pt x="50" y="1244"/>
                      <a:pt x="60" y="1250"/>
                    </a:cubicBezTo>
                    <a:cubicBezTo>
                      <a:pt x="0" y="1264"/>
                      <a:pt x="0" y="1264"/>
                      <a:pt x="0" y="1264"/>
                    </a:cubicBezTo>
                    <a:lnTo>
                      <a:pt x="390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220">
                <a:extLst>
                  <a:ext uri="{FF2B5EF4-FFF2-40B4-BE49-F238E27FC236}">
                    <a16:creationId xmlns:a16="http://schemas.microsoft.com/office/drawing/2014/main" id="{A3131421-3FFB-4145-A8F6-D7F6F07D9D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3264" y="4614447"/>
                <a:ext cx="452953" cy="1445367"/>
              </a:xfrm>
              <a:custGeom>
                <a:avLst/>
                <a:gdLst>
                  <a:gd name="T0" fmla="*/ 0 w 230"/>
                  <a:gd name="T1" fmla="*/ 734 h 734"/>
                  <a:gd name="T2" fmla="*/ 100 w 230"/>
                  <a:gd name="T3" fmla="*/ 414 h 734"/>
                  <a:gd name="T4" fmla="*/ 226 w 230"/>
                  <a:gd name="T5" fmla="*/ 8 h 734"/>
                  <a:gd name="T6" fmla="*/ 10 w 230"/>
                  <a:gd name="T7" fmla="*/ 734 h 734"/>
                  <a:gd name="T8" fmla="*/ 0 w 230"/>
                  <a:gd name="T9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0" h="734">
                    <a:moveTo>
                      <a:pt x="0" y="734"/>
                    </a:moveTo>
                    <a:cubicBezTo>
                      <a:pt x="0" y="734"/>
                      <a:pt x="100" y="434"/>
                      <a:pt x="100" y="414"/>
                    </a:cubicBezTo>
                    <a:cubicBezTo>
                      <a:pt x="100" y="394"/>
                      <a:pt x="222" y="16"/>
                      <a:pt x="226" y="8"/>
                    </a:cubicBezTo>
                    <a:cubicBezTo>
                      <a:pt x="230" y="0"/>
                      <a:pt x="10" y="734"/>
                      <a:pt x="10" y="734"/>
                    </a:cubicBezTo>
                    <a:lnTo>
                      <a:pt x="0" y="734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221">
                <a:extLst>
                  <a:ext uri="{FF2B5EF4-FFF2-40B4-BE49-F238E27FC236}">
                    <a16:creationId xmlns:a16="http://schemas.microsoft.com/office/drawing/2014/main" id="{0EA026B6-913A-4066-AA05-62CE88BB00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6921" y="5942070"/>
                <a:ext cx="138168" cy="197041"/>
              </a:xfrm>
              <a:custGeom>
                <a:avLst/>
                <a:gdLst>
                  <a:gd name="T0" fmla="*/ 50 w 70"/>
                  <a:gd name="T1" fmla="*/ 0 h 100"/>
                  <a:gd name="T2" fmla="*/ 24 w 70"/>
                  <a:gd name="T3" fmla="*/ 61 h 100"/>
                  <a:gd name="T4" fmla="*/ 27 w 70"/>
                  <a:gd name="T5" fmla="*/ 88 h 100"/>
                  <a:gd name="T6" fmla="*/ 0 w 70"/>
                  <a:gd name="T7" fmla="*/ 96 h 100"/>
                  <a:gd name="T8" fmla="*/ 58 w 70"/>
                  <a:gd name="T9" fmla="*/ 92 h 100"/>
                  <a:gd name="T10" fmla="*/ 48 w 70"/>
                  <a:gd name="T11" fmla="*/ 58 h 100"/>
                  <a:gd name="T12" fmla="*/ 50 w 70"/>
                  <a:gd name="T1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0" h="100">
                    <a:moveTo>
                      <a:pt x="50" y="0"/>
                    </a:moveTo>
                    <a:cubicBezTo>
                      <a:pt x="50" y="0"/>
                      <a:pt x="19" y="58"/>
                      <a:pt x="24" y="61"/>
                    </a:cubicBezTo>
                    <a:cubicBezTo>
                      <a:pt x="30" y="64"/>
                      <a:pt x="36" y="85"/>
                      <a:pt x="27" y="88"/>
                    </a:cubicBezTo>
                    <a:cubicBezTo>
                      <a:pt x="18" y="90"/>
                      <a:pt x="0" y="96"/>
                      <a:pt x="0" y="96"/>
                    </a:cubicBezTo>
                    <a:cubicBezTo>
                      <a:pt x="0" y="96"/>
                      <a:pt x="46" y="100"/>
                      <a:pt x="58" y="92"/>
                    </a:cubicBezTo>
                    <a:cubicBezTo>
                      <a:pt x="70" y="84"/>
                      <a:pt x="50" y="92"/>
                      <a:pt x="48" y="58"/>
                    </a:cubicBezTo>
                    <a:cubicBezTo>
                      <a:pt x="46" y="24"/>
                      <a:pt x="42" y="12"/>
                      <a:pt x="50" y="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222">
                <a:extLst>
                  <a:ext uri="{FF2B5EF4-FFF2-40B4-BE49-F238E27FC236}">
                    <a16:creationId xmlns:a16="http://schemas.microsoft.com/office/drawing/2014/main" id="{FC36727E-ECE5-4C65-BD78-C29838E6EE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35279" y="6338554"/>
                <a:ext cx="696852" cy="67282"/>
              </a:xfrm>
              <a:custGeom>
                <a:avLst/>
                <a:gdLst>
                  <a:gd name="T0" fmla="*/ 24 w 354"/>
                  <a:gd name="T1" fmla="*/ 22 h 34"/>
                  <a:gd name="T2" fmla="*/ 212 w 354"/>
                  <a:gd name="T3" fmla="*/ 28 h 34"/>
                  <a:gd name="T4" fmla="*/ 354 w 354"/>
                  <a:gd name="T5" fmla="*/ 34 h 34"/>
                  <a:gd name="T6" fmla="*/ 244 w 354"/>
                  <a:gd name="T7" fmla="*/ 12 h 34"/>
                  <a:gd name="T8" fmla="*/ 40 w 354"/>
                  <a:gd name="T9" fmla="*/ 0 h 34"/>
                  <a:gd name="T10" fmla="*/ 24 w 354"/>
                  <a:gd name="T11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4" h="34">
                    <a:moveTo>
                      <a:pt x="24" y="22"/>
                    </a:moveTo>
                    <a:cubicBezTo>
                      <a:pt x="24" y="22"/>
                      <a:pt x="158" y="24"/>
                      <a:pt x="212" y="28"/>
                    </a:cubicBezTo>
                    <a:cubicBezTo>
                      <a:pt x="266" y="32"/>
                      <a:pt x="354" y="34"/>
                      <a:pt x="354" y="34"/>
                    </a:cubicBezTo>
                    <a:cubicBezTo>
                      <a:pt x="354" y="34"/>
                      <a:pt x="322" y="14"/>
                      <a:pt x="244" y="12"/>
                    </a:cubicBezTo>
                    <a:cubicBezTo>
                      <a:pt x="166" y="10"/>
                      <a:pt x="40" y="0"/>
                      <a:pt x="40" y="0"/>
                    </a:cubicBezTo>
                    <a:cubicBezTo>
                      <a:pt x="40" y="0"/>
                      <a:pt x="0" y="18"/>
                      <a:pt x="24" y="22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223">
                <a:extLst>
                  <a:ext uri="{FF2B5EF4-FFF2-40B4-BE49-F238E27FC236}">
                    <a16:creationId xmlns:a16="http://schemas.microsoft.com/office/drawing/2014/main" id="{E6690A4C-027E-4BAF-B7EA-EB3422BF9C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5877" y="6172007"/>
                <a:ext cx="328005" cy="62020"/>
              </a:xfrm>
              <a:custGeom>
                <a:avLst/>
                <a:gdLst>
                  <a:gd name="T0" fmla="*/ 152 w 168"/>
                  <a:gd name="T1" fmla="*/ 0 h 36"/>
                  <a:gd name="T2" fmla="*/ 156 w 168"/>
                  <a:gd name="T3" fmla="*/ 24 h 36"/>
                  <a:gd name="T4" fmla="*/ 32 w 168"/>
                  <a:gd name="T5" fmla="*/ 36 h 36"/>
                  <a:gd name="T6" fmla="*/ 0 w 168"/>
                  <a:gd name="T7" fmla="*/ 22 h 36"/>
                  <a:gd name="T8" fmla="*/ 120 w 168"/>
                  <a:gd name="T9" fmla="*/ 6 h 36"/>
                  <a:gd name="T10" fmla="*/ 152 w 168"/>
                  <a:gd name="T11" fmla="*/ 0 h 36"/>
                  <a:gd name="connsiteX0" fmla="*/ 9048 w 9653"/>
                  <a:gd name="connsiteY0" fmla="*/ 60 h 10060"/>
                  <a:gd name="connsiteX1" fmla="*/ 9286 w 9653"/>
                  <a:gd name="connsiteY1" fmla="*/ 6727 h 10060"/>
                  <a:gd name="connsiteX2" fmla="*/ 1905 w 9653"/>
                  <a:gd name="connsiteY2" fmla="*/ 10060 h 10060"/>
                  <a:gd name="connsiteX3" fmla="*/ 0 w 9653"/>
                  <a:gd name="connsiteY3" fmla="*/ 6171 h 10060"/>
                  <a:gd name="connsiteX4" fmla="*/ 6346 w 9653"/>
                  <a:gd name="connsiteY4" fmla="*/ 3422 h 10060"/>
                  <a:gd name="connsiteX5" fmla="*/ 9048 w 9653"/>
                  <a:gd name="connsiteY5" fmla="*/ 60 h 10060"/>
                  <a:gd name="connsiteX0" fmla="*/ 9448 w 10247"/>
                  <a:gd name="connsiteY0" fmla="*/ 105 h 8697"/>
                  <a:gd name="connsiteX1" fmla="*/ 9620 w 10247"/>
                  <a:gd name="connsiteY1" fmla="*/ 5384 h 8697"/>
                  <a:gd name="connsiteX2" fmla="*/ 1973 w 10247"/>
                  <a:gd name="connsiteY2" fmla="*/ 8697 h 8697"/>
                  <a:gd name="connsiteX3" fmla="*/ 0 w 10247"/>
                  <a:gd name="connsiteY3" fmla="*/ 4831 h 8697"/>
                  <a:gd name="connsiteX4" fmla="*/ 6574 w 10247"/>
                  <a:gd name="connsiteY4" fmla="*/ 2099 h 8697"/>
                  <a:gd name="connsiteX5" fmla="*/ 9448 w 10247"/>
                  <a:gd name="connsiteY5" fmla="*/ 105 h 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7" h="8697">
                    <a:moveTo>
                      <a:pt x="9448" y="105"/>
                    </a:moveTo>
                    <a:cubicBezTo>
                      <a:pt x="9956" y="652"/>
                      <a:pt x="10866" y="3952"/>
                      <a:pt x="9620" y="5384"/>
                    </a:cubicBezTo>
                    <a:cubicBezTo>
                      <a:pt x="8374" y="6816"/>
                      <a:pt x="1973" y="8697"/>
                      <a:pt x="1973" y="8697"/>
                    </a:cubicBezTo>
                    <a:lnTo>
                      <a:pt x="0" y="4831"/>
                    </a:lnTo>
                    <a:cubicBezTo>
                      <a:pt x="0" y="4831"/>
                      <a:pt x="4999" y="2887"/>
                      <a:pt x="6574" y="2099"/>
                    </a:cubicBezTo>
                    <a:cubicBezTo>
                      <a:pt x="8149" y="1311"/>
                      <a:pt x="8941" y="-443"/>
                      <a:pt x="9448" y="105"/>
                    </a:cubicBezTo>
                    <a:close/>
                  </a:path>
                </a:pathLst>
              </a:custGeom>
              <a:solidFill>
                <a:srgbClr val="4D4D4D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224">
                <a:extLst>
                  <a:ext uri="{FF2B5EF4-FFF2-40B4-BE49-F238E27FC236}">
                    <a16:creationId xmlns:a16="http://schemas.microsoft.com/office/drawing/2014/main" id="{FF2660E4-80C6-41F8-AAB9-25C590CFA7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91647" y="3865933"/>
                <a:ext cx="389276" cy="315987"/>
              </a:xfrm>
              <a:custGeom>
                <a:avLst/>
                <a:gdLst>
                  <a:gd name="T0" fmla="*/ 0 w 198"/>
                  <a:gd name="T1" fmla="*/ 18 h 160"/>
                  <a:gd name="T2" fmla="*/ 198 w 198"/>
                  <a:gd name="T3" fmla="*/ 160 h 160"/>
                  <a:gd name="T4" fmla="*/ 80 w 198"/>
                  <a:gd name="T5" fmla="*/ 32 h 160"/>
                  <a:gd name="T6" fmla="*/ 0 w 198"/>
                  <a:gd name="T7" fmla="*/ 1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60">
                    <a:moveTo>
                      <a:pt x="0" y="18"/>
                    </a:moveTo>
                    <a:cubicBezTo>
                      <a:pt x="0" y="18"/>
                      <a:pt x="90" y="0"/>
                      <a:pt x="198" y="160"/>
                    </a:cubicBezTo>
                    <a:cubicBezTo>
                      <a:pt x="198" y="160"/>
                      <a:pt x="146" y="60"/>
                      <a:pt x="80" y="32"/>
                    </a:cubicBezTo>
                    <a:cubicBezTo>
                      <a:pt x="14" y="4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225">
                <a:extLst>
                  <a:ext uri="{FF2B5EF4-FFF2-40B4-BE49-F238E27FC236}">
                    <a16:creationId xmlns:a16="http://schemas.microsoft.com/office/drawing/2014/main" id="{AEDAF9A7-673A-48EA-B68A-589863B4DD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049" y="3933215"/>
                <a:ext cx="629569" cy="2106174"/>
              </a:xfrm>
              <a:custGeom>
                <a:avLst/>
                <a:gdLst>
                  <a:gd name="T0" fmla="*/ 320 w 320"/>
                  <a:gd name="T1" fmla="*/ 0 h 1070"/>
                  <a:gd name="T2" fmla="*/ 90 w 320"/>
                  <a:gd name="T3" fmla="*/ 756 h 1070"/>
                  <a:gd name="T4" fmla="*/ 0 w 320"/>
                  <a:gd name="T5" fmla="*/ 1070 h 1070"/>
                  <a:gd name="T6" fmla="*/ 320 w 320"/>
                  <a:gd name="T7" fmla="*/ 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0" h="1070">
                    <a:moveTo>
                      <a:pt x="320" y="0"/>
                    </a:moveTo>
                    <a:cubicBezTo>
                      <a:pt x="320" y="0"/>
                      <a:pt x="112" y="698"/>
                      <a:pt x="90" y="756"/>
                    </a:cubicBezTo>
                    <a:cubicBezTo>
                      <a:pt x="68" y="814"/>
                      <a:pt x="0" y="1070"/>
                      <a:pt x="0" y="1070"/>
                    </a:cubicBezTo>
                    <a:cubicBezTo>
                      <a:pt x="0" y="1070"/>
                      <a:pt x="308" y="126"/>
                      <a:pt x="320" y="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203">
                <a:extLst>
                  <a:ext uri="{FF2B5EF4-FFF2-40B4-BE49-F238E27FC236}">
                    <a16:creationId xmlns:a16="http://schemas.microsoft.com/office/drawing/2014/main" id="{11034A59-BEE5-471D-B5AC-413CD33905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3809" y="4449845"/>
                <a:ext cx="226630" cy="301801"/>
              </a:xfrm>
              <a:custGeom>
                <a:avLst/>
                <a:gdLst>
                  <a:gd name="T0" fmla="*/ 52 w 120"/>
                  <a:gd name="T1" fmla="*/ 0 h 162"/>
                  <a:gd name="T2" fmla="*/ 36 w 120"/>
                  <a:gd name="T3" fmla="*/ 90 h 162"/>
                  <a:gd name="T4" fmla="*/ 16 w 120"/>
                  <a:gd name="T5" fmla="*/ 130 h 162"/>
                  <a:gd name="T6" fmla="*/ 120 w 120"/>
                  <a:gd name="T7" fmla="*/ 14 h 162"/>
                  <a:gd name="T8" fmla="*/ 10 w 120"/>
                  <a:gd name="T9" fmla="*/ 152 h 162"/>
                  <a:gd name="T10" fmla="*/ 22 w 120"/>
                  <a:gd name="T11" fmla="*/ 88 h 162"/>
                  <a:gd name="T12" fmla="*/ 52 w 120"/>
                  <a:gd name="T13" fmla="*/ 0 h 162"/>
                  <a:gd name="connsiteX0" fmla="*/ 3908 w 9575"/>
                  <a:gd name="connsiteY0" fmla="*/ 0 h 9479"/>
                  <a:gd name="connsiteX1" fmla="*/ 2575 w 9575"/>
                  <a:gd name="connsiteY1" fmla="*/ 5556 h 9479"/>
                  <a:gd name="connsiteX2" fmla="*/ 908 w 9575"/>
                  <a:gd name="connsiteY2" fmla="*/ 8025 h 9479"/>
                  <a:gd name="connsiteX3" fmla="*/ 9575 w 9575"/>
                  <a:gd name="connsiteY3" fmla="*/ 864 h 9479"/>
                  <a:gd name="connsiteX4" fmla="*/ 408 w 9575"/>
                  <a:gd name="connsiteY4" fmla="*/ 9383 h 9479"/>
                  <a:gd name="connsiteX5" fmla="*/ 1408 w 9575"/>
                  <a:gd name="connsiteY5" fmla="*/ 5432 h 9479"/>
                  <a:gd name="connsiteX6" fmla="*/ 3908 w 9575"/>
                  <a:gd name="connsiteY6" fmla="*/ 0 h 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75" h="9479">
                    <a:moveTo>
                      <a:pt x="3908" y="0"/>
                    </a:moveTo>
                    <a:cubicBezTo>
                      <a:pt x="3908" y="0"/>
                      <a:pt x="6692" y="1673"/>
                      <a:pt x="2575" y="5556"/>
                    </a:cubicBezTo>
                    <a:lnTo>
                      <a:pt x="908" y="8025"/>
                    </a:lnTo>
                    <a:cubicBezTo>
                      <a:pt x="908" y="8025"/>
                      <a:pt x="7992" y="1605"/>
                      <a:pt x="9575" y="864"/>
                    </a:cubicBezTo>
                    <a:cubicBezTo>
                      <a:pt x="9575" y="864"/>
                      <a:pt x="1242" y="8765"/>
                      <a:pt x="408" y="9383"/>
                    </a:cubicBezTo>
                    <a:cubicBezTo>
                      <a:pt x="-425" y="10000"/>
                      <a:pt x="75" y="7531"/>
                      <a:pt x="1408" y="5432"/>
                    </a:cubicBezTo>
                    <a:cubicBezTo>
                      <a:pt x="2742" y="3333"/>
                      <a:pt x="4408" y="1852"/>
                      <a:pt x="3908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202">
                <a:extLst>
                  <a:ext uri="{FF2B5EF4-FFF2-40B4-BE49-F238E27FC236}">
                    <a16:creationId xmlns:a16="http://schemas.microsoft.com/office/drawing/2014/main" id="{433ABCFD-DBF7-4431-8C96-FD4D61BD96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84195" y="4327296"/>
                <a:ext cx="358038" cy="346023"/>
              </a:xfrm>
              <a:custGeom>
                <a:avLst/>
                <a:gdLst>
                  <a:gd name="T0" fmla="*/ 22 w 182"/>
                  <a:gd name="T1" fmla="*/ 0 h 176"/>
                  <a:gd name="T2" fmla="*/ 12 w 182"/>
                  <a:gd name="T3" fmla="*/ 144 h 176"/>
                  <a:gd name="T4" fmla="*/ 182 w 182"/>
                  <a:gd name="T5" fmla="*/ 64 h 176"/>
                  <a:gd name="T6" fmla="*/ 6 w 182"/>
                  <a:gd name="T7" fmla="*/ 152 h 176"/>
                  <a:gd name="T8" fmla="*/ 22 w 182"/>
                  <a:gd name="T9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176">
                    <a:moveTo>
                      <a:pt x="22" y="0"/>
                    </a:moveTo>
                    <a:cubicBezTo>
                      <a:pt x="22" y="0"/>
                      <a:pt x="16" y="128"/>
                      <a:pt x="12" y="144"/>
                    </a:cubicBezTo>
                    <a:cubicBezTo>
                      <a:pt x="12" y="144"/>
                      <a:pt x="104" y="156"/>
                      <a:pt x="182" y="64"/>
                    </a:cubicBezTo>
                    <a:cubicBezTo>
                      <a:pt x="182" y="64"/>
                      <a:pt x="98" y="176"/>
                      <a:pt x="6" y="152"/>
                    </a:cubicBezTo>
                    <a:cubicBezTo>
                      <a:pt x="6" y="152"/>
                      <a:pt x="0" y="82"/>
                      <a:pt x="22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7755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uppieren 204">
            <a:extLst>
              <a:ext uri="{FF2B5EF4-FFF2-40B4-BE49-F238E27FC236}">
                <a16:creationId xmlns:a16="http://schemas.microsoft.com/office/drawing/2014/main" id="{F8F9AF7B-73C2-45CA-956D-396117A02BAE}"/>
              </a:ext>
            </a:extLst>
          </p:cNvPr>
          <p:cNvGrpSpPr/>
          <p:nvPr/>
        </p:nvGrpSpPr>
        <p:grpSpPr bwMode="gray">
          <a:xfrm>
            <a:off x="3084304" y="1410632"/>
            <a:ext cx="2544338" cy="1833461"/>
            <a:chOff x="4462514" y="1635311"/>
            <a:chExt cx="3166290" cy="2281646"/>
          </a:xfrm>
        </p:grpSpPr>
        <p:grpSp>
          <p:nvGrpSpPr>
            <p:cNvPr id="3" name="Gruppieren 205">
              <a:extLst>
                <a:ext uri="{FF2B5EF4-FFF2-40B4-BE49-F238E27FC236}">
                  <a16:creationId xmlns:a16="http://schemas.microsoft.com/office/drawing/2014/main" id="{B2008A06-EE60-46F5-8AED-5D9AF420B6F4}"/>
                </a:ext>
              </a:extLst>
            </p:cNvPr>
            <p:cNvGrpSpPr/>
            <p:nvPr/>
          </p:nvGrpSpPr>
          <p:grpSpPr bwMode="gray">
            <a:xfrm>
              <a:off x="4462514" y="1635311"/>
              <a:ext cx="3166290" cy="2281646"/>
              <a:chOff x="370925" y="641351"/>
              <a:chExt cx="8201576" cy="5657850"/>
            </a:xfrm>
            <a:effectLst>
              <a:outerShdw blurRad="127000" dist="38100" dir="2700000" algn="tl" rotWithShape="0">
                <a:prstClr val="black">
                  <a:alpha val="38000"/>
                </a:prstClr>
              </a:outerShdw>
            </a:effectLst>
          </p:grpSpPr>
          <p:sp>
            <p:nvSpPr>
              <p:cNvPr id="5" name="Freeform 23">
                <a:extLst>
                  <a:ext uri="{FF2B5EF4-FFF2-40B4-BE49-F238E27FC236}">
                    <a16:creationId xmlns:a16="http://schemas.microsoft.com/office/drawing/2014/main" id="{252DE0C8-4889-4A13-AD79-41E5652DA9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35188" y="4267201"/>
                <a:ext cx="2087563" cy="1949450"/>
              </a:xfrm>
              <a:custGeom>
                <a:avLst/>
                <a:gdLst>
                  <a:gd name="T0" fmla="*/ 557 w 557"/>
                  <a:gd name="T1" fmla="*/ 516 h 520"/>
                  <a:gd name="T2" fmla="*/ 432 w 557"/>
                  <a:gd name="T3" fmla="*/ 211 h 520"/>
                  <a:gd name="T4" fmla="*/ 456 w 557"/>
                  <a:gd name="T5" fmla="*/ 167 h 520"/>
                  <a:gd name="T6" fmla="*/ 400 w 557"/>
                  <a:gd name="T7" fmla="*/ 131 h 520"/>
                  <a:gd name="T8" fmla="*/ 396 w 557"/>
                  <a:gd name="T9" fmla="*/ 130 h 520"/>
                  <a:gd name="T10" fmla="*/ 387 w 557"/>
                  <a:gd name="T11" fmla="*/ 126 h 520"/>
                  <a:gd name="T12" fmla="*/ 287 w 557"/>
                  <a:gd name="T13" fmla="*/ 82 h 520"/>
                  <a:gd name="T14" fmla="*/ 172 w 557"/>
                  <a:gd name="T15" fmla="*/ 27 h 520"/>
                  <a:gd name="T16" fmla="*/ 169 w 557"/>
                  <a:gd name="T17" fmla="*/ 12 h 520"/>
                  <a:gd name="T18" fmla="*/ 164 w 557"/>
                  <a:gd name="T19" fmla="*/ 0 h 520"/>
                  <a:gd name="T20" fmla="*/ 162 w 557"/>
                  <a:gd name="T21" fmla="*/ 0 h 520"/>
                  <a:gd name="T22" fmla="*/ 133 w 557"/>
                  <a:gd name="T23" fmla="*/ 8 h 520"/>
                  <a:gd name="T24" fmla="*/ 103 w 557"/>
                  <a:gd name="T25" fmla="*/ 38 h 520"/>
                  <a:gd name="T26" fmla="*/ 60 w 557"/>
                  <a:gd name="T27" fmla="*/ 99 h 520"/>
                  <a:gd name="T28" fmla="*/ 31 w 557"/>
                  <a:gd name="T29" fmla="*/ 142 h 520"/>
                  <a:gd name="T30" fmla="*/ 7 w 557"/>
                  <a:gd name="T31" fmla="*/ 238 h 520"/>
                  <a:gd name="T32" fmla="*/ 12 w 557"/>
                  <a:gd name="T33" fmla="*/ 248 h 520"/>
                  <a:gd name="T34" fmla="*/ 13 w 557"/>
                  <a:gd name="T35" fmla="*/ 251 h 520"/>
                  <a:gd name="T36" fmla="*/ 93 w 557"/>
                  <a:gd name="T37" fmla="*/ 259 h 520"/>
                  <a:gd name="T38" fmla="*/ 119 w 557"/>
                  <a:gd name="T39" fmla="*/ 327 h 520"/>
                  <a:gd name="T40" fmla="*/ 145 w 557"/>
                  <a:gd name="T41" fmla="*/ 519 h 520"/>
                  <a:gd name="T42" fmla="*/ 145 w 557"/>
                  <a:gd name="T43" fmla="*/ 520 h 520"/>
                  <a:gd name="T44" fmla="*/ 557 w 557"/>
                  <a:gd name="T45" fmla="*/ 518 h 520"/>
                  <a:gd name="T46" fmla="*/ 557 w 557"/>
                  <a:gd name="T47" fmla="*/ 516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7" h="520">
                    <a:moveTo>
                      <a:pt x="557" y="516"/>
                    </a:moveTo>
                    <a:cubicBezTo>
                      <a:pt x="550" y="494"/>
                      <a:pt x="492" y="294"/>
                      <a:pt x="432" y="211"/>
                    </a:cubicBezTo>
                    <a:cubicBezTo>
                      <a:pt x="432" y="211"/>
                      <a:pt x="457" y="172"/>
                      <a:pt x="456" y="167"/>
                    </a:cubicBezTo>
                    <a:cubicBezTo>
                      <a:pt x="455" y="162"/>
                      <a:pt x="417" y="136"/>
                      <a:pt x="400" y="131"/>
                    </a:cubicBezTo>
                    <a:cubicBezTo>
                      <a:pt x="399" y="131"/>
                      <a:pt x="398" y="130"/>
                      <a:pt x="396" y="130"/>
                    </a:cubicBezTo>
                    <a:cubicBezTo>
                      <a:pt x="394" y="129"/>
                      <a:pt x="390" y="128"/>
                      <a:pt x="387" y="126"/>
                    </a:cubicBezTo>
                    <a:cubicBezTo>
                      <a:pt x="361" y="117"/>
                      <a:pt x="314" y="98"/>
                      <a:pt x="287" y="82"/>
                    </a:cubicBezTo>
                    <a:cubicBezTo>
                      <a:pt x="253" y="62"/>
                      <a:pt x="181" y="27"/>
                      <a:pt x="172" y="27"/>
                    </a:cubicBezTo>
                    <a:cubicBezTo>
                      <a:pt x="172" y="27"/>
                      <a:pt x="171" y="19"/>
                      <a:pt x="169" y="12"/>
                    </a:cubicBezTo>
                    <a:cubicBezTo>
                      <a:pt x="168" y="6"/>
                      <a:pt x="164" y="0"/>
                      <a:pt x="164" y="0"/>
                    </a:cubicBezTo>
                    <a:cubicBezTo>
                      <a:pt x="164" y="0"/>
                      <a:pt x="163" y="0"/>
                      <a:pt x="162" y="0"/>
                    </a:cubicBezTo>
                    <a:cubicBezTo>
                      <a:pt x="156" y="1"/>
                      <a:pt x="141" y="3"/>
                      <a:pt x="133" y="8"/>
                    </a:cubicBezTo>
                    <a:cubicBezTo>
                      <a:pt x="124" y="15"/>
                      <a:pt x="117" y="16"/>
                      <a:pt x="103" y="38"/>
                    </a:cubicBezTo>
                    <a:cubicBezTo>
                      <a:pt x="88" y="59"/>
                      <a:pt x="77" y="58"/>
                      <a:pt x="60" y="99"/>
                    </a:cubicBezTo>
                    <a:cubicBezTo>
                      <a:pt x="43" y="140"/>
                      <a:pt x="37" y="127"/>
                      <a:pt x="31" y="142"/>
                    </a:cubicBezTo>
                    <a:cubicBezTo>
                      <a:pt x="24" y="156"/>
                      <a:pt x="0" y="178"/>
                      <a:pt x="7" y="238"/>
                    </a:cubicBezTo>
                    <a:cubicBezTo>
                      <a:pt x="12" y="248"/>
                      <a:pt x="12" y="248"/>
                      <a:pt x="12" y="248"/>
                    </a:cubicBezTo>
                    <a:cubicBezTo>
                      <a:pt x="13" y="251"/>
                      <a:pt x="13" y="251"/>
                      <a:pt x="13" y="251"/>
                    </a:cubicBezTo>
                    <a:cubicBezTo>
                      <a:pt x="13" y="251"/>
                      <a:pt x="81" y="254"/>
                      <a:pt x="93" y="259"/>
                    </a:cubicBezTo>
                    <a:cubicBezTo>
                      <a:pt x="105" y="264"/>
                      <a:pt x="112" y="259"/>
                      <a:pt x="119" y="327"/>
                    </a:cubicBezTo>
                    <a:cubicBezTo>
                      <a:pt x="145" y="519"/>
                      <a:pt x="145" y="519"/>
                      <a:pt x="145" y="519"/>
                    </a:cubicBezTo>
                    <a:cubicBezTo>
                      <a:pt x="145" y="520"/>
                      <a:pt x="145" y="520"/>
                      <a:pt x="145" y="520"/>
                    </a:cubicBezTo>
                    <a:cubicBezTo>
                      <a:pt x="557" y="518"/>
                      <a:pt x="557" y="518"/>
                      <a:pt x="557" y="518"/>
                    </a:cubicBezTo>
                    <a:cubicBezTo>
                      <a:pt x="557" y="518"/>
                      <a:pt x="557" y="517"/>
                      <a:pt x="557" y="51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" name="Freeform 31">
                <a:extLst>
                  <a:ext uri="{FF2B5EF4-FFF2-40B4-BE49-F238E27FC236}">
                    <a16:creationId xmlns:a16="http://schemas.microsoft.com/office/drawing/2014/main" id="{5EC7652F-66CB-4138-8EE0-B10468BC6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701" y="4551363"/>
                <a:ext cx="3733800" cy="1662113"/>
              </a:xfrm>
              <a:custGeom>
                <a:avLst/>
                <a:gdLst>
                  <a:gd name="T0" fmla="*/ 520 w 996"/>
                  <a:gd name="T1" fmla="*/ 16 h 443"/>
                  <a:gd name="T2" fmla="*/ 374 w 996"/>
                  <a:gd name="T3" fmla="*/ 39 h 443"/>
                  <a:gd name="T4" fmla="*/ 256 w 996"/>
                  <a:gd name="T5" fmla="*/ 20 h 443"/>
                  <a:gd name="T6" fmla="*/ 234 w 996"/>
                  <a:gd name="T7" fmla="*/ 19 h 443"/>
                  <a:gd name="T8" fmla="*/ 214 w 996"/>
                  <a:gd name="T9" fmla="*/ 99 h 443"/>
                  <a:gd name="T10" fmla="*/ 190 w 996"/>
                  <a:gd name="T11" fmla="*/ 148 h 443"/>
                  <a:gd name="T12" fmla="*/ 171 w 996"/>
                  <a:gd name="T13" fmla="*/ 194 h 443"/>
                  <a:gd name="T14" fmla="*/ 43 w 996"/>
                  <a:gd name="T15" fmla="*/ 370 h 443"/>
                  <a:gd name="T16" fmla="*/ 0 w 996"/>
                  <a:gd name="T17" fmla="*/ 442 h 443"/>
                  <a:gd name="T18" fmla="*/ 996 w 996"/>
                  <a:gd name="T19" fmla="*/ 443 h 443"/>
                  <a:gd name="T20" fmla="*/ 934 w 996"/>
                  <a:gd name="T21" fmla="*/ 396 h 443"/>
                  <a:gd name="T22" fmla="*/ 883 w 996"/>
                  <a:gd name="T23" fmla="*/ 332 h 443"/>
                  <a:gd name="T24" fmla="*/ 808 w 996"/>
                  <a:gd name="T25" fmla="*/ 254 h 443"/>
                  <a:gd name="T26" fmla="*/ 706 w 996"/>
                  <a:gd name="T27" fmla="*/ 127 h 443"/>
                  <a:gd name="T28" fmla="*/ 687 w 996"/>
                  <a:gd name="T29" fmla="*/ 74 h 443"/>
                  <a:gd name="T30" fmla="*/ 646 w 996"/>
                  <a:gd name="T31" fmla="*/ 52 h 443"/>
                  <a:gd name="T32" fmla="*/ 570 w 996"/>
                  <a:gd name="T33" fmla="*/ 0 h 443"/>
                  <a:gd name="T34" fmla="*/ 566 w 996"/>
                  <a:gd name="T35" fmla="*/ 23 h 443"/>
                  <a:gd name="T36" fmla="*/ 520 w 996"/>
                  <a:gd name="T37" fmla="*/ 1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96" h="443">
                    <a:moveTo>
                      <a:pt x="520" y="16"/>
                    </a:moveTo>
                    <a:cubicBezTo>
                      <a:pt x="510" y="16"/>
                      <a:pt x="430" y="31"/>
                      <a:pt x="374" y="39"/>
                    </a:cubicBezTo>
                    <a:cubicBezTo>
                      <a:pt x="318" y="47"/>
                      <a:pt x="307" y="44"/>
                      <a:pt x="256" y="20"/>
                    </a:cubicBezTo>
                    <a:cubicBezTo>
                      <a:pt x="256" y="20"/>
                      <a:pt x="236" y="15"/>
                      <a:pt x="234" y="19"/>
                    </a:cubicBezTo>
                    <a:cubicBezTo>
                      <a:pt x="231" y="23"/>
                      <a:pt x="231" y="72"/>
                      <a:pt x="214" y="99"/>
                    </a:cubicBezTo>
                    <a:cubicBezTo>
                      <a:pt x="214" y="99"/>
                      <a:pt x="194" y="142"/>
                      <a:pt x="190" y="148"/>
                    </a:cubicBezTo>
                    <a:cubicBezTo>
                      <a:pt x="186" y="155"/>
                      <a:pt x="182" y="158"/>
                      <a:pt x="171" y="194"/>
                    </a:cubicBezTo>
                    <a:cubicBezTo>
                      <a:pt x="171" y="194"/>
                      <a:pt x="63" y="339"/>
                      <a:pt x="43" y="370"/>
                    </a:cubicBezTo>
                    <a:cubicBezTo>
                      <a:pt x="25" y="397"/>
                      <a:pt x="4" y="434"/>
                      <a:pt x="0" y="442"/>
                    </a:cubicBezTo>
                    <a:cubicBezTo>
                      <a:pt x="996" y="443"/>
                      <a:pt x="996" y="443"/>
                      <a:pt x="996" y="443"/>
                    </a:cubicBezTo>
                    <a:cubicBezTo>
                      <a:pt x="996" y="443"/>
                      <a:pt x="944" y="410"/>
                      <a:pt x="934" y="396"/>
                    </a:cubicBezTo>
                    <a:cubicBezTo>
                      <a:pt x="923" y="383"/>
                      <a:pt x="900" y="343"/>
                      <a:pt x="883" y="332"/>
                    </a:cubicBezTo>
                    <a:cubicBezTo>
                      <a:pt x="866" y="322"/>
                      <a:pt x="814" y="263"/>
                      <a:pt x="808" y="254"/>
                    </a:cubicBezTo>
                    <a:cubicBezTo>
                      <a:pt x="803" y="244"/>
                      <a:pt x="708" y="138"/>
                      <a:pt x="706" y="127"/>
                    </a:cubicBezTo>
                    <a:cubicBezTo>
                      <a:pt x="703" y="116"/>
                      <a:pt x="698" y="79"/>
                      <a:pt x="687" y="74"/>
                    </a:cubicBezTo>
                    <a:cubicBezTo>
                      <a:pt x="676" y="68"/>
                      <a:pt x="655" y="59"/>
                      <a:pt x="646" y="52"/>
                    </a:cubicBezTo>
                    <a:cubicBezTo>
                      <a:pt x="638" y="47"/>
                      <a:pt x="599" y="19"/>
                      <a:pt x="570" y="0"/>
                    </a:cubicBezTo>
                    <a:cubicBezTo>
                      <a:pt x="569" y="11"/>
                      <a:pt x="568" y="19"/>
                      <a:pt x="566" y="23"/>
                    </a:cubicBezTo>
                    <a:cubicBezTo>
                      <a:pt x="562" y="31"/>
                      <a:pt x="531" y="16"/>
                      <a:pt x="520" y="1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EFE04251-B596-4581-9033-DE7B92F8B7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2763" y="3081338"/>
                <a:ext cx="327025" cy="841375"/>
              </a:xfrm>
              <a:custGeom>
                <a:avLst/>
                <a:gdLst>
                  <a:gd name="T0" fmla="*/ 42 w 87"/>
                  <a:gd name="T1" fmla="*/ 44 h 224"/>
                  <a:gd name="T2" fmla="*/ 18 w 87"/>
                  <a:gd name="T3" fmla="*/ 92 h 224"/>
                  <a:gd name="T4" fmla="*/ 3 w 87"/>
                  <a:gd name="T5" fmla="*/ 154 h 224"/>
                  <a:gd name="T6" fmla="*/ 10 w 87"/>
                  <a:gd name="T7" fmla="*/ 184 h 224"/>
                  <a:gd name="T8" fmla="*/ 14 w 87"/>
                  <a:gd name="T9" fmla="*/ 214 h 224"/>
                  <a:gd name="T10" fmla="*/ 35 w 87"/>
                  <a:gd name="T11" fmla="*/ 223 h 224"/>
                  <a:gd name="T12" fmla="*/ 56 w 87"/>
                  <a:gd name="T13" fmla="*/ 220 h 224"/>
                  <a:gd name="T14" fmla="*/ 71 w 87"/>
                  <a:gd name="T15" fmla="*/ 219 h 224"/>
                  <a:gd name="T16" fmla="*/ 67 w 87"/>
                  <a:gd name="T17" fmla="*/ 188 h 224"/>
                  <a:gd name="T18" fmla="*/ 62 w 87"/>
                  <a:gd name="T19" fmla="*/ 166 h 224"/>
                  <a:gd name="T20" fmla="*/ 60 w 87"/>
                  <a:gd name="T21" fmla="*/ 122 h 224"/>
                  <a:gd name="T22" fmla="*/ 78 w 87"/>
                  <a:gd name="T23" fmla="*/ 60 h 224"/>
                  <a:gd name="T24" fmla="*/ 87 w 87"/>
                  <a:gd name="T25" fmla="*/ 56 h 224"/>
                  <a:gd name="T26" fmla="*/ 86 w 87"/>
                  <a:gd name="T27" fmla="*/ 48 h 224"/>
                  <a:gd name="T28" fmla="*/ 82 w 87"/>
                  <a:gd name="T29" fmla="*/ 30 h 224"/>
                  <a:gd name="T30" fmla="*/ 73 w 87"/>
                  <a:gd name="T31" fmla="*/ 0 h 224"/>
                  <a:gd name="T32" fmla="*/ 75 w 87"/>
                  <a:gd name="T33" fmla="*/ 14 h 224"/>
                  <a:gd name="T34" fmla="*/ 42 w 87"/>
                  <a:gd name="T35" fmla="*/ 4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224">
                    <a:moveTo>
                      <a:pt x="42" y="44"/>
                    </a:moveTo>
                    <a:cubicBezTo>
                      <a:pt x="36" y="63"/>
                      <a:pt x="18" y="92"/>
                      <a:pt x="18" y="92"/>
                    </a:cubicBezTo>
                    <a:cubicBezTo>
                      <a:pt x="18" y="110"/>
                      <a:pt x="6" y="147"/>
                      <a:pt x="3" y="154"/>
                    </a:cubicBezTo>
                    <a:cubicBezTo>
                      <a:pt x="0" y="160"/>
                      <a:pt x="10" y="184"/>
                      <a:pt x="10" y="184"/>
                    </a:cubicBezTo>
                    <a:cubicBezTo>
                      <a:pt x="18" y="202"/>
                      <a:pt x="15" y="207"/>
                      <a:pt x="14" y="214"/>
                    </a:cubicBezTo>
                    <a:cubicBezTo>
                      <a:pt x="12" y="220"/>
                      <a:pt x="22" y="222"/>
                      <a:pt x="35" y="223"/>
                    </a:cubicBezTo>
                    <a:cubicBezTo>
                      <a:pt x="48" y="224"/>
                      <a:pt x="51" y="220"/>
                      <a:pt x="56" y="220"/>
                    </a:cubicBezTo>
                    <a:cubicBezTo>
                      <a:pt x="62" y="220"/>
                      <a:pt x="67" y="220"/>
                      <a:pt x="71" y="219"/>
                    </a:cubicBezTo>
                    <a:cubicBezTo>
                      <a:pt x="75" y="218"/>
                      <a:pt x="67" y="192"/>
                      <a:pt x="67" y="188"/>
                    </a:cubicBezTo>
                    <a:cubicBezTo>
                      <a:pt x="67" y="184"/>
                      <a:pt x="59" y="172"/>
                      <a:pt x="62" y="166"/>
                    </a:cubicBezTo>
                    <a:cubicBezTo>
                      <a:pt x="64" y="159"/>
                      <a:pt x="58" y="156"/>
                      <a:pt x="60" y="122"/>
                    </a:cubicBezTo>
                    <a:cubicBezTo>
                      <a:pt x="63" y="87"/>
                      <a:pt x="64" y="74"/>
                      <a:pt x="78" y="60"/>
                    </a:cubicBezTo>
                    <a:cubicBezTo>
                      <a:pt x="82" y="55"/>
                      <a:pt x="85" y="55"/>
                      <a:pt x="87" y="56"/>
                    </a:cubicBezTo>
                    <a:cubicBezTo>
                      <a:pt x="86" y="51"/>
                      <a:pt x="86" y="48"/>
                      <a:pt x="86" y="48"/>
                    </a:cubicBezTo>
                    <a:cubicBezTo>
                      <a:pt x="82" y="30"/>
                      <a:pt x="82" y="30"/>
                      <a:pt x="82" y="30"/>
                    </a:cubicBezTo>
                    <a:cubicBezTo>
                      <a:pt x="78" y="19"/>
                      <a:pt x="75" y="9"/>
                      <a:pt x="73" y="0"/>
                    </a:cubicBezTo>
                    <a:cubicBezTo>
                      <a:pt x="74" y="8"/>
                      <a:pt x="75" y="14"/>
                      <a:pt x="75" y="14"/>
                    </a:cubicBezTo>
                    <a:cubicBezTo>
                      <a:pt x="70" y="15"/>
                      <a:pt x="42" y="44"/>
                      <a:pt x="42" y="4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AFB05030-CFE9-4EE4-BECB-267BAAD041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3938" y="3862388"/>
                <a:ext cx="82550" cy="115888"/>
              </a:xfrm>
              <a:custGeom>
                <a:avLst/>
                <a:gdLst>
                  <a:gd name="T0" fmla="*/ 17 w 22"/>
                  <a:gd name="T1" fmla="*/ 31 h 31"/>
                  <a:gd name="T2" fmla="*/ 22 w 22"/>
                  <a:gd name="T3" fmla="*/ 29 h 31"/>
                  <a:gd name="T4" fmla="*/ 11 w 22"/>
                  <a:gd name="T5" fmla="*/ 11 h 31"/>
                  <a:gd name="T6" fmla="*/ 0 w 22"/>
                  <a:gd name="T7" fmla="*/ 0 h 31"/>
                  <a:gd name="T8" fmla="*/ 11 w 22"/>
                  <a:gd name="T9" fmla="*/ 20 h 31"/>
                  <a:gd name="T10" fmla="*/ 17 w 22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1">
                    <a:moveTo>
                      <a:pt x="17" y="31"/>
                    </a:moveTo>
                    <a:cubicBezTo>
                      <a:pt x="22" y="29"/>
                      <a:pt x="22" y="29"/>
                      <a:pt x="22" y="29"/>
                    </a:cubicBezTo>
                    <a:cubicBezTo>
                      <a:pt x="17" y="20"/>
                      <a:pt x="11" y="11"/>
                      <a:pt x="11" y="11"/>
                    </a:cubicBezTo>
                    <a:cubicBezTo>
                      <a:pt x="7" y="8"/>
                      <a:pt x="4" y="4"/>
                      <a:pt x="0" y="0"/>
                    </a:cubicBezTo>
                    <a:cubicBezTo>
                      <a:pt x="5" y="10"/>
                      <a:pt x="10" y="18"/>
                      <a:pt x="11" y="20"/>
                    </a:cubicBezTo>
                    <a:cubicBezTo>
                      <a:pt x="11" y="21"/>
                      <a:pt x="14" y="25"/>
                      <a:pt x="17" y="3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94849170-7944-4758-9496-561B316DBC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20951" y="2714626"/>
                <a:ext cx="1222375" cy="2039938"/>
              </a:xfrm>
              <a:custGeom>
                <a:avLst/>
                <a:gdLst>
                  <a:gd name="T0" fmla="*/ 321 w 326"/>
                  <a:gd name="T1" fmla="*/ 434 h 544"/>
                  <a:gd name="T2" fmla="*/ 309 w 326"/>
                  <a:gd name="T3" fmla="*/ 377 h 544"/>
                  <a:gd name="T4" fmla="*/ 308 w 326"/>
                  <a:gd name="T5" fmla="*/ 373 h 544"/>
                  <a:gd name="T6" fmla="*/ 298 w 326"/>
                  <a:gd name="T7" fmla="*/ 357 h 544"/>
                  <a:gd name="T8" fmla="*/ 293 w 326"/>
                  <a:gd name="T9" fmla="*/ 338 h 544"/>
                  <a:gd name="T10" fmla="*/ 295 w 326"/>
                  <a:gd name="T11" fmla="*/ 337 h 544"/>
                  <a:gd name="T12" fmla="*/ 289 w 326"/>
                  <a:gd name="T13" fmla="*/ 326 h 544"/>
                  <a:gd name="T14" fmla="*/ 278 w 326"/>
                  <a:gd name="T15" fmla="*/ 306 h 544"/>
                  <a:gd name="T16" fmla="*/ 265 w 326"/>
                  <a:gd name="T17" fmla="*/ 282 h 544"/>
                  <a:gd name="T18" fmla="*/ 232 w 326"/>
                  <a:gd name="T19" fmla="*/ 162 h 544"/>
                  <a:gd name="T20" fmla="*/ 229 w 326"/>
                  <a:gd name="T21" fmla="*/ 154 h 544"/>
                  <a:gd name="T22" fmla="*/ 220 w 326"/>
                  <a:gd name="T23" fmla="*/ 158 h 544"/>
                  <a:gd name="T24" fmla="*/ 202 w 326"/>
                  <a:gd name="T25" fmla="*/ 220 h 544"/>
                  <a:gd name="T26" fmla="*/ 204 w 326"/>
                  <a:gd name="T27" fmla="*/ 264 h 544"/>
                  <a:gd name="T28" fmla="*/ 209 w 326"/>
                  <a:gd name="T29" fmla="*/ 286 h 544"/>
                  <a:gd name="T30" fmla="*/ 213 w 326"/>
                  <a:gd name="T31" fmla="*/ 317 h 544"/>
                  <a:gd name="T32" fmla="*/ 198 w 326"/>
                  <a:gd name="T33" fmla="*/ 318 h 544"/>
                  <a:gd name="T34" fmla="*/ 177 w 326"/>
                  <a:gd name="T35" fmla="*/ 321 h 544"/>
                  <a:gd name="T36" fmla="*/ 156 w 326"/>
                  <a:gd name="T37" fmla="*/ 312 h 544"/>
                  <a:gd name="T38" fmla="*/ 152 w 326"/>
                  <a:gd name="T39" fmla="*/ 282 h 544"/>
                  <a:gd name="T40" fmla="*/ 145 w 326"/>
                  <a:gd name="T41" fmla="*/ 252 h 544"/>
                  <a:gd name="T42" fmla="*/ 160 w 326"/>
                  <a:gd name="T43" fmla="*/ 190 h 544"/>
                  <a:gd name="T44" fmla="*/ 184 w 326"/>
                  <a:gd name="T45" fmla="*/ 142 h 544"/>
                  <a:gd name="T46" fmla="*/ 217 w 326"/>
                  <a:gd name="T47" fmla="*/ 112 h 544"/>
                  <a:gd name="T48" fmla="*/ 215 w 326"/>
                  <a:gd name="T49" fmla="*/ 98 h 544"/>
                  <a:gd name="T50" fmla="*/ 214 w 326"/>
                  <a:gd name="T51" fmla="*/ 73 h 544"/>
                  <a:gd name="T52" fmla="*/ 216 w 326"/>
                  <a:gd name="T53" fmla="*/ 6 h 544"/>
                  <a:gd name="T54" fmla="*/ 213 w 326"/>
                  <a:gd name="T55" fmla="*/ 1 h 544"/>
                  <a:gd name="T56" fmla="*/ 200 w 326"/>
                  <a:gd name="T57" fmla="*/ 16 h 544"/>
                  <a:gd name="T58" fmla="*/ 169 w 326"/>
                  <a:gd name="T59" fmla="*/ 40 h 544"/>
                  <a:gd name="T60" fmla="*/ 144 w 326"/>
                  <a:gd name="T61" fmla="*/ 58 h 544"/>
                  <a:gd name="T62" fmla="*/ 104 w 326"/>
                  <a:gd name="T63" fmla="*/ 90 h 544"/>
                  <a:gd name="T64" fmla="*/ 52 w 326"/>
                  <a:gd name="T65" fmla="*/ 150 h 544"/>
                  <a:gd name="T66" fmla="*/ 41 w 326"/>
                  <a:gd name="T67" fmla="*/ 212 h 544"/>
                  <a:gd name="T68" fmla="*/ 30 w 326"/>
                  <a:gd name="T69" fmla="*/ 250 h 544"/>
                  <a:gd name="T70" fmla="*/ 1 w 326"/>
                  <a:gd name="T71" fmla="*/ 306 h 544"/>
                  <a:gd name="T72" fmla="*/ 40 w 326"/>
                  <a:gd name="T73" fmla="*/ 380 h 544"/>
                  <a:gd name="T74" fmla="*/ 59 w 326"/>
                  <a:gd name="T75" fmla="*/ 414 h 544"/>
                  <a:gd name="T76" fmla="*/ 61 w 326"/>
                  <a:gd name="T77" fmla="*/ 414 h 544"/>
                  <a:gd name="T78" fmla="*/ 66 w 326"/>
                  <a:gd name="T79" fmla="*/ 426 h 544"/>
                  <a:gd name="T80" fmla="*/ 69 w 326"/>
                  <a:gd name="T81" fmla="*/ 441 h 544"/>
                  <a:gd name="T82" fmla="*/ 184 w 326"/>
                  <a:gd name="T83" fmla="*/ 496 h 544"/>
                  <a:gd name="T84" fmla="*/ 284 w 326"/>
                  <a:gd name="T85" fmla="*/ 540 h 544"/>
                  <a:gd name="T86" fmla="*/ 293 w 326"/>
                  <a:gd name="T87" fmla="*/ 544 h 544"/>
                  <a:gd name="T88" fmla="*/ 316 w 326"/>
                  <a:gd name="T89" fmla="*/ 492 h 544"/>
                  <a:gd name="T90" fmla="*/ 326 w 326"/>
                  <a:gd name="T91" fmla="*/ 427 h 544"/>
                  <a:gd name="T92" fmla="*/ 321 w 326"/>
                  <a:gd name="T93" fmla="*/ 43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6" h="544">
                    <a:moveTo>
                      <a:pt x="321" y="434"/>
                    </a:moveTo>
                    <a:cubicBezTo>
                      <a:pt x="321" y="416"/>
                      <a:pt x="309" y="382"/>
                      <a:pt x="309" y="377"/>
                    </a:cubicBezTo>
                    <a:cubicBezTo>
                      <a:pt x="309" y="376"/>
                      <a:pt x="308" y="375"/>
                      <a:pt x="308" y="373"/>
                    </a:cubicBezTo>
                    <a:cubicBezTo>
                      <a:pt x="305" y="368"/>
                      <a:pt x="298" y="362"/>
                      <a:pt x="298" y="357"/>
                    </a:cubicBezTo>
                    <a:cubicBezTo>
                      <a:pt x="298" y="350"/>
                      <a:pt x="293" y="338"/>
                      <a:pt x="293" y="338"/>
                    </a:cubicBezTo>
                    <a:cubicBezTo>
                      <a:pt x="295" y="337"/>
                      <a:pt x="295" y="337"/>
                      <a:pt x="295" y="337"/>
                    </a:cubicBezTo>
                    <a:cubicBezTo>
                      <a:pt x="292" y="331"/>
                      <a:pt x="289" y="327"/>
                      <a:pt x="289" y="326"/>
                    </a:cubicBezTo>
                    <a:cubicBezTo>
                      <a:pt x="288" y="324"/>
                      <a:pt x="283" y="316"/>
                      <a:pt x="278" y="306"/>
                    </a:cubicBezTo>
                    <a:cubicBezTo>
                      <a:pt x="273" y="297"/>
                      <a:pt x="267" y="287"/>
                      <a:pt x="265" y="282"/>
                    </a:cubicBezTo>
                    <a:cubicBezTo>
                      <a:pt x="261" y="273"/>
                      <a:pt x="241" y="234"/>
                      <a:pt x="232" y="162"/>
                    </a:cubicBezTo>
                    <a:cubicBezTo>
                      <a:pt x="232" y="162"/>
                      <a:pt x="232" y="155"/>
                      <a:pt x="229" y="154"/>
                    </a:cubicBezTo>
                    <a:cubicBezTo>
                      <a:pt x="227" y="153"/>
                      <a:pt x="224" y="153"/>
                      <a:pt x="220" y="158"/>
                    </a:cubicBezTo>
                    <a:cubicBezTo>
                      <a:pt x="206" y="172"/>
                      <a:pt x="205" y="185"/>
                      <a:pt x="202" y="220"/>
                    </a:cubicBezTo>
                    <a:cubicBezTo>
                      <a:pt x="200" y="254"/>
                      <a:pt x="206" y="257"/>
                      <a:pt x="204" y="264"/>
                    </a:cubicBezTo>
                    <a:cubicBezTo>
                      <a:pt x="201" y="270"/>
                      <a:pt x="209" y="282"/>
                      <a:pt x="209" y="286"/>
                    </a:cubicBezTo>
                    <a:cubicBezTo>
                      <a:pt x="209" y="290"/>
                      <a:pt x="217" y="316"/>
                      <a:pt x="213" y="317"/>
                    </a:cubicBezTo>
                    <a:cubicBezTo>
                      <a:pt x="209" y="318"/>
                      <a:pt x="204" y="318"/>
                      <a:pt x="198" y="318"/>
                    </a:cubicBezTo>
                    <a:cubicBezTo>
                      <a:pt x="193" y="318"/>
                      <a:pt x="190" y="322"/>
                      <a:pt x="177" y="321"/>
                    </a:cubicBezTo>
                    <a:cubicBezTo>
                      <a:pt x="164" y="320"/>
                      <a:pt x="154" y="318"/>
                      <a:pt x="156" y="312"/>
                    </a:cubicBezTo>
                    <a:cubicBezTo>
                      <a:pt x="157" y="305"/>
                      <a:pt x="160" y="300"/>
                      <a:pt x="152" y="282"/>
                    </a:cubicBezTo>
                    <a:cubicBezTo>
                      <a:pt x="152" y="282"/>
                      <a:pt x="142" y="258"/>
                      <a:pt x="145" y="252"/>
                    </a:cubicBezTo>
                    <a:cubicBezTo>
                      <a:pt x="148" y="245"/>
                      <a:pt x="160" y="208"/>
                      <a:pt x="160" y="190"/>
                    </a:cubicBezTo>
                    <a:cubicBezTo>
                      <a:pt x="160" y="190"/>
                      <a:pt x="178" y="161"/>
                      <a:pt x="184" y="142"/>
                    </a:cubicBezTo>
                    <a:cubicBezTo>
                      <a:pt x="184" y="142"/>
                      <a:pt x="212" y="113"/>
                      <a:pt x="217" y="112"/>
                    </a:cubicBezTo>
                    <a:cubicBezTo>
                      <a:pt x="217" y="112"/>
                      <a:pt x="216" y="106"/>
                      <a:pt x="215" y="98"/>
                    </a:cubicBezTo>
                    <a:cubicBezTo>
                      <a:pt x="214" y="90"/>
                      <a:pt x="213" y="81"/>
                      <a:pt x="214" y="73"/>
                    </a:cubicBezTo>
                    <a:cubicBezTo>
                      <a:pt x="217" y="57"/>
                      <a:pt x="213" y="18"/>
                      <a:pt x="216" y="6"/>
                    </a:cubicBezTo>
                    <a:cubicBezTo>
                      <a:pt x="217" y="1"/>
                      <a:pt x="215" y="0"/>
                      <a:pt x="213" y="1"/>
                    </a:cubicBezTo>
                    <a:cubicBezTo>
                      <a:pt x="209" y="3"/>
                      <a:pt x="204" y="9"/>
                      <a:pt x="200" y="16"/>
                    </a:cubicBezTo>
                    <a:cubicBezTo>
                      <a:pt x="192" y="28"/>
                      <a:pt x="172" y="33"/>
                      <a:pt x="169" y="40"/>
                    </a:cubicBezTo>
                    <a:cubicBezTo>
                      <a:pt x="169" y="40"/>
                      <a:pt x="156" y="45"/>
                      <a:pt x="144" y="58"/>
                    </a:cubicBezTo>
                    <a:cubicBezTo>
                      <a:pt x="132" y="72"/>
                      <a:pt x="114" y="73"/>
                      <a:pt x="104" y="90"/>
                    </a:cubicBezTo>
                    <a:cubicBezTo>
                      <a:pt x="93" y="108"/>
                      <a:pt x="70" y="121"/>
                      <a:pt x="52" y="150"/>
                    </a:cubicBezTo>
                    <a:cubicBezTo>
                      <a:pt x="52" y="150"/>
                      <a:pt x="42" y="180"/>
                      <a:pt x="41" y="212"/>
                    </a:cubicBezTo>
                    <a:cubicBezTo>
                      <a:pt x="41" y="212"/>
                      <a:pt x="38" y="241"/>
                      <a:pt x="30" y="250"/>
                    </a:cubicBezTo>
                    <a:cubicBezTo>
                      <a:pt x="22" y="260"/>
                      <a:pt x="0" y="290"/>
                      <a:pt x="1" y="306"/>
                    </a:cubicBezTo>
                    <a:cubicBezTo>
                      <a:pt x="2" y="322"/>
                      <a:pt x="26" y="358"/>
                      <a:pt x="40" y="380"/>
                    </a:cubicBezTo>
                    <a:cubicBezTo>
                      <a:pt x="49" y="395"/>
                      <a:pt x="52" y="392"/>
                      <a:pt x="59" y="414"/>
                    </a:cubicBezTo>
                    <a:cubicBezTo>
                      <a:pt x="60" y="414"/>
                      <a:pt x="61" y="414"/>
                      <a:pt x="61" y="414"/>
                    </a:cubicBezTo>
                    <a:cubicBezTo>
                      <a:pt x="61" y="414"/>
                      <a:pt x="65" y="420"/>
                      <a:pt x="66" y="426"/>
                    </a:cubicBezTo>
                    <a:cubicBezTo>
                      <a:pt x="68" y="433"/>
                      <a:pt x="69" y="441"/>
                      <a:pt x="69" y="441"/>
                    </a:cubicBezTo>
                    <a:cubicBezTo>
                      <a:pt x="78" y="441"/>
                      <a:pt x="150" y="476"/>
                      <a:pt x="184" y="496"/>
                    </a:cubicBezTo>
                    <a:cubicBezTo>
                      <a:pt x="211" y="512"/>
                      <a:pt x="258" y="531"/>
                      <a:pt x="284" y="540"/>
                    </a:cubicBezTo>
                    <a:cubicBezTo>
                      <a:pt x="287" y="542"/>
                      <a:pt x="291" y="543"/>
                      <a:pt x="293" y="544"/>
                    </a:cubicBezTo>
                    <a:cubicBezTo>
                      <a:pt x="300" y="530"/>
                      <a:pt x="311" y="507"/>
                      <a:pt x="316" y="492"/>
                    </a:cubicBezTo>
                    <a:cubicBezTo>
                      <a:pt x="320" y="477"/>
                      <a:pt x="324" y="449"/>
                      <a:pt x="326" y="427"/>
                    </a:cubicBezTo>
                    <a:cubicBezTo>
                      <a:pt x="323" y="431"/>
                      <a:pt x="321" y="434"/>
                      <a:pt x="321" y="434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8B9EF0D-8E89-467E-A592-B241DD7A4F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9501" y="3967163"/>
                <a:ext cx="209550" cy="374650"/>
              </a:xfrm>
              <a:custGeom>
                <a:avLst/>
                <a:gdLst>
                  <a:gd name="T0" fmla="*/ 51 w 56"/>
                  <a:gd name="T1" fmla="*/ 52 h 100"/>
                  <a:gd name="T2" fmla="*/ 9 w 56"/>
                  <a:gd name="T3" fmla="*/ 0 h 100"/>
                  <a:gd name="T4" fmla="*/ 7 w 56"/>
                  <a:gd name="T5" fmla="*/ 1 h 100"/>
                  <a:gd name="T6" fmla="*/ 2 w 56"/>
                  <a:gd name="T7" fmla="*/ 3 h 100"/>
                  <a:gd name="T8" fmla="*/ 0 w 56"/>
                  <a:gd name="T9" fmla="*/ 4 h 100"/>
                  <a:gd name="T10" fmla="*/ 5 w 56"/>
                  <a:gd name="T11" fmla="*/ 23 h 100"/>
                  <a:gd name="T12" fmla="*/ 15 w 56"/>
                  <a:gd name="T13" fmla="*/ 39 h 100"/>
                  <a:gd name="T14" fmla="*/ 16 w 56"/>
                  <a:gd name="T15" fmla="*/ 43 h 100"/>
                  <a:gd name="T16" fmla="*/ 28 w 56"/>
                  <a:gd name="T17" fmla="*/ 100 h 100"/>
                  <a:gd name="T18" fmla="*/ 33 w 56"/>
                  <a:gd name="T19" fmla="*/ 93 h 100"/>
                  <a:gd name="T20" fmla="*/ 48 w 56"/>
                  <a:gd name="T21" fmla="*/ 82 h 100"/>
                  <a:gd name="T22" fmla="*/ 56 w 56"/>
                  <a:gd name="T23" fmla="*/ 86 h 100"/>
                  <a:gd name="T24" fmla="*/ 51 w 56"/>
                  <a:gd name="T25" fmla="*/ 5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100">
                    <a:moveTo>
                      <a:pt x="51" y="52"/>
                    </a:moveTo>
                    <a:cubicBezTo>
                      <a:pt x="51" y="52"/>
                      <a:pt x="15" y="11"/>
                      <a:pt x="9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5" y="16"/>
                      <a:pt x="5" y="23"/>
                    </a:cubicBezTo>
                    <a:cubicBezTo>
                      <a:pt x="5" y="28"/>
                      <a:pt x="12" y="34"/>
                      <a:pt x="15" y="39"/>
                    </a:cubicBezTo>
                    <a:cubicBezTo>
                      <a:pt x="15" y="41"/>
                      <a:pt x="16" y="42"/>
                      <a:pt x="16" y="43"/>
                    </a:cubicBezTo>
                    <a:cubicBezTo>
                      <a:pt x="16" y="48"/>
                      <a:pt x="28" y="82"/>
                      <a:pt x="28" y="100"/>
                    </a:cubicBezTo>
                    <a:cubicBezTo>
                      <a:pt x="28" y="100"/>
                      <a:pt x="30" y="97"/>
                      <a:pt x="33" y="93"/>
                    </a:cubicBezTo>
                    <a:cubicBezTo>
                      <a:pt x="36" y="87"/>
                      <a:pt x="42" y="80"/>
                      <a:pt x="48" y="82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6" y="86"/>
                      <a:pt x="49" y="58"/>
                      <a:pt x="51" y="52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55EA6EEA-9E6D-4591-BCF2-F6CE6A3A7A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9463" y="2711451"/>
                <a:ext cx="3175" cy="6350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2 h 2"/>
                  <a:gd name="T4" fmla="*/ 0 w 1"/>
                  <a:gd name="T5" fmla="*/ 0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16D89491-1B70-4935-AA31-EA713C81B8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2638" y="2717801"/>
                <a:ext cx="7938" cy="7938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0"/>
                      <a:pt x="1" y="1"/>
                      <a:pt x="2" y="2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444E2B5-D598-4C03-B047-282CBD42F2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14951" y="3243263"/>
                <a:ext cx="407988" cy="985838"/>
              </a:xfrm>
              <a:custGeom>
                <a:avLst/>
                <a:gdLst>
                  <a:gd name="T0" fmla="*/ 79 w 109"/>
                  <a:gd name="T1" fmla="*/ 21 h 263"/>
                  <a:gd name="T2" fmla="*/ 50 w 109"/>
                  <a:gd name="T3" fmla="*/ 46 h 263"/>
                  <a:gd name="T4" fmla="*/ 22 w 109"/>
                  <a:gd name="T5" fmla="*/ 68 h 263"/>
                  <a:gd name="T6" fmla="*/ 5 w 109"/>
                  <a:gd name="T7" fmla="*/ 136 h 263"/>
                  <a:gd name="T8" fmla="*/ 5 w 109"/>
                  <a:gd name="T9" fmla="*/ 185 h 263"/>
                  <a:gd name="T10" fmla="*/ 17 w 109"/>
                  <a:gd name="T11" fmla="*/ 202 h 263"/>
                  <a:gd name="T12" fmla="*/ 13 w 109"/>
                  <a:gd name="T13" fmla="*/ 263 h 263"/>
                  <a:gd name="T14" fmla="*/ 80 w 109"/>
                  <a:gd name="T15" fmla="*/ 116 h 263"/>
                  <a:gd name="T16" fmla="*/ 109 w 109"/>
                  <a:gd name="T17" fmla="*/ 0 h 263"/>
                  <a:gd name="T18" fmla="*/ 90 w 109"/>
                  <a:gd name="T19" fmla="*/ 16 h 263"/>
                  <a:gd name="T20" fmla="*/ 86 w 109"/>
                  <a:gd name="T21" fmla="*/ 16 h 263"/>
                  <a:gd name="T22" fmla="*/ 79 w 109"/>
                  <a:gd name="T23" fmla="*/ 21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263">
                    <a:moveTo>
                      <a:pt x="79" y="21"/>
                    </a:moveTo>
                    <a:cubicBezTo>
                      <a:pt x="76" y="23"/>
                      <a:pt x="60" y="32"/>
                      <a:pt x="50" y="46"/>
                    </a:cubicBezTo>
                    <a:cubicBezTo>
                      <a:pt x="47" y="50"/>
                      <a:pt x="36" y="58"/>
                      <a:pt x="22" y="68"/>
                    </a:cubicBezTo>
                    <a:cubicBezTo>
                      <a:pt x="16" y="100"/>
                      <a:pt x="8" y="128"/>
                      <a:pt x="5" y="136"/>
                    </a:cubicBezTo>
                    <a:cubicBezTo>
                      <a:pt x="0" y="152"/>
                      <a:pt x="3" y="168"/>
                      <a:pt x="5" y="185"/>
                    </a:cubicBezTo>
                    <a:cubicBezTo>
                      <a:pt x="7" y="194"/>
                      <a:pt x="11" y="198"/>
                      <a:pt x="17" y="202"/>
                    </a:cubicBezTo>
                    <a:cubicBezTo>
                      <a:pt x="16" y="217"/>
                      <a:pt x="15" y="239"/>
                      <a:pt x="13" y="263"/>
                    </a:cubicBezTo>
                    <a:cubicBezTo>
                      <a:pt x="31" y="226"/>
                      <a:pt x="65" y="152"/>
                      <a:pt x="80" y="116"/>
                    </a:cubicBezTo>
                    <a:cubicBezTo>
                      <a:pt x="93" y="84"/>
                      <a:pt x="104" y="28"/>
                      <a:pt x="109" y="0"/>
                    </a:cubicBezTo>
                    <a:cubicBezTo>
                      <a:pt x="103" y="5"/>
                      <a:pt x="96" y="11"/>
                      <a:pt x="90" y="16"/>
                    </a:cubicBezTo>
                    <a:cubicBezTo>
                      <a:pt x="90" y="16"/>
                      <a:pt x="88" y="16"/>
                      <a:pt x="86" y="16"/>
                    </a:cubicBezTo>
                    <a:cubicBezTo>
                      <a:pt x="84" y="21"/>
                      <a:pt x="79" y="21"/>
                      <a:pt x="79" y="2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7B5EE285-A96F-49EA-9805-E5518EE229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3713" y="2200276"/>
                <a:ext cx="212725" cy="258763"/>
              </a:xfrm>
              <a:custGeom>
                <a:avLst/>
                <a:gdLst>
                  <a:gd name="T0" fmla="*/ 4 w 57"/>
                  <a:gd name="T1" fmla="*/ 42 h 69"/>
                  <a:gd name="T2" fmla="*/ 0 w 57"/>
                  <a:gd name="T3" fmla="*/ 53 h 69"/>
                  <a:gd name="T4" fmla="*/ 20 w 57"/>
                  <a:gd name="T5" fmla="*/ 48 h 69"/>
                  <a:gd name="T6" fmla="*/ 56 w 57"/>
                  <a:gd name="T7" fmla="*/ 69 h 69"/>
                  <a:gd name="T8" fmla="*/ 57 w 57"/>
                  <a:gd name="T9" fmla="*/ 50 h 69"/>
                  <a:gd name="T10" fmla="*/ 42 w 57"/>
                  <a:gd name="T11" fmla="*/ 1 h 69"/>
                  <a:gd name="T12" fmla="*/ 29 w 57"/>
                  <a:gd name="T13" fmla="*/ 0 h 69"/>
                  <a:gd name="T14" fmla="*/ 4 w 57"/>
                  <a:gd name="T15" fmla="*/ 4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69">
                    <a:moveTo>
                      <a:pt x="4" y="42"/>
                    </a:moveTo>
                    <a:cubicBezTo>
                      <a:pt x="3" y="45"/>
                      <a:pt x="2" y="48"/>
                      <a:pt x="0" y="53"/>
                    </a:cubicBezTo>
                    <a:cubicBezTo>
                      <a:pt x="5" y="51"/>
                      <a:pt x="11" y="49"/>
                      <a:pt x="20" y="48"/>
                    </a:cubicBezTo>
                    <a:cubicBezTo>
                      <a:pt x="42" y="45"/>
                      <a:pt x="52" y="59"/>
                      <a:pt x="56" y="69"/>
                    </a:cubicBezTo>
                    <a:cubicBezTo>
                      <a:pt x="57" y="64"/>
                      <a:pt x="57" y="58"/>
                      <a:pt x="57" y="50"/>
                    </a:cubicBezTo>
                    <a:cubicBezTo>
                      <a:pt x="54" y="29"/>
                      <a:pt x="47" y="13"/>
                      <a:pt x="42" y="1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9" y="6"/>
                      <a:pt x="5" y="34"/>
                      <a:pt x="4" y="42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9B5B05CC-A3B0-4675-954F-4A67903716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9038" y="4305301"/>
                <a:ext cx="360363" cy="727075"/>
              </a:xfrm>
              <a:custGeom>
                <a:avLst/>
                <a:gdLst>
                  <a:gd name="T0" fmla="*/ 6 w 96"/>
                  <a:gd name="T1" fmla="*/ 186 h 194"/>
                  <a:gd name="T2" fmla="*/ 0 w 96"/>
                  <a:gd name="T3" fmla="*/ 194 h 194"/>
                  <a:gd name="T4" fmla="*/ 16 w 96"/>
                  <a:gd name="T5" fmla="*/ 181 h 194"/>
                  <a:gd name="T6" fmla="*/ 87 w 96"/>
                  <a:gd name="T7" fmla="*/ 128 h 194"/>
                  <a:gd name="T8" fmla="*/ 88 w 96"/>
                  <a:gd name="T9" fmla="*/ 86 h 194"/>
                  <a:gd name="T10" fmla="*/ 96 w 96"/>
                  <a:gd name="T11" fmla="*/ 0 h 194"/>
                  <a:gd name="T12" fmla="*/ 49 w 96"/>
                  <a:gd name="T13" fmla="*/ 108 h 194"/>
                  <a:gd name="T14" fmla="*/ 6 w 96"/>
                  <a:gd name="T15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194">
                    <a:moveTo>
                      <a:pt x="6" y="186"/>
                    </a:moveTo>
                    <a:cubicBezTo>
                      <a:pt x="4" y="189"/>
                      <a:pt x="2" y="191"/>
                      <a:pt x="0" y="194"/>
                    </a:cubicBezTo>
                    <a:cubicBezTo>
                      <a:pt x="7" y="188"/>
                      <a:pt x="13" y="183"/>
                      <a:pt x="16" y="181"/>
                    </a:cubicBezTo>
                    <a:cubicBezTo>
                      <a:pt x="28" y="172"/>
                      <a:pt x="87" y="128"/>
                      <a:pt x="87" y="128"/>
                    </a:cubicBezTo>
                    <a:cubicBezTo>
                      <a:pt x="87" y="128"/>
                      <a:pt x="83" y="106"/>
                      <a:pt x="88" y="86"/>
                    </a:cubicBezTo>
                    <a:cubicBezTo>
                      <a:pt x="91" y="76"/>
                      <a:pt x="94" y="39"/>
                      <a:pt x="96" y="0"/>
                    </a:cubicBezTo>
                    <a:cubicBezTo>
                      <a:pt x="80" y="35"/>
                      <a:pt x="49" y="108"/>
                      <a:pt x="49" y="108"/>
                    </a:cubicBezTo>
                    <a:cubicBezTo>
                      <a:pt x="49" y="108"/>
                      <a:pt x="38" y="140"/>
                      <a:pt x="6" y="186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B60553BE-0F87-4946-924E-4359CB9005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25951" y="5327651"/>
                <a:ext cx="390525" cy="893763"/>
              </a:xfrm>
              <a:custGeom>
                <a:avLst/>
                <a:gdLst>
                  <a:gd name="T0" fmla="*/ 52 w 104"/>
                  <a:gd name="T1" fmla="*/ 137 h 238"/>
                  <a:gd name="T2" fmla="*/ 0 w 104"/>
                  <a:gd name="T3" fmla="*/ 236 h 238"/>
                  <a:gd name="T4" fmla="*/ 10 w 104"/>
                  <a:gd name="T5" fmla="*/ 238 h 238"/>
                  <a:gd name="T6" fmla="*/ 47 w 104"/>
                  <a:gd name="T7" fmla="*/ 163 h 238"/>
                  <a:gd name="T8" fmla="*/ 87 w 104"/>
                  <a:gd name="T9" fmla="*/ 64 h 238"/>
                  <a:gd name="T10" fmla="*/ 100 w 104"/>
                  <a:gd name="T11" fmla="*/ 30 h 238"/>
                  <a:gd name="T12" fmla="*/ 102 w 104"/>
                  <a:gd name="T13" fmla="*/ 24 h 238"/>
                  <a:gd name="T14" fmla="*/ 104 w 104"/>
                  <a:gd name="T15" fmla="*/ 0 h 238"/>
                  <a:gd name="T16" fmla="*/ 52 w 104"/>
                  <a:gd name="T17" fmla="*/ 13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238">
                    <a:moveTo>
                      <a:pt x="52" y="137"/>
                    </a:moveTo>
                    <a:cubicBezTo>
                      <a:pt x="0" y="236"/>
                      <a:pt x="0" y="236"/>
                      <a:pt x="0" y="236"/>
                    </a:cubicBezTo>
                    <a:cubicBezTo>
                      <a:pt x="10" y="238"/>
                      <a:pt x="10" y="238"/>
                      <a:pt x="10" y="238"/>
                    </a:cubicBezTo>
                    <a:cubicBezTo>
                      <a:pt x="10" y="238"/>
                      <a:pt x="33" y="187"/>
                      <a:pt x="47" y="163"/>
                    </a:cubicBezTo>
                    <a:cubicBezTo>
                      <a:pt x="61" y="139"/>
                      <a:pt x="78" y="99"/>
                      <a:pt x="87" y="64"/>
                    </a:cubicBezTo>
                    <a:cubicBezTo>
                      <a:pt x="100" y="30"/>
                      <a:pt x="100" y="30"/>
                      <a:pt x="100" y="30"/>
                    </a:cubicBezTo>
                    <a:cubicBezTo>
                      <a:pt x="100" y="30"/>
                      <a:pt x="100" y="28"/>
                      <a:pt x="102" y="24"/>
                    </a:cubicBezTo>
                    <a:cubicBezTo>
                      <a:pt x="103" y="15"/>
                      <a:pt x="104" y="7"/>
                      <a:pt x="104" y="0"/>
                    </a:cubicBezTo>
                    <a:cubicBezTo>
                      <a:pt x="89" y="34"/>
                      <a:pt x="71" y="79"/>
                      <a:pt x="52" y="137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3B34D6AE-C1D0-4D2B-A0AD-A13881AAF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0263" y="666751"/>
                <a:ext cx="981075" cy="674688"/>
              </a:xfrm>
              <a:custGeom>
                <a:avLst/>
                <a:gdLst>
                  <a:gd name="T0" fmla="*/ 205 w 262"/>
                  <a:gd name="T1" fmla="*/ 120 h 180"/>
                  <a:gd name="T2" fmla="*/ 221 w 262"/>
                  <a:gd name="T3" fmla="*/ 156 h 180"/>
                  <a:gd name="T4" fmla="*/ 235 w 262"/>
                  <a:gd name="T5" fmla="*/ 180 h 180"/>
                  <a:gd name="T6" fmla="*/ 254 w 262"/>
                  <a:gd name="T7" fmla="*/ 172 h 180"/>
                  <a:gd name="T8" fmla="*/ 259 w 262"/>
                  <a:gd name="T9" fmla="*/ 173 h 180"/>
                  <a:gd name="T10" fmla="*/ 261 w 262"/>
                  <a:gd name="T11" fmla="*/ 159 h 180"/>
                  <a:gd name="T12" fmla="*/ 243 w 262"/>
                  <a:gd name="T13" fmla="*/ 135 h 180"/>
                  <a:gd name="T14" fmla="*/ 177 w 262"/>
                  <a:gd name="T15" fmla="*/ 69 h 180"/>
                  <a:gd name="T16" fmla="*/ 0 w 262"/>
                  <a:gd name="T17" fmla="*/ 0 h 180"/>
                  <a:gd name="T18" fmla="*/ 85 w 262"/>
                  <a:gd name="T19" fmla="*/ 35 h 180"/>
                  <a:gd name="T20" fmla="*/ 205 w 262"/>
                  <a:gd name="T21" fmla="*/ 12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2" h="180">
                    <a:moveTo>
                      <a:pt x="205" y="120"/>
                    </a:moveTo>
                    <a:cubicBezTo>
                      <a:pt x="205" y="120"/>
                      <a:pt x="220" y="142"/>
                      <a:pt x="221" y="156"/>
                    </a:cubicBezTo>
                    <a:cubicBezTo>
                      <a:pt x="226" y="164"/>
                      <a:pt x="231" y="172"/>
                      <a:pt x="235" y="180"/>
                    </a:cubicBezTo>
                    <a:cubicBezTo>
                      <a:pt x="240" y="176"/>
                      <a:pt x="250" y="172"/>
                      <a:pt x="254" y="172"/>
                    </a:cubicBezTo>
                    <a:cubicBezTo>
                      <a:pt x="255" y="172"/>
                      <a:pt x="257" y="172"/>
                      <a:pt x="259" y="173"/>
                    </a:cubicBezTo>
                    <a:cubicBezTo>
                      <a:pt x="260" y="169"/>
                      <a:pt x="262" y="163"/>
                      <a:pt x="261" y="159"/>
                    </a:cubicBezTo>
                    <a:cubicBezTo>
                      <a:pt x="259" y="153"/>
                      <a:pt x="258" y="148"/>
                      <a:pt x="243" y="135"/>
                    </a:cubicBezTo>
                    <a:cubicBezTo>
                      <a:pt x="228" y="122"/>
                      <a:pt x="194" y="80"/>
                      <a:pt x="177" y="69"/>
                    </a:cubicBezTo>
                    <a:cubicBezTo>
                      <a:pt x="160" y="58"/>
                      <a:pt x="130" y="25"/>
                      <a:pt x="0" y="0"/>
                    </a:cubicBezTo>
                    <a:cubicBezTo>
                      <a:pt x="0" y="0"/>
                      <a:pt x="63" y="28"/>
                      <a:pt x="85" y="35"/>
                    </a:cubicBezTo>
                    <a:cubicBezTo>
                      <a:pt x="107" y="42"/>
                      <a:pt x="147" y="56"/>
                      <a:pt x="205" y="12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3766A238-57BF-432D-AFE2-8A4EF672F4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3713" y="2200276"/>
                <a:ext cx="212725" cy="258763"/>
              </a:xfrm>
              <a:custGeom>
                <a:avLst/>
                <a:gdLst>
                  <a:gd name="T0" fmla="*/ 56 w 57"/>
                  <a:gd name="T1" fmla="*/ 69 h 69"/>
                  <a:gd name="T2" fmla="*/ 57 w 57"/>
                  <a:gd name="T3" fmla="*/ 50 h 69"/>
                  <a:gd name="T4" fmla="*/ 42 w 57"/>
                  <a:gd name="T5" fmla="*/ 1 h 69"/>
                  <a:gd name="T6" fmla="*/ 29 w 57"/>
                  <a:gd name="T7" fmla="*/ 0 h 69"/>
                  <a:gd name="T8" fmla="*/ 4 w 57"/>
                  <a:gd name="T9" fmla="*/ 42 h 69"/>
                  <a:gd name="T10" fmla="*/ 0 w 57"/>
                  <a:gd name="T11" fmla="*/ 53 h 69"/>
                  <a:gd name="T12" fmla="*/ 20 w 57"/>
                  <a:gd name="T13" fmla="*/ 48 h 69"/>
                  <a:gd name="T14" fmla="*/ 56 w 57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69">
                    <a:moveTo>
                      <a:pt x="56" y="69"/>
                    </a:moveTo>
                    <a:cubicBezTo>
                      <a:pt x="57" y="64"/>
                      <a:pt x="57" y="58"/>
                      <a:pt x="57" y="50"/>
                    </a:cubicBezTo>
                    <a:cubicBezTo>
                      <a:pt x="54" y="29"/>
                      <a:pt x="47" y="13"/>
                      <a:pt x="42" y="1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9" y="6"/>
                      <a:pt x="5" y="34"/>
                      <a:pt x="4" y="42"/>
                    </a:cubicBezTo>
                    <a:cubicBezTo>
                      <a:pt x="3" y="45"/>
                      <a:pt x="2" y="48"/>
                      <a:pt x="0" y="53"/>
                    </a:cubicBezTo>
                    <a:cubicBezTo>
                      <a:pt x="5" y="51"/>
                      <a:pt x="11" y="49"/>
                      <a:pt x="20" y="48"/>
                    </a:cubicBezTo>
                    <a:cubicBezTo>
                      <a:pt x="42" y="45"/>
                      <a:pt x="52" y="59"/>
                      <a:pt x="56" y="69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48B4F48E-1882-4A61-BED1-75F16D9F76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38776" y="2370138"/>
                <a:ext cx="344488" cy="862013"/>
              </a:xfrm>
              <a:custGeom>
                <a:avLst/>
                <a:gdLst>
                  <a:gd name="T0" fmla="*/ 84 w 92"/>
                  <a:gd name="T1" fmla="*/ 38 h 230"/>
                  <a:gd name="T2" fmla="*/ 92 w 92"/>
                  <a:gd name="T3" fmla="*/ 24 h 230"/>
                  <a:gd name="T4" fmla="*/ 56 w 92"/>
                  <a:gd name="T5" fmla="*/ 3 h 230"/>
                  <a:gd name="T6" fmla="*/ 36 w 92"/>
                  <a:gd name="T7" fmla="*/ 8 h 230"/>
                  <a:gd name="T8" fmla="*/ 34 w 92"/>
                  <a:gd name="T9" fmla="*/ 14 h 230"/>
                  <a:gd name="T10" fmla="*/ 23 w 92"/>
                  <a:gd name="T11" fmla="*/ 54 h 230"/>
                  <a:gd name="T12" fmla="*/ 10 w 92"/>
                  <a:gd name="T13" fmla="*/ 79 h 230"/>
                  <a:gd name="T14" fmla="*/ 0 w 92"/>
                  <a:gd name="T15" fmla="*/ 198 h 230"/>
                  <a:gd name="T16" fmla="*/ 17 w 92"/>
                  <a:gd name="T17" fmla="*/ 218 h 230"/>
                  <a:gd name="T18" fmla="*/ 42 w 92"/>
                  <a:gd name="T19" fmla="*/ 223 h 230"/>
                  <a:gd name="T20" fmla="*/ 53 w 92"/>
                  <a:gd name="T21" fmla="*/ 207 h 230"/>
                  <a:gd name="T22" fmla="*/ 63 w 92"/>
                  <a:gd name="T23" fmla="*/ 186 h 230"/>
                  <a:gd name="T24" fmla="*/ 59 w 92"/>
                  <a:gd name="T25" fmla="*/ 92 h 230"/>
                  <a:gd name="T26" fmla="*/ 84 w 92"/>
                  <a:gd name="T27" fmla="*/ 38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230">
                    <a:moveTo>
                      <a:pt x="84" y="38"/>
                    </a:moveTo>
                    <a:cubicBezTo>
                      <a:pt x="88" y="33"/>
                      <a:pt x="90" y="29"/>
                      <a:pt x="92" y="24"/>
                    </a:cubicBezTo>
                    <a:cubicBezTo>
                      <a:pt x="88" y="14"/>
                      <a:pt x="78" y="0"/>
                      <a:pt x="56" y="3"/>
                    </a:cubicBezTo>
                    <a:cubicBezTo>
                      <a:pt x="47" y="4"/>
                      <a:pt x="41" y="6"/>
                      <a:pt x="36" y="8"/>
                    </a:cubicBezTo>
                    <a:cubicBezTo>
                      <a:pt x="35" y="10"/>
                      <a:pt x="35" y="12"/>
                      <a:pt x="34" y="14"/>
                    </a:cubicBezTo>
                    <a:cubicBezTo>
                      <a:pt x="31" y="23"/>
                      <a:pt x="26" y="36"/>
                      <a:pt x="23" y="54"/>
                    </a:cubicBezTo>
                    <a:cubicBezTo>
                      <a:pt x="20" y="69"/>
                      <a:pt x="15" y="76"/>
                      <a:pt x="10" y="79"/>
                    </a:cubicBezTo>
                    <a:cubicBezTo>
                      <a:pt x="6" y="108"/>
                      <a:pt x="2" y="168"/>
                      <a:pt x="0" y="198"/>
                    </a:cubicBezTo>
                    <a:cubicBezTo>
                      <a:pt x="3" y="207"/>
                      <a:pt x="9" y="214"/>
                      <a:pt x="17" y="218"/>
                    </a:cubicBezTo>
                    <a:cubicBezTo>
                      <a:pt x="17" y="218"/>
                      <a:pt x="27" y="230"/>
                      <a:pt x="42" y="223"/>
                    </a:cubicBezTo>
                    <a:cubicBezTo>
                      <a:pt x="42" y="212"/>
                      <a:pt x="41" y="220"/>
                      <a:pt x="53" y="207"/>
                    </a:cubicBezTo>
                    <a:cubicBezTo>
                      <a:pt x="66" y="193"/>
                      <a:pt x="66" y="200"/>
                      <a:pt x="63" y="186"/>
                    </a:cubicBezTo>
                    <a:cubicBezTo>
                      <a:pt x="60" y="172"/>
                      <a:pt x="41" y="153"/>
                      <a:pt x="59" y="92"/>
                    </a:cubicBezTo>
                    <a:cubicBezTo>
                      <a:pt x="68" y="61"/>
                      <a:pt x="78" y="48"/>
                      <a:pt x="84" y="38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123FE865-3A48-42F4-877A-A697D74276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3706" y="1312863"/>
                <a:ext cx="487363" cy="1990725"/>
              </a:xfrm>
              <a:custGeom>
                <a:avLst/>
                <a:gdLst>
                  <a:gd name="T0" fmla="*/ 123 w 130"/>
                  <a:gd name="T1" fmla="*/ 383 h 531"/>
                  <a:gd name="T2" fmla="*/ 99 w 130"/>
                  <a:gd name="T3" fmla="*/ 368 h 531"/>
                  <a:gd name="T4" fmla="*/ 95 w 130"/>
                  <a:gd name="T5" fmla="*/ 199 h 531"/>
                  <a:gd name="T6" fmla="*/ 38 w 130"/>
                  <a:gd name="T7" fmla="*/ 21 h 531"/>
                  <a:gd name="T8" fmla="*/ 24 w 130"/>
                  <a:gd name="T9" fmla="*/ 1 h 531"/>
                  <a:gd name="T10" fmla="*/ 19 w 130"/>
                  <a:gd name="T11" fmla="*/ 0 h 531"/>
                  <a:gd name="T12" fmla="*/ 0 w 130"/>
                  <a:gd name="T13" fmla="*/ 8 h 531"/>
                  <a:gd name="T14" fmla="*/ 6 w 130"/>
                  <a:gd name="T15" fmla="*/ 22 h 531"/>
                  <a:gd name="T16" fmla="*/ 23 w 130"/>
                  <a:gd name="T17" fmla="*/ 54 h 531"/>
                  <a:gd name="T18" fmla="*/ 53 w 130"/>
                  <a:gd name="T19" fmla="*/ 145 h 531"/>
                  <a:gd name="T20" fmla="*/ 57 w 130"/>
                  <a:gd name="T21" fmla="*/ 231 h 531"/>
                  <a:gd name="T22" fmla="*/ 57 w 130"/>
                  <a:gd name="T23" fmla="*/ 238 h 531"/>
                  <a:gd name="T24" fmla="*/ 56 w 130"/>
                  <a:gd name="T25" fmla="*/ 238 h 531"/>
                  <a:gd name="T26" fmla="*/ 71 w 130"/>
                  <a:gd name="T27" fmla="*/ 287 h 531"/>
                  <a:gd name="T28" fmla="*/ 70 w 130"/>
                  <a:gd name="T29" fmla="*/ 306 h 531"/>
                  <a:gd name="T30" fmla="*/ 62 w 130"/>
                  <a:gd name="T31" fmla="*/ 320 h 531"/>
                  <a:gd name="T32" fmla="*/ 37 w 130"/>
                  <a:gd name="T33" fmla="*/ 374 h 531"/>
                  <a:gd name="T34" fmla="*/ 41 w 130"/>
                  <a:gd name="T35" fmla="*/ 468 h 531"/>
                  <a:gd name="T36" fmla="*/ 31 w 130"/>
                  <a:gd name="T37" fmla="*/ 489 h 531"/>
                  <a:gd name="T38" fmla="*/ 20 w 130"/>
                  <a:gd name="T39" fmla="*/ 505 h 531"/>
                  <a:gd name="T40" fmla="*/ 20 w 130"/>
                  <a:gd name="T41" fmla="*/ 511 h 531"/>
                  <a:gd name="T42" fmla="*/ 32 w 130"/>
                  <a:gd name="T43" fmla="*/ 523 h 531"/>
                  <a:gd name="T44" fmla="*/ 31 w 130"/>
                  <a:gd name="T45" fmla="*/ 531 h 531"/>
                  <a:gd name="T46" fmla="*/ 35 w 130"/>
                  <a:gd name="T47" fmla="*/ 531 h 531"/>
                  <a:gd name="T48" fmla="*/ 54 w 130"/>
                  <a:gd name="T49" fmla="*/ 515 h 531"/>
                  <a:gd name="T50" fmla="*/ 70 w 130"/>
                  <a:gd name="T51" fmla="*/ 499 h 531"/>
                  <a:gd name="T52" fmla="*/ 128 w 130"/>
                  <a:gd name="T53" fmla="*/ 400 h 531"/>
                  <a:gd name="T54" fmla="*/ 123 w 130"/>
                  <a:gd name="T55" fmla="*/ 383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531">
                    <a:moveTo>
                      <a:pt x="123" y="383"/>
                    </a:moveTo>
                    <a:cubicBezTo>
                      <a:pt x="120" y="380"/>
                      <a:pt x="103" y="377"/>
                      <a:pt x="99" y="368"/>
                    </a:cubicBezTo>
                    <a:cubicBezTo>
                      <a:pt x="95" y="359"/>
                      <a:pt x="100" y="265"/>
                      <a:pt x="95" y="199"/>
                    </a:cubicBezTo>
                    <a:cubicBezTo>
                      <a:pt x="90" y="133"/>
                      <a:pt x="48" y="44"/>
                      <a:pt x="38" y="21"/>
                    </a:cubicBezTo>
                    <a:cubicBezTo>
                      <a:pt x="31" y="6"/>
                      <a:pt x="27" y="2"/>
                      <a:pt x="24" y="1"/>
                    </a:cubicBezTo>
                    <a:cubicBezTo>
                      <a:pt x="22" y="0"/>
                      <a:pt x="20" y="0"/>
                      <a:pt x="19" y="0"/>
                    </a:cubicBezTo>
                    <a:cubicBezTo>
                      <a:pt x="15" y="0"/>
                      <a:pt x="5" y="4"/>
                      <a:pt x="0" y="8"/>
                    </a:cubicBezTo>
                    <a:cubicBezTo>
                      <a:pt x="2" y="13"/>
                      <a:pt x="4" y="18"/>
                      <a:pt x="6" y="22"/>
                    </a:cubicBezTo>
                    <a:cubicBezTo>
                      <a:pt x="12" y="35"/>
                      <a:pt x="17" y="47"/>
                      <a:pt x="23" y="54"/>
                    </a:cubicBezTo>
                    <a:cubicBezTo>
                      <a:pt x="36" y="73"/>
                      <a:pt x="46" y="121"/>
                      <a:pt x="53" y="145"/>
                    </a:cubicBezTo>
                    <a:cubicBezTo>
                      <a:pt x="58" y="165"/>
                      <a:pt x="57" y="213"/>
                      <a:pt x="57" y="231"/>
                    </a:cubicBezTo>
                    <a:cubicBezTo>
                      <a:pt x="57" y="236"/>
                      <a:pt x="57" y="238"/>
                      <a:pt x="57" y="238"/>
                    </a:cubicBezTo>
                    <a:cubicBezTo>
                      <a:pt x="56" y="238"/>
                      <a:pt x="56" y="238"/>
                      <a:pt x="56" y="238"/>
                    </a:cubicBezTo>
                    <a:cubicBezTo>
                      <a:pt x="61" y="250"/>
                      <a:pt x="68" y="266"/>
                      <a:pt x="71" y="287"/>
                    </a:cubicBezTo>
                    <a:cubicBezTo>
                      <a:pt x="71" y="295"/>
                      <a:pt x="71" y="301"/>
                      <a:pt x="70" y="306"/>
                    </a:cubicBezTo>
                    <a:cubicBezTo>
                      <a:pt x="68" y="311"/>
                      <a:pt x="66" y="315"/>
                      <a:pt x="62" y="320"/>
                    </a:cubicBezTo>
                    <a:cubicBezTo>
                      <a:pt x="56" y="330"/>
                      <a:pt x="46" y="343"/>
                      <a:pt x="37" y="374"/>
                    </a:cubicBezTo>
                    <a:cubicBezTo>
                      <a:pt x="19" y="435"/>
                      <a:pt x="38" y="454"/>
                      <a:pt x="41" y="468"/>
                    </a:cubicBezTo>
                    <a:cubicBezTo>
                      <a:pt x="44" y="482"/>
                      <a:pt x="44" y="475"/>
                      <a:pt x="31" y="489"/>
                    </a:cubicBezTo>
                    <a:cubicBezTo>
                      <a:pt x="19" y="502"/>
                      <a:pt x="20" y="494"/>
                      <a:pt x="20" y="505"/>
                    </a:cubicBezTo>
                    <a:cubicBezTo>
                      <a:pt x="20" y="507"/>
                      <a:pt x="20" y="509"/>
                      <a:pt x="20" y="511"/>
                    </a:cubicBezTo>
                    <a:cubicBezTo>
                      <a:pt x="24" y="507"/>
                      <a:pt x="30" y="511"/>
                      <a:pt x="32" y="523"/>
                    </a:cubicBezTo>
                    <a:cubicBezTo>
                      <a:pt x="32" y="526"/>
                      <a:pt x="32" y="529"/>
                      <a:pt x="31" y="531"/>
                    </a:cubicBezTo>
                    <a:cubicBezTo>
                      <a:pt x="33" y="531"/>
                      <a:pt x="35" y="531"/>
                      <a:pt x="35" y="531"/>
                    </a:cubicBezTo>
                    <a:cubicBezTo>
                      <a:pt x="41" y="526"/>
                      <a:pt x="48" y="520"/>
                      <a:pt x="54" y="515"/>
                    </a:cubicBezTo>
                    <a:cubicBezTo>
                      <a:pt x="59" y="509"/>
                      <a:pt x="65" y="504"/>
                      <a:pt x="70" y="499"/>
                    </a:cubicBezTo>
                    <a:cubicBezTo>
                      <a:pt x="120" y="445"/>
                      <a:pt x="128" y="400"/>
                      <a:pt x="128" y="400"/>
                    </a:cubicBezTo>
                    <a:cubicBezTo>
                      <a:pt x="130" y="392"/>
                      <a:pt x="126" y="386"/>
                      <a:pt x="123" y="383"/>
                    </a:cubicBezTo>
                    <a:close/>
                  </a:path>
                </a:pathLst>
              </a:custGeom>
              <a:solidFill>
                <a:srgbClr val="DDDDDD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BFE3C60D-064B-4C98-BC81-D08C74CA66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5301" y="641351"/>
                <a:ext cx="2703513" cy="2070100"/>
              </a:xfrm>
              <a:custGeom>
                <a:avLst/>
                <a:gdLst>
                  <a:gd name="T0" fmla="*/ 716 w 721"/>
                  <a:gd name="T1" fmla="*/ 324 h 552"/>
                  <a:gd name="T2" fmla="*/ 686 w 721"/>
                  <a:gd name="T3" fmla="*/ 233 h 552"/>
                  <a:gd name="T4" fmla="*/ 669 w 721"/>
                  <a:gd name="T5" fmla="*/ 201 h 552"/>
                  <a:gd name="T6" fmla="*/ 663 w 721"/>
                  <a:gd name="T7" fmla="*/ 187 h 552"/>
                  <a:gd name="T8" fmla="*/ 649 w 721"/>
                  <a:gd name="T9" fmla="*/ 163 h 552"/>
                  <a:gd name="T10" fmla="*/ 633 w 721"/>
                  <a:gd name="T11" fmla="*/ 127 h 552"/>
                  <a:gd name="T12" fmla="*/ 513 w 721"/>
                  <a:gd name="T13" fmla="*/ 42 h 552"/>
                  <a:gd name="T14" fmla="*/ 428 w 721"/>
                  <a:gd name="T15" fmla="*/ 7 h 552"/>
                  <a:gd name="T16" fmla="*/ 387 w 721"/>
                  <a:gd name="T17" fmla="*/ 1 h 552"/>
                  <a:gd name="T18" fmla="*/ 356 w 721"/>
                  <a:gd name="T19" fmla="*/ 3 h 552"/>
                  <a:gd name="T20" fmla="*/ 267 w 721"/>
                  <a:gd name="T21" fmla="*/ 17 h 552"/>
                  <a:gd name="T22" fmla="*/ 128 w 721"/>
                  <a:gd name="T23" fmla="*/ 98 h 552"/>
                  <a:gd name="T24" fmla="*/ 68 w 721"/>
                  <a:gd name="T25" fmla="*/ 179 h 552"/>
                  <a:gd name="T26" fmla="*/ 30 w 721"/>
                  <a:gd name="T27" fmla="*/ 272 h 552"/>
                  <a:gd name="T28" fmla="*/ 45 w 721"/>
                  <a:gd name="T29" fmla="*/ 266 h 552"/>
                  <a:gd name="T30" fmla="*/ 31 w 721"/>
                  <a:gd name="T31" fmla="*/ 302 h 552"/>
                  <a:gd name="T32" fmla="*/ 13 w 721"/>
                  <a:gd name="T33" fmla="*/ 448 h 552"/>
                  <a:gd name="T34" fmla="*/ 24 w 721"/>
                  <a:gd name="T35" fmla="*/ 385 h 552"/>
                  <a:gd name="T36" fmla="*/ 35 w 721"/>
                  <a:gd name="T37" fmla="*/ 471 h 552"/>
                  <a:gd name="T38" fmla="*/ 76 w 721"/>
                  <a:gd name="T39" fmla="*/ 552 h 552"/>
                  <a:gd name="T40" fmla="*/ 80 w 721"/>
                  <a:gd name="T41" fmla="*/ 537 h 552"/>
                  <a:gd name="T42" fmla="*/ 88 w 721"/>
                  <a:gd name="T43" fmla="*/ 454 h 552"/>
                  <a:gd name="T44" fmla="*/ 85 w 721"/>
                  <a:gd name="T45" fmla="*/ 333 h 552"/>
                  <a:gd name="T46" fmla="*/ 169 w 721"/>
                  <a:gd name="T47" fmla="*/ 219 h 552"/>
                  <a:gd name="T48" fmla="*/ 335 w 721"/>
                  <a:gd name="T49" fmla="*/ 185 h 552"/>
                  <a:gd name="T50" fmla="*/ 471 w 721"/>
                  <a:gd name="T51" fmla="*/ 198 h 552"/>
                  <a:gd name="T52" fmla="*/ 564 w 721"/>
                  <a:gd name="T53" fmla="*/ 277 h 552"/>
                  <a:gd name="T54" fmla="*/ 604 w 721"/>
                  <a:gd name="T55" fmla="*/ 394 h 552"/>
                  <a:gd name="T56" fmla="*/ 636 w 721"/>
                  <a:gd name="T57" fmla="*/ 470 h 552"/>
                  <a:gd name="T58" fmla="*/ 650 w 721"/>
                  <a:gd name="T59" fmla="*/ 529 h 552"/>
                  <a:gd name="T60" fmla="*/ 652 w 721"/>
                  <a:gd name="T61" fmla="*/ 536 h 552"/>
                  <a:gd name="T62" fmla="*/ 651 w 721"/>
                  <a:gd name="T63" fmla="*/ 540 h 552"/>
                  <a:gd name="T64" fmla="*/ 664 w 721"/>
                  <a:gd name="T65" fmla="*/ 515 h 552"/>
                  <a:gd name="T66" fmla="*/ 675 w 721"/>
                  <a:gd name="T67" fmla="*/ 475 h 552"/>
                  <a:gd name="T68" fmla="*/ 677 w 721"/>
                  <a:gd name="T69" fmla="*/ 469 h 552"/>
                  <a:gd name="T70" fmla="*/ 681 w 721"/>
                  <a:gd name="T71" fmla="*/ 458 h 552"/>
                  <a:gd name="T72" fmla="*/ 706 w 721"/>
                  <a:gd name="T73" fmla="*/ 416 h 552"/>
                  <a:gd name="T74" fmla="*/ 719 w 721"/>
                  <a:gd name="T75" fmla="*/ 417 h 552"/>
                  <a:gd name="T76" fmla="*/ 720 w 721"/>
                  <a:gd name="T77" fmla="*/ 417 h 552"/>
                  <a:gd name="T78" fmla="*/ 720 w 721"/>
                  <a:gd name="T79" fmla="*/ 410 h 552"/>
                  <a:gd name="T80" fmla="*/ 716 w 721"/>
                  <a:gd name="T81" fmla="*/ 324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1" h="552">
                    <a:moveTo>
                      <a:pt x="716" y="324"/>
                    </a:moveTo>
                    <a:cubicBezTo>
                      <a:pt x="709" y="300"/>
                      <a:pt x="699" y="252"/>
                      <a:pt x="686" y="233"/>
                    </a:cubicBezTo>
                    <a:cubicBezTo>
                      <a:pt x="680" y="226"/>
                      <a:pt x="675" y="214"/>
                      <a:pt x="669" y="201"/>
                    </a:cubicBezTo>
                    <a:cubicBezTo>
                      <a:pt x="667" y="197"/>
                      <a:pt x="665" y="192"/>
                      <a:pt x="663" y="187"/>
                    </a:cubicBezTo>
                    <a:cubicBezTo>
                      <a:pt x="659" y="179"/>
                      <a:pt x="654" y="171"/>
                      <a:pt x="649" y="163"/>
                    </a:cubicBezTo>
                    <a:cubicBezTo>
                      <a:pt x="648" y="149"/>
                      <a:pt x="633" y="127"/>
                      <a:pt x="633" y="127"/>
                    </a:cubicBezTo>
                    <a:cubicBezTo>
                      <a:pt x="575" y="63"/>
                      <a:pt x="535" y="49"/>
                      <a:pt x="513" y="42"/>
                    </a:cubicBezTo>
                    <a:cubicBezTo>
                      <a:pt x="491" y="35"/>
                      <a:pt x="428" y="7"/>
                      <a:pt x="428" y="7"/>
                    </a:cubicBezTo>
                    <a:cubicBezTo>
                      <a:pt x="421" y="0"/>
                      <a:pt x="400" y="1"/>
                      <a:pt x="387" y="1"/>
                    </a:cubicBezTo>
                    <a:cubicBezTo>
                      <a:pt x="374" y="1"/>
                      <a:pt x="356" y="3"/>
                      <a:pt x="356" y="3"/>
                    </a:cubicBezTo>
                    <a:cubicBezTo>
                      <a:pt x="356" y="3"/>
                      <a:pt x="285" y="7"/>
                      <a:pt x="267" y="17"/>
                    </a:cubicBezTo>
                    <a:cubicBezTo>
                      <a:pt x="249" y="27"/>
                      <a:pt x="135" y="91"/>
                      <a:pt x="128" y="98"/>
                    </a:cubicBezTo>
                    <a:cubicBezTo>
                      <a:pt x="88" y="136"/>
                      <a:pt x="99" y="134"/>
                      <a:pt x="68" y="179"/>
                    </a:cubicBezTo>
                    <a:cubicBezTo>
                      <a:pt x="45" y="211"/>
                      <a:pt x="33" y="265"/>
                      <a:pt x="30" y="272"/>
                    </a:cubicBezTo>
                    <a:cubicBezTo>
                      <a:pt x="27" y="279"/>
                      <a:pt x="45" y="266"/>
                      <a:pt x="45" y="266"/>
                    </a:cubicBezTo>
                    <a:cubicBezTo>
                      <a:pt x="45" y="266"/>
                      <a:pt x="33" y="291"/>
                      <a:pt x="31" y="302"/>
                    </a:cubicBezTo>
                    <a:cubicBezTo>
                      <a:pt x="31" y="302"/>
                      <a:pt x="0" y="385"/>
                      <a:pt x="13" y="448"/>
                    </a:cubicBezTo>
                    <a:cubicBezTo>
                      <a:pt x="26" y="511"/>
                      <a:pt x="14" y="403"/>
                      <a:pt x="24" y="385"/>
                    </a:cubicBezTo>
                    <a:cubicBezTo>
                      <a:pt x="34" y="367"/>
                      <a:pt x="23" y="429"/>
                      <a:pt x="35" y="471"/>
                    </a:cubicBezTo>
                    <a:cubicBezTo>
                      <a:pt x="43" y="501"/>
                      <a:pt x="59" y="533"/>
                      <a:pt x="76" y="552"/>
                    </a:cubicBezTo>
                    <a:cubicBezTo>
                      <a:pt x="78" y="548"/>
                      <a:pt x="79" y="543"/>
                      <a:pt x="80" y="537"/>
                    </a:cubicBezTo>
                    <a:cubicBezTo>
                      <a:pt x="81" y="522"/>
                      <a:pt x="84" y="475"/>
                      <a:pt x="88" y="454"/>
                    </a:cubicBezTo>
                    <a:cubicBezTo>
                      <a:pt x="92" y="433"/>
                      <a:pt x="87" y="394"/>
                      <a:pt x="85" y="333"/>
                    </a:cubicBezTo>
                    <a:cubicBezTo>
                      <a:pt x="84" y="271"/>
                      <a:pt x="152" y="233"/>
                      <a:pt x="169" y="219"/>
                    </a:cubicBezTo>
                    <a:cubicBezTo>
                      <a:pt x="187" y="206"/>
                      <a:pt x="261" y="194"/>
                      <a:pt x="335" y="185"/>
                    </a:cubicBezTo>
                    <a:cubicBezTo>
                      <a:pt x="408" y="175"/>
                      <a:pt x="431" y="190"/>
                      <a:pt x="471" y="198"/>
                    </a:cubicBezTo>
                    <a:cubicBezTo>
                      <a:pt x="511" y="206"/>
                      <a:pt x="539" y="262"/>
                      <a:pt x="564" y="277"/>
                    </a:cubicBezTo>
                    <a:cubicBezTo>
                      <a:pt x="589" y="291"/>
                      <a:pt x="587" y="349"/>
                      <a:pt x="604" y="394"/>
                    </a:cubicBezTo>
                    <a:cubicBezTo>
                      <a:pt x="621" y="439"/>
                      <a:pt x="627" y="434"/>
                      <a:pt x="636" y="470"/>
                    </a:cubicBezTo>
                    <a:cubicBezTo>
                      <a:pt x="642" y="495"/>
                      <a:pt x="648" y="518"/>
                      <a:pt x="650" y="529"/>
                    </a:cubicBezTo>
                    <a:cubicBezTo>
                      <a:pt x="651" y="534"/>
                      <a:pt x="652" y="536"/>
                      <a:pt x="652" y="536"/>
                    </a:cubicBezTo>
                    <a:cubicBezTo>
                      <a:pt x="651" y="537"/>
                      <a:pt x="651" y="538"/>
                      <a:pt x="651" y="540"/>
                    </a:cubicBezTo>
                    <a:cubicBezTo>
                      <a:pt x="656" y="537"/>
                      <a:pt x="661" y="530"/>
                      <a:pt x="664" y="515"/>
                    </a:cubicBezTo>
                    <a:cubicBezTo>
                      <a:pt x="667" y="497"/>
                      <a:pt x="672" y="484"/>
                      <a:pt x="675" y="475"/>
                    </a:cubicBezTo>
                    <a:cubicBezTo>
                      <a:pt x="676" y="473"/>
                      <a:pt x="676" y="471"/>
                      <a:pt x="677" y="469"/>
                    </a:cubicBezTo>
                    <a:cubicBezTo>
                      <a:pt x="679" y="464"/>
                      <a:pt x="680" y="461"/>
                      <a:pt x="681" y="458"/>
                    </a:cubicBezTo>
                    <a:cubicBezTo>
                      <a:pt x="682" y="450"/>
                      <a:pt x="686" y="422"/>
                      <a:pt x="706" y="416"/>
                    </a:cubicBezTo>
                    <a:cubicBezTo>
                      <a:pt x="719" y="417"/>
                      <a:pt x="719" y="417"/>
                      <a:pt x="719" y="417"/>
                    </a:cubicBezTo>
                    <a:cubicBezTo>
                      <a:pt x="720" y="417"/>
                      <a:pt x="720" y="417"/>
                      <a:pt x="720" y="417"/>
                    </a:cubicBezTo>
                    <a:cubicBezTo>
                      <a:pt x="720" y="417"/>
                      <a:pt x="720" y="415"/>
                      <a:pt x="720" y="410"/>
                    </a:cubicBezTo>
                    <a:cubicBezTo>
                      <a:pt x="720" y="392"/>
                      <a:pt x="721" y="344"/>
                      <a:pt x="716" y="324"/>
                    </a:cubicBezTo>
                    <a:close/>
                  </a:path>
                </a:pathLst>
              </a:custGeom>
              <a:solidFill>
                <a:srgbClr val="42210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38EE22AE-3CC6-44EE-B522-01A56322E6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925" y="5097585"/>
                <a:ext cx="2426442" cy="1181273"/>
              </a:xfrm>
              <a:custGeom>
                <a:avLst/>
                <a:gdLst>
                  <a:gd name="T0" fmla="*/ 515 w 567"/>
                  <a:gd name="T1" fmla="*/ 36 h 297"/>
                  <a:gd name="T2" fmla="*/ 435 w 567"/>
                  <a:gd name="T3" fmla="*/ 28 h 297"/>
                  <a:gd name="T4" fmla="*/ 434 w 567"/>
                  <a:gd name="T5" fmla="*/ 25 h 297"/>
                  <a:gd name="T6" fmla="*/ 430 w 567"/>
                  <a:gd name="T7" fmla="*/ 25 h 297"/>
                  <a:gd name="T8" fmla="*/ 1 w 567"/>
                  <a:gd name="T9" fmla="*/ 0 h 297"/>
                  <a:gd name="T10" fmla="*/ 0 w 567"/>
                  <a:gd name="T11" fmla="*/ 297 h 297"/>
                  <a:gd name="T12" fmla="*/ 555 w 567"/>
                  <a:gd name="T13" fmla="*/ 297 h 297"/>
                  <a:gd name="T14" fmla="*/ 567 w 567"/>
                  <a:gd name="T15" fmla="*/ 296 h 297"/>
                  <a:gd name="T16" fmla="*/ 541 w 567"/>
                  <a:gd name="T17" fmla="*/ 104 h 297"/>
                  <a:gd name="T18" fmla="*/ 515 w 567"/>
                  <a:gd name="T19" fmla="*/ 36 h 297"/>
                  <a:gd name="connsiteX0" fmla="*/ 9083 w 10000"/>
                  <a:gd name="connsiteY0" fmla="*/ 1290 h 10078"/>
                  <a:gd name="connsiteX1" fmla="*/ 7672 w 10000"/>
                  <a:gd name="connsiteY1" fmla="*/ 1021 h 10078"/>
                  <a:gd name="connsiteX2" fmla="*/ 7654 w 10000"/>
                  <a:gd name="connsiteY2" fmla="*/ 920 h 10078"/>
                  <a:gd name="connsiteX3" fmla="*/ 7584 w 10000"/>
                  <a:gd name="connsiteY3" fmla="*/ 920 h 10078"/>
                  <a:gd name="connsiteX4" fmla="*/ 18 w 10000"/>
                  <a:gd name="connsiteY4" fmla="*/ 78 h 10078"/>
                  <a:gd name="connsiteX5" fmla="*/ 74 w 10000"/>
                  <a:gd name="connsiteY5" fmla="*/ 0 h 10078"/>
                  <a:gd name="connsiteX6" fmla="*/ 0 w 10000"/>
                  <a:gd name="connsiteY6" fmla="*/ 10078 h 10078"/>
                  <a:gd name="connsiteX7" fmla="*/ 9788 w 10000"/>
                  <a:gd name="connsiteY7" fmla="*/ 10078 h 10078"/>
                  <a:gd name="connsiteX8" fmla="*/ 10000 w 10000"/>
                  <a:gd name="connsiteY8" fmla="*/ 10044 h 10078"/>
                  <a:gd name="connsiteX9" fmla="*/ 9541 w 10000"/>
                  <a:gd name="connsiteY9" fmla="*/ 3580 h 10078"/>
                  <a:gd name="connsiteX10" fmla="*/ 9083 w 10000"/>
                  <a:gd name="connsiteY10" fmla="*/ 1290 h 10078"/>
                  <a:gd name="connsiteX0" fmla="*/ 9985 w 10902"/>
                  <a:gd name="connsiteY0" fmla="*/ 1251 h 10773"/>
                  <a:gd name="connsiteX1" fmla="*/ 8574 w 10902"/>
                  <a:gd name="connsiteY1" fmla="*/ 982 h 10773"/>
                  <a:gd name="connsiteX2" fmla="*/ 8556 w 10902"/>
                  <a:gd name="connsiteY2" fmla="*/ 881 h 10773"/>
                  <a:gd name="connsiteX3" fmla="*/ 8486 w 10902"/>
                  <a:gd name="connsiteY3" fmla="*/ 881 h 10773"/>
                  <a:gd name="connsiteX4" fmla="*/ 920 w 10902"/>
                  <a:gd name="connsiteY4" fmla="*/ 39 h 10773"/>
                  <a:gd name="connsiteX5" fmla="*/ 454 w 10902"/>
                  <a:gd name="connsiteY5" fmla="*/ 120 h 10773"/>
                  <a:gd name="connsiteX6" fmla="*/ 902 w 10902"/>
                  <a:gd name="connsiteY6" fmla="*/ 10039 h 10773"/>
                  <a:gd name="connsiteX7" fmla="*/ 10690 w 10902"/>
                  <a:gd name="connsiteY7" fmla="*/ 10039 h 10773"/>
                  <a:gd name="connsiteX8" fmla="*/ 10902 w 10902"/>
                  <a:gd name="connsiteY8" fmla="*/ 10005 h 10773"/>
                  <a:gd name="connsiteX9" fmla="*/ 10443 w 10902"/>
                  <a:gd name="connsiteY9" fmla="*/ 3541 h 10773"/>
                  <a:gd name="connsiteX10" fmla="*/ 9985 w 10902"/>
                  <a:gd name="connsiteY10" fmla="*/ 1251 h 10773"/>
                  <a:gd name="connsiteX0" fmla="*/ 9948 w 10865"/>
                  <a:gd name="connsiteY0" fmla="*/ 1251 h 10078"/>
                  <a:gd name="connsiteX1" fmla="*/ 8537 w 10865"/>
                  <a:gd name="connsiteY1" fmla="*/ 982 h 10078"/>
                  <a:gd name="connsiteX2" fmla="*/ 8519 w 10865"/>
                  <a:gd name="connsiteY2" fmla="*/ 881 h 10078"/>
                  <a:gd name="connsiteX3" fmla="*/ 8449 w 10865"/>
                  <a:gd name="connsiteY3" fmla="*/ 881 h 10078"/>
                  <a:gd name="connsiteX4" fmla="*/ 883 w 10865"/>
                  <a:gd name="connsiteY4" fmla="*/ 39 h 10078"/>
                  <a:gd name="connsiteX5" fmla="*/ 417 w 10865"/>
                  <a:gd name="connsiteY5" fmla="*/ 120 h 10078"/>
                  <a:gd name="connsiteX6" fmla="*/ 865 w 10865"/>
                  <a:gd name="connsiteY6" fmla="*/ 10039 h 10078"/>
                  <a:gd name="connsiteX7" fmla="*/ 10653 w 10865"/>
                  <a:gd name="connsiteY7" fmla="*/ 10039 h 10078"/>
                  <a:gd name="connsiteX8" fmla="*/ 10865 w 10865"/>
                  <a:gd name="connsiteY8" fmla="*/ 10005 h 10078"/>
                  <a:gd name="connsiteX9" fmla="*/ 10406 w 10865"/>
                  <a:gd name="connsiteY9" fmla="*/ 3541 h 10078"/>
                  <a:gd name="connsiteX10" fmla="*/ 9948 w 10865"/>
                  <a:gd name="connsiteY10" fmla="*/ 1251 h 10078"/>
                  <a:gd name="connsiteX0" fmla="*/ 9993 w 10910"/>
                  <a:gd name="connsiteY0" fmla="*/ 1591 h 11086"/>
                  <a:gd name="connsiteX1" fmla="*/ 8582 w 10910"/>
                  <a:gd name="connsiteY1" fmla="*/ 1322 h 11086"/>
                  <a:gd name="connsiteX2" fmla="*/ 8564 w 10910"/>
                  <a:gd name="connsiteY2" fmla="*/ 1221 h 11086"/>
                  <a:gd name="connsiteX3" fmla="*/ 8494 w 10910"/>
                  <a:gd name="connsiteY3" fmla="*/ 1221 h 11086"/>
                  <a:gd name="connsiteX4" fmla="*/ 928 w 10910"/>
                  <a:gd name="connsiteY4" fmla="*/ 379 h 11086"/>
                  <a:gd name="connsiteX5" fmla="*/ 462 w 10910"/>
                  <a:gd name="connsiteY5" fmla="*/ 460 h 11086"/>
                  <a:gd name="connsiteX6" fmla="*/ 375 w 10910"/>
                  <a:gd name="connsiteY6" fmla="*/ 831 h 11086"/>
                  <a:gd name="connsiteX7" fmla="*/ 910 w 10910"/>
                  <a:gd name="connsiteY7" fmla="*/ 10379 h 11086"/>
                  <a:gd name="connsiteX8" fmla="*/ 10698 w 10910"/>
                  <a:gd name="connsiteY8" fmla="*/ 10379 h 11086"/>
                  <a:gd name="connsiteX9" fmla="*/ 10910 w 10910"/>
                  <a:gd name="connsiteY9" fmla="*/ 10345 h 11086"/>
                  <a:gd name="connsiteX10" fmla="*/ 10451 w 10910"/>
                  <a:gd name="connsiteY10" fmla="*/ 3881 h 11086"/>
                  <a:gd name="connsiteX11" fmla="*/ 9993 w 10910"/>
                  <a:gd name="connsiteY11" fmla="*/ 1591 h 11086"/>
                  <a:gd name="connsiteX0" fmla="*/ 10386 w 11303"/>
                  <a:gd name="connsiteY0" fmla="*/ 1281 h 10776"/>
                  <a:gd name="connsiteX1" fmla="*/ 8975 w 11303"/>
                  <a:gd name="connsiteY1" fmla="*/ 1012 h 10776"/>
                  <a:gd name="connsiteX2" fmla="*/ 8957 w 11303"/>
                  <a:gd name="connsiteY2" fmla="*/ 911 h 10776"/>
                  <a:gd name="connsiteX3" fmla="*/ 8887 w 11303"/>
                  <a:gd name="connsiteY3" fmla="*/ 911 h 10776"/>
                  <a:gd name="connsiteX4" fmla="*/ 1321 w 11303"/>
                  <a:gd name="connsiteY4" fmla="*/ 69 h 10776"/>
                  <a:gd name="connsiteX5" fmla="*/ 13 w 11303"/>
                  <a:gd name="connsiteY5" fmla="*/ 1636 h 10776"/>
                  <a:gd name="connsiteX6" fmla="*/ 768 w 11303"/>
                  <a:gd name="connsiteY6" fmla="*/ 521 h 10776"/>
                  <a:gd name="connsiteX7" fmla="*/ 1303 w 11303"/>
                  <a:gd name="connsiteY7" fmla="*/ 10069 h 10776"/>
                  <a:gd name="connsiteX8" fmla="*/ 11091 w 11303"/>
                  <a:gd name="connsiteY8" fmla="*/ 10069 h 10776"/>
                  <a:gd name="connsiteX9" fmla="*/ 11303 w 11303"/>
                  <a:gd name="connsiteY9" fmla="*/ 10035 h 10776"/>
                  <a:gd name="connsiteX10" fmla="*/ 10844 w 11303"/>
                  <a:gd name="connsiteY10" fmla="*/ 3571 h 10776"/>
                  <a:gd name="connsiteX11" fmla="*/ 10386 w 11303"/>
                  <a:gd name="connsiteY11" fmla="*/ 1281 h 10776"/>
                  <a:gd name="connsiteX0" fmla="*/ 10452 w 11369"/>
                  <a:gd name="connsiteY0" fmla="*/ 1227 h 10639"/>
                  <a:gd name="connsiteX1" fmla="*/ 9041 w 11369"/>
                  <a:gd name="connsiteY1" fmla="*/ 958 h 10639"/>
                  <a:gd name="connsiteX2" fmla="*/ 9023 w 11369"/>
                  <a:gd name="connsiteY2" fmla="*/ 857 h 10639"/>
                  <a:gd name="connsiteX3" fmla="*/ 8953 w 11369"/>
                  <a:gd name="connsiteY3" fmla="*/ 857 h 10639"/>
                  <a:gd name="connsiteX4" fmla="*/ 1387 w 11369"/>
                  <a:gd name="connsiteY4" fmla="*/ 15 h 10639"/>
                  <a:gd name="connsiteX5" fmla="*/ 79 w 11369"/>
                  <a:gd name="connsiteY5" fmla="*/ 1582 h 10639"/>
                  <a:gd name="connsiteX6" fmla="*/ 1369 w 11369"/>
                  <a:gd name="connsiteY6" fmla="*/ 10015 h 10639"/>
                  <a:gd name="connsiteX7" fmla="*/ 11157 w 11369"/>
                  <a:gd name="connsiteY7" fmla="*/ 10015 h 10639"/>
                  <a:gd name="connsiteX8" fmla="*/ 11369 w 11369"/>
                  <a:gd name="connsiteY8" fmla="*/ 9981 h 10639"/>
                  <a:gd name="connsiteX9" fmla="*/ 10910 w 11369"/>
                  <a:gd name="connsiteY9" fmla="*/ 3517 h 10639"/>
                  <a:gd name="connsiteX10" fmla="*/ 10452 w 11369"/>
                  <a:gd name="connsiteY10" fmla="*/ 1227 h 10639"/>
                  <a:gd name="connsiteX0" fmla="*/ 10131 w 11048"/>
                  <a:gd name="connsiteY0" fmla="*/ 1364 h 10584"/>
                  <a:gd name="connsiteX1" fmla="*/ 8720 w 11048"/>
                  <a:gd name="connsiteY1" fmla="*/ 1095 h 10584"/>
                  <a:gd name="connsiteX2" fmla="*/ 8702 w 11048"/>
                  <a:gd name="connsiteY2" fmla="*/ 994 h 10584"/>
                  <a:gd name="connsiteX3" fmla="*/ 8632 w 11048"/>
                  <a:gd name="connsiteY3" fmla="*/ 994 h 10584"/>
                  <a:gd name="connsiteX4" fmla="*/ 1066 w 11048"/>
                  <a:gd name="connsiteY4" fmla="*/ 152 h 10584"/>
                  <a:gd name="connsiteX5" fmla="*/ 280 w 11048"/>
                  <a:gd name="connsiteY5" fmla="*/ 4319 h 10584"/>
                  <a:gd name="connsiteX6" fmla="*/ 1048 w 11048"/>
                  <a:gd name="connsiteY6" fmla="*/ 10152 h 10584"/>
                  <a:gd name="connsiteX7" fmla="*/ 10836 w 11048"/>
                  <a:gd name="connsiteY7" fmla="*/ 10152 h 10584"/>
                  <a:gd name="connsiteX8" fmla="*/ 11048 w 11048"/>
                  <a:gd name="connsiteY8" fmla="*/ 10118 h 10584"/>
                  <a:gd name="connsiteX9" fmla="*/ 10589 w 11048"/>
                  <a:gd name="connsiteY9" fmla="*/ 3654 h 10584"/>
                  <a:gd name="connsiteX10" fmla="*/ 10131 w 11048"/>
                  <a:gd name="connsiteY10" fmla="*/ 1364 h 10584"/>
                  <a:gd name="connsiteX0" fmla="*/ 10182 w 11099"/>
                  <a:gd name="connsiteY0" fmla="*/ 1364 h 10584"/>
                  <a:gd name="connsiteX1" fmla="*/ 8771 w 11099"/>
                  <a:gd name="connsiteY1" fmla="*/ 1095 h 10584"/>
                  <a:gd name="connsiteX2" fmla="*/ 8753 w 11099"/>
                  <a:gd name="connsiteY2" fmla="*/ 994 h 10584"/>
                  <a:gd name="connsiteX3" fmla="*/ 8683 w 11099"/>
                  <a:gd name="connsiteY3" fmla="*/ 994 h 10584"/>
                  <a:gd name="connsiteX4" fmla="*/ 1117 w 11099"/>
                  <a:gd name="connsiteY4" fmla="*/ 152 h 10584"/>
                  <a:gd name="connsiteX5" fmla="*/ 331 w 11099"/>
                  <a:gd name="connsiteY5" fmla="*/ 4319 h 10584"/>
                  <a:gd name="connsiteX6" fmla="*/ 1099 w 11099"/>
                  <a:gd name="connsiteY6" fmla="*/ 10152 h 10584"/>
                  <a:gd name="connsiteX7" fmla="*/ 10887 w 11099"/>
                  <a:gd name="connsiteY7" fmla="*/ 10152 h 10584"/>
                  <a:gd name="connsiteX8" fmla="*/ 11099 w 11099"/>
                  <a:gd name="connsiteY8" fmla="*/ 10118 h 10584"/>
                  <a:gd name="connsiteX9" fmla="*/ 10640 w 11099"/>
                  <a:gd name="connsiteY9" fmla="*/ 3654 h 10584"/>
                  <a:gd name="connsiteX10" fmla="*/ 10182 w 11099"/>
                  <a:gd name="connsiteY10" fmla="*/ 1364 h 10584"/>
                  <a:gd name="connsiteX0" fmla="*/ 10037 w 10954"/>
                  <a:gd name="connsiteY0" fmla="*/ 1419 h 10576"/>
                  <a:gd name="connsiteX1" fmla="*/ 8626 w 10954"/>
                  <a:gd name="connsiteY1" fmla="*/ 1150 h 10576"/>
                  <a:gd name="connsiteX2" fmla="*/ 8608 w 10954"/>
                  <a:gd name="connsiteY2" fmla="*/ 1049 h 10576"/>
                  <a:gd name="connsiteX3" fmla="*/ 8538 w 10954"/>
                  <a:gd name="connsiteY3" fmla="*/ 1049 h 10576"/>
                  <a:gd name="connsiteX4" fmla="*/ 972 w 10954"/>
                  <a:gd name="connsiteY4" fmla="*/ 207 h 10576"/>
                  <a:gd name="connsiteX5" fmla="*/ 476 w 10954"/>
                  <a:gd name="connsiteY5" fmla="*/ 5223 h 10576"/>
                  <a:gd name="connsiteX6" fmla="*/ 954 w 10954"/>
                  <a:gd name="connsiteY6" fmla="*/ 10207 h 10576"/>
                  <a:gd name="connsiteX7" fmla="*/ 10742 w 10954"/>
                  <a:gd name="connsiteY7" fmla="*/ 10207 h 10576"/>
                  <a:gd name="connsiteX8" fmla="*/ 10954 w 10954"/>
                  <a:gd name="connsiteY8" fmla="*/ 10173 h 10576"/>
                  <a:gd name="connsiteX9" fmla="*/ 10495 w 10954"/>
                  <a:gd name="connsiteY9" fmla="*/ 3709 h 10576"/>
                  <a:gd name="connsiteX10" fmla="*/ 10037 w 10954"/>
                  <a:gd name="connsiteY10" fmla="*/ 1419 h 10576"/>
                  <a:gd name="connsiteX0" fmla="*/ 10037 w 10954"/>
                  <a:gd name="connsiteY0" fmla="*/ 1213 h 10370"/>
                  <a:gd name="connsiteX1" fmla="*/ 8626 w 10954"/>
                  <a:gd name="connsiteY1" fmla="*/ 944 h 10370"/>
                  <a:gd name="connsiteX2" fmla="*/ 8608 w 10954"/>
                  <a:gd name="connsiteY2" fmla="*/ 843 h 10370"/>
                  <a:gd name="connsiteX3" fmla="*/ 8538 w 10954"/>
                  <a:gd name="connsiteY3" fmla="*/ 843 h 10370"/>
                  <a:gd name="connsiteX4" fmla="*/ 972 w 10954"/>
                  <a:gd name="connsiteY4" fmla="*/ 1 h 10370"/>
                  <a:gd name="connsiteX5" fmla="*/ 476 w 10954"/>
                  <a:gd name="connsiteY5" fmla="*/ 5017 h 10370"/>
                  <a:gd name="connsiteX6" fmla="*/ 954 w 10954"/>
                  <a:gd name="connsiteY6" fmla="*/ 10001 h 10370"/>
                  <a:gd name="connsiteX7" fmla="*/ 10742 w 10954"/>
                  <a:gd name="connsiteY7" fmla="*/ 10001 h 10370"/>
                  <a:gd name="connsiteX8" fmla="*/ 10954 w 10954"/>
                  <a:gd name="connsiteY8" fmla="*/ 9967 h 10370"/>
                  <a:gd name="connsiteX9" fmla="*/ 10495 w 10954"/>
                  <a:gd name="connsiteY9" fmla="*/ 3503 h 10370"/>
                  <a:gd name="connsiteX10" fmla="*/ 10037 w 10954"/>
                  <a:gd name="connsiteY10" fmla="*/ 1213 h 10370"/>
                  <a:gd name="connsiteX0" fmla="*/ 10024 w 10941"/>
                  <a:gd name="connsiteY0" fmla="*/ 1213 h 10018"/>
                  <a:gd name="connsiteX1" fmla="*/ 8613 w 10941"/>
                  <a:gd name="connsiteY1" fmla="*/ 944 h 10018"/>
                  <a:gd name="connsiteX2" fmla="*/ 8595 w 10941"/>
                  <a:gd name="connsiteY2" fmla="*/ 843 h 10018"/>
                  <a:gd name="connsiteX3" fmla="*/ 8525 w 10941"/>
                  <a:gd name="connsiteY3" fmla="*/ 843 h 10018"/>
                  <a:gd name="connsiteX4" fmla="*/ 959 w 10941"/>
                  <a:gd name="connsiteY4" fmla="*/ 1 h 10018"/>
                  <a:gd name="connsiteX5" fmla="*/ 463 w 10941"/>
                  <a:gd name="connsiteY5" fmla="*/ 5017 h 10018"/>
                  <a:gd name="connsiteX6" fmla="*/ 941 w 10941"/>
                  <a:gd name="connsiteY6" fmla="*/ 10001 h 10018"/>
                  <a:gd name="connsiteX7" fmla="*/ 10729 w 10941"/>
                  <a:gd name="connsiteY7" fmla="*/ 10001 h 10018"/>
                  <a:gd name="connsiteX8" fmla="*/ 10941 w 10941"/>
                  <a:gd name="connsiteY8" fmla="*/ 9967 h 10018"/>
                  <a:gd name="connsiteX9" fmla="*/ 10482 w 10941"/>
                  <a:gd name="connsiteY9" fmla="*/ 3503 h 10018"/>
                  <a:gd name="connsiteX10" fmla="*/ 10024 w 10941"/>
                  <a:gd name="connsiteY10" fmla="*/ 1213 h 10018"/>
                  <a:gd name="connsiteX0" fmla="*/ 10337 w 11254"/>
                  <a:gd name="connsiteY0" fmla="*/ 1415 h 10576"/>
                  <a:gd name="connsiteX1" fmla="*/ 8926 w 11254"/>
                  <a:gd name="connsiteY1" fmla="*/ 1146 h 10576"/>
                  <a:gd name="connsiteX2" fmla="*/ 8908 w 11254"/>
                  <a:gd name="connsiteY2" fmla="*/ 1045 h 10576"/>
                  <a:gd name="connsiteX3" fmla="*/ 8838 w 11254"/>
                  <a:gd name="connsiteY3" fmla="*/ 1045 h 10576"/>
                  <a:gd name="connsiteX4" fmla="*/ 1272 w 11254"/>
                  <a:gd name="connsiteY4" fmla="*/ 203 h 10576"/>
                  <a:gd name="connsiteX5" fmla="*/ 225 w 11254"/>
                  <a:gd name="connsiteY5" fmla="*/ 5166 h 10576"/>
                  <a:gd name="connsiteX6" fmla="*/ 1254 w 11254"/>
                  <a:gd name="connsiteY6" fmla="*/ 10203 h 10576"/>
                  <a:gd name="connsiteX7" fmla="*/ 11042 w 11254"/>
                  <a:gd name="connsiteY7" fmla="*/ 10203 h 10576"/>
                  <a:gd name="connsiteX8" fmla="*/ 11254 w 11254"/>
                  <a:gd name="connsiteY8" fmla="*/ 10169 h 10576"/>
                  <a:gd name="connsiteX9" fmla="*/ 10795 w 11254"/>
                  <a:gd name="connsiteY9" fmla="*/ 3705 h 10576"/>
                  <a:gd name="connsiteX10" fmla="*/ 10337 w 11254"/>
                  <a:gd name="connsiteY10" fmla="*/ 1415 h 10576"/>
                  <a:gd name="connsiteX0" fmla="*/ 10249 w 11166"/>
                  <a:gd name="connsiteY0" fmla="*/ 1433 h 10574"/>
                  <a:gd name="connsiteX1" fmla="*/ 8838 w 11166"/>
                  <a:gd name="connsiteY1" fmla="*/ 1164 h 10574"/>
                  <a:gd name="connsiteX2" fmla="*/ 8820 w 11166"/>
                  <a:gd name="connsiteY2" fmla="*/ 1063 h 10574"/>
                  <a:gd name="connsiteX3" fmla="*/ 8750 w 11166"/>
                  <a:gd name="connsiteY3" fmla="*/ 1063 h 10574"/>
                  <a:gd name="connsiteX4" fmla="*/ 1184 w 11166"/>
                  <a:gd name="connsiteY4" fmla="*/ 221 h 10574"/>
                  <a:gd name="connsiteX5" fmla="*/ 282 w 11166"/>
                  <a:gd name="connsiteY5" fmla="*/ 5449 h 10574"/>
                  <a:gd name="connsiteX6" fmla="*/ 1166 w 11166"/>
                  <a:gd name="connsiteY6" fmla="*/ 10221 h 10574"/>
                  <a:gd name="connsiteX7" fmla="*/ 10954 w 11166"/>
                  <a:gd name="connsiteY7" fmla="*/ 10221 h 10574"/>
                  <a:gd name="connsiteX8" fmla="*/ 11166 w 11166"/>
                  <a:gd name="connsiteY8" fmla="*/ 10187 h 10574"/>
                  <a:gd name="connsiteX9" fmla="*/ 10707 w 11166"/>
                  <a:gd name="connsiteY9" fmla="*/ 3723 h 10574"/>
                  <a:gd name="connsiteX10" fmla="*/ 10249 w 11166"/>
                  <a:gd name="connsiteY10" fmla="*/ 1433 h 10574"/>
                  <a:gd name="connsiteX0" fmla="*/ 10516 w 11433"/>
                  <a:gd name="connsiteY0" fmla="*/ 1537 h 10564"/>
                  <a:gd name="connsiteX1" fmla="*/ 9105 w 11433"/>
                  <a:gd name="connsiteY1" fmla="*/ 1268 h 10564"/>
                  <a:gd name="connsiteX2" fmla="*/ 9087 w 11433"/>
                  <a:gd name="connsiteY2" fmla="*/ 1167 h 10564"/>
                  <a:gd name="connsiteX3" fmla="*/ 9017 w 11433"/>
                  <a:gd name="connsiteY3" fmla="*/ 1167 h 10564"/>
                  <a:gd name="connsiteX4" fmla="*/ 1451 w 11433"/>
                  <a:gd name="connsiteY4" fmla="*/ 325 h 10564"/>
                  <a:gd name="connsiteX5" fmla="*/ 143 w 11433"/>
                  <a:gd name="connsiteY5" fmla="*/ 7092 h 10564"/>
                  <a:gd name="connsiteX6" fmla="*/ 1433 w 11433"/>
                  <a:gd name="connsiteY6" fmla="*/ 10325 h 10564"/>
                  <a:gd name="connsiteX7" fmla="*/ 11221 w 11433"/>
                  <a:gd name="connsiteY7" fmla="*/ 10325 h 10564"/>
                  <a:gd name="connsiteX8" fmla="*/ 11433 w 11433"/>
                  <a:gd name="connsiteY8" fmla="*/ 10291 h 10564"/>
                  <a:gd name="connsiteX9" fmla="*/ 10974 w 11433"/>
                  <a:gd name="connsiteY9" fmla="*/ 3827 h 10564"/>
                  <a:gd name="connsiteX10" fmla="*/ 10516 w 11433"/>
                  <a:gd name="connsiteY10" fmla="*/ 1537 h 10564"/>
                  <a:gd name="connsiteX0" fmla="*/ 10512 w 11429"/>
                  <a:gd name="connsiteY0" fmla="*/ 1537 h 10350"/>
                  <a:gd name="connsiteX1" fmla="*/ 9101 w 11429"/>
                  <a:gd name="connsiteY1" fmla="*/ 1268 h 10350"/>
                  <a:gd name="connsiteX2" fmla="*/ 9083 w 11429"/>
                  <a:gd name="connsiteY2" fmla="*/ 1167 h 10350"/>
                  <a:gd name="connsiteX3" fmla="*/ 9013 w 11429"/>
                  <a:gd name="connsiteY3" fmla="*/ 1167 h 10350"/>
                  <a:gd name="connsiteX4" fmla="*/ 1447 w 11429"/>
                  <a:gd name="connsiteY4" fmla="*/ 325 h 10350"/>
                  <a:gd name="connsiteX5" fmla="*/ 139 w 11429"/>
                  <a:gd name="connsiteY5" fmla="*/ 7092 h 10350"/>
                  <a:gd name="connsiteX6" fmla="*/ 197 w 11429"/>
                  <a:gd name="connsiteY6" fmla="*/ 10010 h 10350"/>
                  <a:gd name="connsiteX7" fmla="*/ 1429 w 11429"/>
                  <a:gd name="connsiteY7" fmla="*/ 10325 h 10350"/>
                  <a:gd name="connsiteX8" fmla="*/ 11217 w 11429"/>
                  <a:gd name="connsiteY8" fmla="*/ 10325 h 10350"/>
                  <a:gd name="connsiteX9" fmla="*/ 11429 w 11429"/>
                  <a:gd name="connsiteY9" fmla="*/ 10291 h 10350"/>
                  <a:gd name="connsiteX10" fmla="*/ 10970 w 11429"/>
                  <a:gd name="connsiteY10" fmla="*/ 3827 h 10350"/>
                  <a:gd name="connsiteX11" fmla="*/ 10512 w 11429"/>
                  <a:gd name="connsiteY11" fmla="*/ 1537 h 10350"/>
                  <a:gd name="connsiteX0" fmla="*/ 10469 w 11386"/>
                  <a:gd name="connsiteY0" fmla="*/ 1537 h 10350"/>
                  <a:gd name="connsiteX1" fmla="*/ 9058 w 11386"/>
                  <a:gd name="connsiteY1" fmla="*/ 1268 h 10350"/>
                  <a:gd name="connsiteX2" fmla="*/ 9040 w 11386"/>
                  <a:gd name="connsiteY2" fmla="*/ 1167 h 10350"/>
                  <a:gd name="connsiteX3" fmla="*/ 8970 w 11386"/>
                  <a:gd name="connsiteY3" fmla="*/ 1167 h 10350"/>
                  <a:gd name="connsiteX4" fmla="*/ 1404 w 11386"/>
                  <a:gd name="connsiteY4" fmla="*/ 325 h 10350"/>
                  <a:gd name="connsiteX5" fmla="*/ 96 w 11386"/>
                  <a:gd name="connsiteY5" fmla="*/ 7092 h 10350"/>
                  <a:gd name="connsiteX6" fmla="*/ 299 w 11386"/>
                  <a:gd name="connsiteY6" fmla="*/ 10010 h 10350"/>
                  <a:gd name="connsiteX7" fmla="*/ 1386 w 11386"/>
                  <a:gd name="connsiteY7" fmla="*/ 10325 h 10350"/>
                  <a:gd name="connsiteX8" fmla="*/ 11174 w 11386"/>
                  <a:gd name="connsiteY8" fmla="*/ 10325 h 10350"/>
                  <a:gd name="connsiteX9" fmla="*/ 11386 w 11386"/>
                  <a:gd name="connsiteY9" fmla="*/ 10291 h 10350"/>
                  <a:gd name="connsiteX10" fmla="*/ 10927 w 11386"/>
                  <a:gd name="connsiteY10" fmla="*/ 3827 h 10350"/>
                  <a:gd name="connsiteX11" fmla="*/ 10469 w 11386"/>
                  <a:gd name="connsiteY11" fmla="*/ 1537 h 10350"/>
                  <a:gd name="connsiteX0" fmla="*/ 10380 w 11297"/>
                  <a:gd name="connsiteY0" fmla="*/ 1388 h 10201"/>
                  <a:gd name="connsiteX1" fmla="*/ 8969 w 11297"/>
                  <a:gd name="connsiteY1" fmla="*/ 1119 h 10201"/>
                  <a:gd name="connsiteX2" fmla="*/ 8951 w 11297"/>
                  <a:gd name="connsiteY2" fmla="*/ 1018 h 10201"/>
                  <a:gd name="connsiteX3" fmla="*/ 8881 w 11297"/>
                  <a:gd name="connsiteY3" fmla="*/ 1018 h 10201"/>
                  <a:gd name="connsiteX4" fmla="*/ 1315 w 11297"/>
                  <a:gd name="connsiteY4" fmla="*/ 176 h 10201"/>
                  <a:gd name="connsiteX5" fmla="*/ 239 w 11297"/>
                  <a:gd name="connsiteY5" fmla="*/ 4714 h 10201"/>
                  <a:gd name="connsiteX6" fmla="*/ 7 w 11297"/>
                  <a:gd name="connsiteY6" fmla="*/ 6943 h 10201"/>
                  <a:gd name="connsiteX7" fmla="*/ 210 w 11297"/>
                  <a:gd name="connsiteY7" fmla="*/ 9861 h 10201"/>
                  <a:gd name="connsiteX8" fmla="*/ 1297 w 11297"/>
                  <a:gd name="connsiteY8" fmla="*/ 10176 h 10201"/>
                  <a:gd name="connsiteX9" fmla="*/ 11085 w 11297"/>
                  <a:gd name="connsiteY9" fmla="*/ 10176 h 10201"/>
                  <a:gd name="connsiteX10" fmla="*/ 11297 w 11297"/>
                  <a:gd name="connsiteY10" fmla="*/ 10142 h 10201"/>
                  <a:gd name="connsiteX11" fmla="*/ 10838 w 11297"/>
                  <a:gd name="connsiteY11" fmla="*/ 3678 h 10201"/>
                  <a:gd name="connsiteX12" fmla="*/ 10380 w 11297"/>
                  <a:gd name="connsiteY12" fmla="*/ 1388 h 10201"/>
                  <a:gd name="connsiteX0" fmla="*/ 10374 w 11291"/>
                  <a:gd name="connsiteY0" fmla="*/ 1425 h 10238"/>
                  <a:gd name="connsiteX1" fmla="*/ 8963 w 11291"/>
                  <a:gd name="connsiteY1" fmla="*/ 1156 h 10238"/>
                  <a:gd name="connsiteX2" fmla="*/ 8945 w 11291"/>
                  <a:gd name="connsiteY2" fmla="*/ 1055 h 10238"/>
                  <a:gd name="connsiteX3" fmla="*/ 8875 w 11291"/>
                  <a:gd name="connsiteY3" fmla="*/ 1055 h 10238"/>
                  <a:gd name="connsiteX4" fmla="*/ 1309 w 11291"/>
                  <a:gd name="connsiteY4" fmla="*/ 213 h 10238"/>
                  <a:gd name="connsiteX5" fmla="*/ 1713 w 11291"/>
                  <a:gd name="connsiteY5" fmla="*/ 5335 h 10238"/>
                  <a:gd name="connsiteX6" fmla="*/ 1 w 11291"/>
                  <a:gd name="connsiteY6" fmla="*/ 6980 h 10238"/>
                  <a:gd name="connsiteX7" fmla="*/ 204 w 11291"/>
                  <a:gd name="connsiteY7" fmla="*/ 9898 h 10238"/>
                  <a:gd name="connsiteX8" fmla="*/ 1291 w 11291"/>
                  <a:gd name="connsiteY8" fmla="*/ 10213 h 10238"/>
                  <a:gd name="connsiteX9" fmla="*/ 11079 w 11291"/>
                  <a:gd name="connsiteY9" fmla="*/ 10213 h 10238"/>
                  <a:gd name="connsiteX10" fmla="*/ 11291 w 11291"/>
                  <a:gd name="connsiteY10" fmla="*/ 10179 h 10238"/>
                  <a:gd name="connsiteX11" fmla="*/ 10832 w 11291"/>
                  <a:gd name="connsiteY11" fmla="*/ 3715 h 10238"/>
                  <a:gd name="connsiteX12" fmla="*/ 10374 w 11291"/>
                  <a:gd name="connsiteY12" fmla="*/ 1425 h 10238"/>
                  <a:gd name="connsiteX0" fmla="*/ 10227 w 11144"/>
                  <a:gd name="connsiteY0" fmla="*/ 1425 h 10238"/>
                  <a:gd name="connsiteX1" fmla="*/ 8816 w 11144"/>
                  <a:gd name="connsiteY1" fmla="*/ 1156 h 10238"/>
                  <a:gd name="connsiteX2" fmla="*/ 8798 w 11144"/>
                  <a:gd name="connsiteY2" fmla="*/ 1055 h 10238"/>
                  <a:gd name="connsiteX3" fmla="*/ 8728 w 11144"/>
                  <a:gd name="connsiteY3" fmla="*/ 1055 h 10238"/>
                  <a:gd name="connsiteX4" fmla="*/ 1162 w 11144"/>
                  <a:gd name="connsiteY4" fmla="*/ 213 h 10238"/>
                  <a:gd name="connsiteX5" fmla="*/ 1566 w 11144"/>
                  <a:gd name="connsiteY5" fmla="*/ 5335 h 10238"/>
                  <a:gd name="connsiteX6" fmla="*/ 1537 w 11144"/>
                  <a:gd name="connsiteY6" fmla="*/ 7776 h 10238"/>
                  <a:gd name="connsiteX7" fmla="*/ 57 w 11144"/>
                  <a:gd name="connsiteY7" fmla="*/ 9898 h 10238"/>
                  <a:gd name="connsiteX8" fmla="*/ 1144 w 11144"/>
                  <a:gd name="connsiteY8" fmla="*/ 10213 h 10238"/>
                  <a:gd name="connsiteX9" fmla="*/ 10932 w 11144"/>
                  <a:gd name="connsiteY9" fmla="*/ 10213 h 10238"/>
                  <a:gd name="connsiteX10" fmla="*/ 11144 w 11144"/>
                  <a:gd name="connsiteY10" fmla="*/ 10179 h 10238"/>
                  <a:gd name="connsiteX11" fmla="*/ 10685 w 11144"/>
                  <a:gd name="connsiteY11" fmla="*/ 3715 h 10238"/>
                  <a:gd name="connsiteX12" fmla="*/ 10227 w 11144"/>
                  <a:gd name="connsiteY12" fmla="*/ 1425 h 10238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266 h 10079"/>
                  <a:gd name="connsiteX1" fmla="*/ 8816 w 11144"/>
                  <a:gd name="connsiteY1" fmla="*/ 997 h 10079"/>
                  <a:gd name="connsiteX2" fmla="*/ 8798 w 11144"/>
                  <a:gd name="connsiteY2" fmla="*/ 896 h 10079"/>
                  <a:gd name="connsiteX3" fmla="*/ 8728 w 11144"/>
                  <a:gd name="connsiteY3" fmla="*/ 896 h 10079"/>
                  <a:gd name="connsiteX4" fmla="*/ 1162 w 11144"/>
                  <a:gd name="connsiteY4" fmla="*/ 54 h 10079"/>
                  <a:gd name="connsiteX5" fmla="*/ 319 w 11144"/>
                  <a:gd name="connsiteY5" fmla="*/ 1090 h 10079"/>
                  <a:gd name="connsiteX6" fmla="*/ 1537 w 11144"/>
                  <a:gd name="connsiteY6" fmla="*/ 7617 h 10079"/>
                  <a:gd name="connsiteX7" fmla="*/ 57 w 11144"/>
                  <a:gd name="connsiteY7" fmla="*/ 9739 h 10079"/>
                  <a:gd name="connsiteX8" fmla="*/ 1144 w 11144"/>
                  <a:gd name="connsiteY8" fmla="*/ 10054 h 10079"/>
                  <a:gd name="connsiteX9" fmla="*/ 10932 w 11144"/>
                  <a:gd name="connsiteY9" fmla="*/ 10054 h 10079"/>
                  <a:gd name="connsiteX10" fmla="*/ 11144 w 11144"/>
                  <a:gd name="connsiteY10" fmla="*/ 10020 h 10079"/>
                  <a:gd name="connsiteX11" fmla="*/ 10685 w 11144"/>
                  <a:gd name="connsiteY11" fmla="*/ 3556 h 10079"/>
                  <a:gd name="connsiteX12" fmla="*/ 10227 w 11144"/>
                  <a:gd name="connsiteY12" fmla="*/ 1266 h 10079"/>
                  <a:gd name="connsiteX0" fmla="*/ 10227 w 11144"/>
                  <a:gd name="connsiteY0" fmla="*/ 1246 h 10059"/>
                  <a:gd name="connsiteX1" fmla="*/ 8816 w 11144"/>
                  <a:gd name="connsiteY1" fmla="*/ 977 h 10059"/>
                  <a:gd name="connsiteX2" fmla="*/ 8798 w 11144"/>
                  <a:gd name="connsiteY2" fmla="*/ 876 h 10059"/>
                  <a:gd name="connsiteX3" fmla="*/ 8728 w 11144"/>
                  <a:gd name="connsiteY3" fmla="*/ 876 h 10059"/>
                  <a:gd name="connsiteX4" fmla="*/ 1162 w 11144"/>
                  <a:gd name="connsiteY4" fmla="*/ 34 h 10059"/>
                  <a:gd name="connsiteX5" fmla="*/ 290 w 11144"/>
                  <a:gd name="connsiteY5" fmla="*/ 1123 h 10059"/>
                  <a:gd name="connsiteX6" fmla="*/ 1537 w 11144"/>
                  <a:gd name="connsiteY6" fmla="*/ 7597 h 10059"/>
                  <a:gd name="connsiteX7" fmla="*/ 57 w 11144"/>
                  <a:gd name="connsiteY7" fmla="*/ 9719 h 10059"/>
                  <a:gd name="connsiteX8" fmla="*/ 1144 w 11144"/>
                  <a:gd name="connsiteY8" fmla="*/ 10034 h 10059"/>
                  <a:gd name="connsiteX9" fmla="*/ 10932 w 11144"/>
                  <a:gd name="connsiteY9" fmla="*/ 10034 h 10059"/>
                  <a:gd name="connsiteX10" fmla="*/ 11144 w 11144"/>
                  <a:gd name="connsiteY10" fmla="*/ 10000 h 10059"/>
                  <a:gd name="connsiteX11" fmla="*/ 10685 w 11144"/>
                  <a:gd name="connsiteY11" fmla="*/ 3536 h 10059"/>
                  <a:gd name="connsiteX12" fmla="*/ 10227 w 11144"/>
                  <a:gd name="connsiteY12" fmla="*/ 1246 h 10059"/>
                  <a:gd name="connsiteX0" fmla="*/ 10227 w 11144"/>
                  <a:gd name="connsiteY0" fmla="*/ 1246 h 10059"/>
                  <a:gd name="connsiteX1" fmla="*/ 8816 w 11144"/>
                  <a:gd name="connsiteY1" fmla="*/ 977 h 10059"/>
                  <a:gd name="connsiteX2" fmla="*/ 8798 w 11144"/>
                  <a:gd name="connsiteY2" fmla="*/ 876 h 10059"/>
                  <a:gd name="connsiteX3" fmla="*/ 8728 w 11144"/>
                  <a:gd name="connsiteY3" fmla="*/ 876 h 10059"/>
                  <a:gd name="connsiteX4" fmla="*/ 1162 w 11144"/>
                  <a:gd name="connsiteY4" fmla="*/ 34 h 10059"/>
                  <a:gd name="connsiteX5" fmla="*/ 290 w 11144"/>
                  <a:gd name="connsiteY5" fmla="*/ 1123 h 10059"/>
                  <a:gd name="connsiteX6" fmla="*/ 1537 w 11144"/>
                  <a:gd name="connsiteY6" fmla="*/ 7597 h 10059"/>
                  <a:gd name="connsiteX7" fmla="*/ 57 w 11144"/>
                  <a:gd name="connsiteY7" fmla="*/ 9719 h 10059"/>
                  <a:gd name="connsiteX8" fmla="*/ 1144 w 11144"/>
                  <a:gd name="connsiteY8" fmla="*/ 10034 h 10059"/>
                  <a:gd name="connsiteX9" fmla="*/ 10932 w 11144"/>
                  <a:gd name="connsiteY9" fmla="*/ 10034 h 10059"/>
                  <a:gd name="connsiteX10" fmla="*/ 11144 w 11144"/>
                  <a:gd name="connsiteY10" fmla="*/ 10000 h 10059"/>
                  <a:gd name="connsiteX11" fmla="*/ 10685 w 11144"/>
                  <a:gd name="connsiteY11" fmla="*/ 3536 h 10059"/>
                  <a:gd name="connsiteX12" fmla="*/ 10227 w 11144"/>
                  <a:gd name="connsiteY12" fmla="*/ 1246 h 10059"/>
                  <a:gd name="connsiteX0" fmla="*/ 10227 w 11144"/>
                  <a:gd name="connsiteY0" fmla="*/ 1268 h 10081"/>
                  <a:gd name="connsiteX1" fmla="*/ 8816 w 11144"/>
                  <a:gd name="connsiteY1" fmla="*/ 999 h 10081"/>
                  <a:gd name="connsiteX2" fmla="*/ 8798 w 11144"/>
                  <a:gd name="connsiteY2" fmla="*/ 898 h 10081"/>
                  <a:gd name="connsiteX3" fmla="*/ 8728 w 11144"/>
                  <a:gd name="connsiteY3" fmla="*/ 898 h 10081"/>
                  <a:gd name="connsiteX4" fmla="*/ 1162 w 11144"/>
                  <a:gd name="connsiteY4" fmla="*/ 56 h 10081"/>
                  <a:gd name="connsiteX5" fmla="*/ 290 w 11144"/>
                  <a:gd name="connsiteY5" fmla="*/ 1145 h 10081"/>
                  <a:gd name="connsiteX6" fmla="*/ 1537 w 11144"/>
                  <a:gd name="connsiteY6" fmla="*/ 7619 h 10081"/>
                  <a:gd name="connsiteX7" fmla="*/ 57 w 11144"/>
                  <a:gd name="connsiteY7" fmla="*/ 9741 h 10081"/>
                  <a:gd name="connsiteX8" fmla="*/ 1144 w 11144"/>
                  <a:gd name="connsiteY8" fmla="*/ 10056 h 10081"/>
                  <a:gd name="connsiteX9" fmla="*/ 10932 w 11144"/>
                  <a:gd name="connsiteY9" fmla="*/ 10056 h 10081"/>
                  <a:gd name="connsiteX10" fmla="*/ 11144 w 11144"/>
                  <a:gd name="connsiteY10" fmla="*/ 10022 h 10081"/>
                  <a:gd name="connsiteX11" fmla="*/ 10685 w 11144"/>
                  <a:gd name="connsiteY11" fmla="*/ 3558 h 10081"/>
                  <a:gd name="connsiteX12" fmla="*/ 10227 w 11144"/>
                  <a:gd name="connsiteY12" fmla="*/ 1268 h 10081"/>
                  <a:gd name="connsiteX0" fmla="*/ 10227 w 11144"/>
                  <a:gd name="connsiteY0" fmla="*/ 1268 h 10081"/>
                  <a:gd name="connsiteX1" fmla="*/ 8816 w 11144"/>
                  <a:gd name="connsiteY1" fmla="*/ 999 h 10081"/>
                  <a:gd name="connsiteX2" fmla="*/ 8798 w 11144"/>
                  <a:gd name="connsiteY2" fmla="*/ 898 h 10081"/>
                  <a:gd name="connsiteX3" fmla="*/ 8728 w 11144"/>
                  <a:gd name="connsiteY3" fmla="*/ 898 h 10081"/>
                  <a:gd name="connsiteX4" fmla="*/ 1162 w 11144"/>
                  <a:gd name="connsiteY4" fmla="*/ 56 h 10081"/>
                  <a:gd name="connsiteX5" fmla="*/ 290 w 11144"/>
                  <a:gd name="connsiteY5" fmla="*/ 1145 h 10081"/>
                  <a:gd name="connsiteX6" fmla="*/ 608 w 11144"/>
                  <a:gd name="connsiteY6" fmla="*/ 7301 h 10081"/>
                  <a:gd name="connsiteX7" fmla="*/ 57 w 11144"/>
                  <a:gd name="connsiteY7" fmla="*/ 9741 h 10081"/>
                  <a:gd name="connsiteX8" fmla="*/ 1144 w 11144"/>
                  <a:gd name="connsiteY8" fmla="*/ 10056 h 10081"/>
                  <a:gd name="connsiteX9" fmla="*/ 10932 w 11144"/>
                  <a:gd name="connsiteY9" fmla="*/ 10056 h 10081"/>
                  <a:gd name="connsiteX10" fmla="*/ 11144 w 11144"/>
                  <a:gd name="connsiteY10" fmla="*/ 10022 h 10081"/>
                  <a:gd name="connsiteX11" fmla="*/ 10685 w 11144"/>
                  <a:gd name="connsiteY11" fmla="*/ 3558 h 10081"/>
                  <a:gd name="connsiteX12" fmla="*/ 10227 w 11144"/>
                  <a:gd name="connsiteY12" fmla="*/ 1268 h 10081"/>
                  <a:gd name="connsiteX0" fmla="*/ 9975 w 10892"/>
                  <a:gd name="connsiteY0" fmla="*/ 1268 h 10260"/>
                  <a:gd name="connsiteX1" fmla="*/ 8564 w 10892"/>
                  <a:gd name="connsiteY1" fmla="*/ 999 h 10260"/>
                  <a:gd name="connsiteX2" fmla="*/ 8546 w 10892"/>
                  <a:gd name="connsiteY2" fmla="*/ 898 h 10260"/>
                  <a:gd name="connsiteX3" fmla="*/ 8476 w 10892"/>
                  <a:gd name="connsiteY3" fmla="*/ 898 h 10260"/>
                  <a:gd name="connsiteX4" fmla="*/ 910 w 10892"/>
                  <a:gd name="connsiteY4" fmla="*/ 56 h 10260"/>
                  <a:gd name="connsiteX5" fmla="*/ 38 w 10892"/>
                  <a:gd name="connsiteY5" fmla="*/ 1145 h 10260"/>
                  <a:gd name="connsiteX6" fmla="*/ 356 w 10892"/>
                  <a:gd name="connsiteY6" fmla="*/ 7301 h 10260"/>
                  <a:gd name="connsiteX7" fmla="*/ 892 w 10892"/>
                  <a:gd name="connsiteY7" fmla="*/ 10056 h 10260"/>
                  <a:gd name="connsiteX8" fmla="*/ 10680 w 10892"/>
                  <a:gd name="connsiteY8" fmla="*/ 10056 h 10260"/>
                  <a:gd name="connsiteX9" fmla="*/ 10892 w 10892"/>
                  <a:gd name="connsiteY9" fmla="*/ 10022 h 10260"/>
                  <a:gd name="connsiteX10" fmla="*/ 10433 w 10892"/>
                  <a:gd name="connsiteY10" fmla="*/ 3558 h 10260"/>
                  <a:gd name="connsiteX11" fmla="*/ 9975 w 10892"/>
                  <a:gd name="connsiteY11" fmla="*/ 1268 h 10260"/>
                  <a:gd name="connsiteX0" fmla="*/ 9962 w 10879"/>
                  <a:gd name="connsiteY0" fmla="*/ 1268 h 10072"/>
                  <a:gd name="connsiteX1" fmla="*/ 8551 w 10879"/>
                  <a:gd name="connsiteY1" fmla="*/ 999 h 10072"/>
                  <a:gd name="connsiteX2" fmla="*/ 8533 w 10879"/>
                  <a:gd name="connsiteY2" fmla="*/ 898 h 10072"/>
                  <a:gd name="connsiteX3" fmla="*/ 8463 w 10879"/>
                  <a:gd name="connsiteY3" fmla="*/ 898 h 10072"/>
                  <a:gd name="connsiteX4" fmla="*/ 897 w 10879"/>
                  <a:gd name="connsiteY4" fmla="*/ 56 h 10072"/>
                  <a:gd name="connsiteX5" fmla="*/ 25 w 10879"/>
                  <a:gd name="connsiteY5" fmla="*/ 1145 h 10072"/>
                  <a:gd name="connsiteX6" fmla="*/ 343 w 10879"/>
                  <a:gd name="connsiteY6" fmla="*/ 7301 h 10072"/>
                  <a:gd name="connsiteX7" fmla="*/ 879 w 10879"/>
                  <a:gd name="connsiteY7" fmla="*/ 10056 h 10072"/>
                  <a:gd name="connsiteX8" fmla="*/ 10667 w 10879"/>
                  <a:gd name="connsiteY8" fmla="*/ 10056 h 10072"/>
                  <a:gd name="connsiteX9" fmla="*/ 10879 w 10879"/>
                  <a:gd name="connsiteY9" fmla="*/ 10022 h 10072"/>
                  <a:gd name="connsiteX10" fmla="*/ 10420 w 10879"/>
                  <a:gd name="connsiteY10" fmla="*/ 3558 h 10072"/>
                  <a:gd name="connsiteX11" fmla="*/ 9962 w 10879"/>
                  <a:gd name="connsiteY11" fmla="*/ 1268 h 10072"/>
                  <a:gd name="connsiteX0" fmla="*/ 9962 w 11440"/>
                  <a:gd name="connsiteY0" fmla="*/ 1268 h 10377"/>
                  <a:gd name="connsiteX1" fmla="*/ 8551 w 11440"/>
                  <a:gd name="connsiteY1" fmla="*/ 999 h 10377"/>
                  <a:gd name="connsiteX2" fmla="*/ 8533 w 11440"/>
                  <a:gd name="connsiteY2" fmla="*/ 898 h 10377"/>
                  <a:gd name="connsiteX3" fmla="*/ 8463 w 11440"/>
                  <a:gd name="connsiteY3" fmla="*/ 898 h 10377"/>
                  <a:gd name="connsiteX4" fmla="*/ 897 w 11440"/>
                  <a:gd name="connsiteY4" fmla="*/ 56 h 10377"/>
                  <a:gd name="connsiteX5" fmla="*/ 25 w 11440"/>
                  <a:gd name="connsiteY5" fmla="*/ 1145 h 10377"/>
                  <a:gd name="connsiteX6" fmla="*/ 343 w 11440"/>
                  <a:gd name="connsiteY6" fmla="*/ 7301 h 10377"/>
                  <a:gd name="connsiteX7" fmla="*/ 879 w 11440"/>
                  <a:gd name="connsiteY7" fmla="*/ 10374 h 10377"/>
                  <a:gd name="connsiteX8" fmla="*/ 10667 w 11440"/>
                  <a:gd name="connsiteY8" fmla="*/ 10056 h 10377"/>
                  <a:gd name="connsiteX9" fmla="*/ 10879 w 11440"/>
                  <a:gd name="connsiteY9" fmla="*/ 10022 h 10377"/>
                  <a:gd name="connsiteX10" fmla="*/ 10420 w 11440"/>
                  <a:gd name="connsiteY10" fmla="*/ 3558 h 10377"/>
                  <a:gd name="connsiteX11" fmla="*/ 9962 w 11440"/>
                  <a:gd name="connsiteY11" fmla="*/ 1268 h 10377"/>
                  <a:gd name="connsiteX0" fmla="*/ 10005 w 11483"/>
                  <a:gd name="connsiteY0" fmla="*/ 1268 h 10377"/>
                  <a:gd name="connsiteX1" fmla="*/ 8594 w 11483"/>
                  <a:gd name="connsiteY1" fmla="*/ 999 h 10377"/>
                  <a:gd name="connsiteX2" fmla="*/ 8576 w 11483"/>
                  <a:gd name="connsiteY2" fmla="*/ 898 h 10377"/>
                  <a:gd name="connsiteX3" fmla="*/ 8506 w 11483"/>
                  <a:gd name="connsiteY3" fmla="*/ 898 h 10377"/>
                  <a:gd name="connsiteX4" fmla="*/ 940 w 11483"/>
                  <a:gd name="connsiteY4" fmla="*/ 56 h 10377"/>
                  <a:gd name="connsiteX5" fmla="*/ 68 w 11483"/>
                  <a:gd name="connsiteY5" fmla="*/ 1145 h 10377"/>
                  <a:gd name="connsiteX6" fmla="*/ 386 w 11483"/>
                  <a:gd name="connsiteY6" fmla="*/ 7301 h 10377"/>
                  <a:gd name="connsiteX7" fmla="*/ 922 w 11483"/>
                  <a:gd name="connsiteY7" fmla="*/ 10374 h 10377"/>
                  <a:gd name="connsiteX8" fmla="*/ 10710 w 11483"/>
                  <a:gd name="connsiteY8" fmla="*/ 10056 h 10377"/>
                  <a:gd name="connsiteX9" fmla="*/ 10922 w 11483"/>
                  <a:gd name="connsiteY9" fmla="*/ 10022 h 10377"/>
                  <a:gd name="connsiteX10" fmla="*/ 10463 w 11483"/>
                  <a:gd name="connsiteY10" fmla="*/ 3558 h 10377"/>
                  <a:gd name="connsiteX11" fmla="*/ 10005 w 11483"/>
                  <a:gd name="connsiteY11" fmla="*/ 1268 h 10377"/>
                  <a:gd name="connsiteX0" fmla="*/ 10069 w 11547"/>
                  <a:gd name="connsiteY0" fmla="*/ 1268 h 10511"/>
                  <a:gd name="connsiteX1" fmla="*/ 8658 w 11547"/>
                  <a:gd name="connsiteY1" fmla="*/ 999 h 10511"/>
                  <a:gd name="connsiteX2" fmla="*/ 8640 w 11547"/>
                  <a:gd name="connsiteY2" fmla="*/ 898 h 10511"/>
                  <a:gd name="connsiteX3" fmla="*/ 8570 w 11547"/>
                  <a:gd name="connsiteY3" fmla="*/ 898 h 10511"/>
                  <a:gd name="connsiteX4" fmla="*/ 1004 w 11547"/>
                  <a:gd name="connsiteY4" fmla="*/ 56 h 10511"/>
                  <a:gd name="connsiteX5" fmla="*/ 132 w 11547"/>
                  <a:gd name="connsiteY5" fmla="*/ 1145 h 10511"/>
                  <a:gd name="connsiteX6" fmla="*/ 450 w 11547"/>
                  <a:gd name="connsiteY6" fmla="*/ 7301 h 10511"/>
                  <a:gd name="connsiteX7" fmla="*/ 276 w 11547"/>
                  <a:gd name="connsiteY7" fmla="*/ 7512 h 10511"/>
                  <a:gd name="connsiteX8" fmla="*/ 986 w 11547"/>
                  <a:gd name="connsiteY8" fmla="*/ 10374 h 10511"/>
                  <a:gd name="connsiteX9" fmla="*/ 10774 w 11547"/>
                  <a:gd name="connsiteY9" fmla="*/ 10056 h 10511"/>
                  <a:gd name="connsiteX10" fmla="*/ 10986 w 11547"/>
                  <a:gd name="connsiteY10" fmla="*/ 10022 h 10511"/>
                  <a:gd name="connsiteX11" fmla="*/ 10527 w 11547"/>
                  <a:gd name="connsiteY11" fmla="*/ 3558 h 10511"/>
                  <a:gd name="connsiteX12" fmla="*/ 10069 w 11547"/>
                  <a:gd name="connsiteY12" fmla="*/ 1268 h 10511"/>
                  <a:gd name="connsiteX0" fmla="*/ 9978 w 11456"/>
                  <a:gd name="connsiteY0" fmla="*/ 1268 h 10469"/>
                  <a:gd name="connsiteX1" fmla="*/ 8567 w 11456"/>
                  <a:gd name="connsiteY1" fmla="*/ 999 h 10469"/>
                  <a:gd name="connsiteX2" fmla="*/ 8549 w 11456"/>
                  <a:gd name="connsiteY2" fmla="*/ 898 h 10469"/>
                  <a:gd name="connsiteX3" fmla="*/ 8479 w 11456"/>
                  <a:gd name="connsiteY3" fmla="*/ 898 h 10469"/>
                  <a:gd name="connsiteX4" fmla="*/ 913 w 11456"/>
                  <a:gd name="connsiteY4" fmla="*/ 56 h 10469"/>
                  <a:gd name="connsiteX5" fmla="*/ 41 w 11456"/>
                  <a:gd name="connsiteY5" fmla="*/ 1145 h 10469"/>
                  <a:gd name="connsiteX6" fmla="*/ 359 w 11456"/>
                  <a:gd name="connsiteY6" fmla="*/ 7301 h 10469"/>
                  <a:gd name="connsiteX7" fmla="*/ 388 w 11456"/>
                  <a:gd name="connsiteY7" fmla="*/ 10165 h 10469"/>
                  <a:gd name="connsiteX8" fmla="*/ 895 w 11456"/>
                  <a:gd name="connsiteY8" fmla="*/ 10374 h 10469"/>
                  <a:gd name="connsiteX9" fmla="*/ 10683 w 11456"/>
                  <a:gd name="connsiteY9" fmla="*/ 10056 h 10469"/>
                  <a:gd name="connsiteX10" fmla="*/ 10895 w 11456"/>
                  <a:gd name="connsiteY10" fmla="*/ 10022 h 10469"/>
                  <a:gd name="connsiteX11" fmla="*/ 10436 w 11456"/>
                  <a:gd name="connsiteY11" fmla="*/ 3558 h 10469"/>
                  <a:gd name="connsiteX12" fmla="*/ 9978 w 11456"/>
                  <a:gd name="connsiteY12" fmla="*/ 1268 h 10469"/>
                  <a:gd name="connsiteX0" fmla="*/ 9937 w 11415"/>
                  <a:gd name="connsiteY0" fmla="*/ 1268 h 10615"/>
                  <a:gd name="connsiteX1" fmla="*/ 8526 w 11415"/>
                  <a:gd name="connsiteY1" fmla="*/ 999 h 10615"/>
                  <a:gd name="connsiteX2" fmla="*/ 8508 w 11415"/>
                  <a:gd name="connsiteY2" fmla="*/ 898 h 10615"/>
                  <a:gd name="connsiteX3" fmla="*/ 8438 w 11415"/>
                  <a:gd name="connsiteY3" fmla="*/ 898 h 10615"/>
                  <a:gd name="connsiteX4" fmla="*/ 872 w 11415"/>
                  <a:gd name="connsiteY4" fmla="*/ 56 h 10615"/>
                  <a:gd name="connsiteX5" fmla="*/ 0 w 11415"/>
                  <a:gd name="connsiteY5" fmla="*/ 1145 h 10615"/>
                  <a:gd name="connsiteX6" fmla="*/ 318 w 11415"/>
                  <a:gd name="connsiteY6" fmla="*/ 7301 h 10615"/>
                  <a:gd name="connsiteX7" fmla="*/ 463 w 11415"/>
                  <a:gd name="connsiteY7" fmla="*/ 10377 h 10615"/>
                  <a:gd name="connsiteX8" fmla="*/ 854 w 11415"/>
                  <a:gd name="connsiteY8" fmla="*/ 10374 h 10615"/>
                  <a:gd name="connsiteX9" fmla="*/ 10642 w 11415"/>
                  <a:gd name="connsiteY9" fmla="*/ 10056 h 10615"/>
                  <a:gd name="connsiteX10" fmla="*/ 10854 w 11415"/>
                  <a:gd name="connsiteY10" fmla="*/ 10022 h 10615"/>
                  <a:gd name="connsiteX11" fmla="*/ 10395 w 11415"/>
                  <a:gd name="connsiteY11" fmla="*/ 3558 h 10615"/>
                  <a:gd name="connsiteX12" fmla="*/ 9937 w 11415"/>
                  <a:gd name="connsiteY12" fmla="*/ 1268 h 10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15" h="10615">
                    <a:moveTo>
                      <a:pt x="9937" y="1268"/>
                    </a:moveTo>
                    <a:cubicBezTo>
                      <a:pt x="9725" y="1100"/>
                      <a:pt x="8526" y="999"/>
                      <a:pt x="8526" y="999"/>
                    </a:cubicBezTo>
                    <a:cubicBezTo>
                      <a:pt x="8520" y="965"/>
                      <a:pt x="8514" y="932"/>
                      <a:pt x="8508" y="898"/>
                    </a:cubicBezTo>
                    <a:lnTo>
                      <a:pt x="8438" y="898"/>
                    </a:lnTo>
                    <a:cubicBezTo>
                      <a:pt x="5916" y="617"/>
                      <a:pt x="2278" y="91"/>
                      <a:pt x="872" y="56"/>
                    </a:cubicBezTo>
                    <a:cubicBezTo>
                      <a:pt x="395" y="44"/>
                      <a:pt x="15" y="-354"/>
                      <a:pt x="0" y="1145"/>
                    </a:cubicBezTo>
                    <a:cubicBezTo>
                      <a:pt x="101" y="2856"/>
                      <a:pt x="176" y="5816"/>
                      <a:pt x="318" y="7301"/>
                    </a:cubicBezTo>
                    <a:cubicBezTo>
                      <a:pt x="361" y="8362"/>
                      <a:pt x="374" y="9865"/>
                      <a:pt x="463" y="10377"/>
                    </a:cubicBezTo>
                    <a:cubicBezTo>
                      <a:pt x="552" y="10889"/>
                      <a:pt x="-842" y="10427"/>
                      <a:pt x="854" y="10374"/>
                    </a:cubicBezTo>
                    <a:lnTo>
                      <a:pt x="10642" y="10056"/>
                    </a:lnTo>
                    <a:cubicBezTo>
                      <a:pt x="12309" y="9997"/>
                      <a:pt x="10748" y="10056"/>
                      <a:pt x="10854" y="10022"/>
                    </a:cubicBezTo>
                    <a:lnTo>
                      <a:pt x="10395" y="3558"/>
                    </a:lnTo>
                    <a:cubicBezTo>
                      <a:pt x="10272" y="1268"/>
                      <a:pt x="10149" y="1436"/>
                      <a:pt x="9937" y="1268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2865F7BE-B1C1-4F2B-A5E5-7460C511C2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24688" y="4818063"/>
                <a:ext cx="468313" cy="627063"/>
              </a:xfrm>
              <a:custGeom>
                <a:avLst/>
                <a:gdLst>
                  <a:gd name="T0" fmla="*/ 125 w 125"/>
                  <a:gd name="T1" fmla="*/ 64 h 167"/>
                  <a:gd name="T2" fmla="*/ 99 w 125"/>
                  <a:gd name="T3" fmla="*/ 39 h 167"/>
                  <a:gd name="T4" fmla="*/ 83 w 125"/>
                  <a:gd name="T5" fmla="*/ 29 h 167"/>
                  <a:gd name="T6" fmla="*/ 37 w 125"/>
                  <a:gd name="T7" fmla="*/ 100 h 167"/>
                  <a:gd name="T8" fmla="*/ 0 w 125"/>
                  <a:gd name="T9" fmla="*/ 167 h 167"/>
                  <a:gd name="T10" fmla="*/ 48 w 125"/>
                  <a:gd name="T11" fmla="*/ 61 h 167"/>
                  <a:gd name="T12" fmla="*/ 77 w 125"/>
                  <a:gd name="T13" fmla="*/ 8 h 167"/>
                  <a:gd name="T14" fmla="*/ 115 w 125"/>
                  <a:gd name="T15" fmla="*/ 23 h 167"/>
                  <a:gd name="T16" fmla="*/ 125 w 125"/>
                  <a:gd name="T17" fmla="*/ 6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5" h="167">
                    <a:moveTo>
                      <a:pt x="125" y="64"/>
                    </a:moveTo>
                    <a:cubicBezTo>
                      <a:pt x="125" y="64"/>
                      <a:pt x="99" y="45"/>
                      <a:pt x="99" y="39"/>
                    </a:cubicBezTo>
                    <a:cubicBezTo>
                      <a:pt x="99" y="32"/>
                      <a:pt x="92" y="21"/>
                      <a:pt x="83" y="29"/>
                    </a:cubicBezTo>
                    <a:cubicBezTo>
                      <a:pt x="73" y="37"/>
                      <a:pt x="63" y="52"/>
                      <a:pt x="37" y="100"/>
                    </a:cubicBezTo>
                    <a:cubicBezTo>
                      <a:pt x="12" y="148"/>
                      <a:pt x="0" y="167"/>
                      <a:pt x="0" y="167"/>
                    </a:cubicBezTo>
                    <a:cubicBezTo>
                      <a:pt x="0" y="167"/>
                      <a:pt x="47" y="72"/>
                      <a:pt x="48" y="61"/>
                    </a:cubicBezTo>
                    <a:cubicBezTo>
                      <a:pt x="49" y="51"/>
                      <a:pt x="60" y="5"/>
                      <a:pt x="77" y="8"/>
                    </a:cubicBezTo>
                    <a:cubicBezTo>
                      <a:pt x="95" y="11"/>
                      <a:pt x="108" y="0"/>
                      <a:pt x="115" y="23"/>
                    </a:cubicBezTo>
                    <a:cubicBezTo>
                      <a:pt x="121" y="45"/>
                      <a:pt x="125" y="64"/>
                      <a:pt x="125" y="64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5">
                <a:extLst>
                  <a:ext uri="{FF2B5EF4-FFF2-40B4-BE49-F238E27FC236}">
                    <a16:creationId xmlns:a16="http://schemas.microsoft.com/office/drawing/2014/main" id="{49BAE451-19AD-4EB9-85BB-5F138A6CC7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3088" y="4699001"/>
                <a:ext cx="269875" cy="1600200"/>
              </a:xfrm>
              <a:custGeom>
                <a:avLst/>
                <a:gdLst>
                  <a:gd name="T0" fmla="*/ 66 w 72"/>
                  <a:gd name="T1" fmla="*/ 0 h 427"/>
                  <a:gd name="T2" fmla="*/ 19 w 72"/>
                  <a:gd name="T3" fmla="*/ 105 h 427"/>
                  <a:gd name="T4" fmla="*/ 10 w 72"/>
                  <a:gd name="T5" fmla="*/ 385 h 427"/>
                  <a:gd name="T6" fmla="*/ 26 w 72"/>
                  <a:gd name="T7" fmla="*/ 112 h 427"/>
                  <a:gd name="T8" fmla="*/ 72 w 72"/>
                  <a:gd name="T9" fmla="*/ 3 h 427"/>
                  <a:gd name="T10" fmla="*/ 66 w 72"/>
                  <a:gd name="T11" fmla="*/ 0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427">
                    <a:moveTo>
                      <a:pt x="66" y="0"/>
                    </a:moveTo>
                    <a:cubicBezTo>
                      <a:pt x="66" y="0"/>
                      <a:pt x="35" y="19"/>
                      <a:pt x="19" y="105"/>
                    </a:cubicBezTo>
                    <a:cubicBezTo>
                      <a:pt x="3" y="192"/>
                      <a:pt x="2" y="344"/>
                      <a:pt x="10" y="385"/>
                    </a:cubicBezTo>
                    <a:cubicBezTo>
                      <a:pt x="18" y="427"/>
                      <a:pt x="0" y="200"/>
                      <a:pt x="26" y="112"/>
                    </a:cubicBezTo>
                    <a:cubicBezTo>
                      <a:pt x="26" y="112"/>
                      <a:pt x="44" y="32"/>
                      <a:pt x="72" y="3"/>
                    </a:cubicBezTo>
                    <a:lnTo>
                      <a:pt x="66" y="0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B1C39C71-8CFE-43E1-814C-3499FC10CA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83413" y="5943601"/>
                <a:ext cx="1079500" cy="266700"/>
              </a:xfrm>
              <a:custGeom>
                <a:avLst/>
                <a:gdLst>
                  <a:gd name="T0" fmla="*/ 240 w 288"/>
                  <a:gd name="T1" fmla="*/ 69 h 71"/>
                  <a:gd name="T2" fmla="*/ 284 w 288"/>
                  <a:gd name="T3" fmla="*/ 31 h 71"/>
                  <a:gd name="T4" fmla="*/ 240 w 288"/>
                  <a:gd name="T5" fmla="*/ 57 h 71"/>
                  <a:gd name="T6" fmla="*/ 200 w 288"/>
                  <a:gd name="T7" fmla="*/ 68 h 71"/>
                  <a:gd name="T8" fmla="*/ 171 w 288"/>
                  <a:gd name="T9" fmla="*/ 51 h 71"/>
                  <a:gd name="T10" fmla="*/ 216 w 288"/>
                  <a:gd name="T11" fmla="*/ 20 h 71"/>
                  <a:gd name="T12" fmla="*/ 147 w 288"/>
                  <a:gd name="T13" fmla="*/ 56 h 71"/>
                  <a:gd name="T14" fmla="*/ 62 w 288"/>
                  <a:gd name="T15" fmla="*/ 64 h 71"/>
                  <a:gd name="T16" fmla="*/ 75 w 288"/>
                  <a:gd name="T17" fmla="*/ 39 h 71"/>
                  <a:gd name="T18" fmla="*/ 44 w 288"/>
                  <a:gd name="T19" fmla="*/ 53 h 71"/>
                  <a:gd name="T20" fmla="*/ 15 w 288"/>
                  <a:gd name="T21" fmla="*/ 69 h 71"/>
                  <a:gd name="T22" fmla="*/ 240 w 288"/>
                  <a:gd name="T23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71">
                    <a:moveTo>
                      <a:pt x="240" y="69"/>
                    </a:moveTo>
                    <a:cubicBezTo>
                      <a:pt x="240" y="69"/>
                      <a:pt x="280" y="40"/>
                      <a:pt x="284" y="31"/>
                    </a:cubicBezTo>
                    <a:cubicBezTo>
                      <a:pt x="288" y="21"/>
                      <a:pt x="254" y="47"/>
                      <a:pt x="240" y="57"/>
                    </a:cubicBezTo>
                    <a:cubicBezTo>
                      <a:pt x="227" y="68"/>
                      <a:pt x="219" y="67"/>
                      <a:pt x="200" y="68"/>
                    </a:cubicBezTo>
                    <a:cubicBezTo>
                      <a:pt x="182" y="69"/>
                      <a:pt x="143" y="68"/>
                      <a:pt x="171" y="51"/>
                    </a:cubicBezTo>
                    <a:cubicBezTo>
                      <a:pt x="199" y="33"/>
                      <a:pt x="216" y="20"/>
                      <a:pt x="216" y="20"/>
                    </a:cubicBezTo>
                    <a:cubicBezTo>
                      <a:pt x="216" y="20"/>
                      <a:pt x="182" y="33"/>
                      <a:pt x="147" y="56"/>
                    </a:cubicBezTo>
                    <a:cubicBezTo>
                      <a:pt x="147" y="56"/>
                      <a:pt x="138" y="67"/>
                      <a:pt x="62" y="64"/>
                    </a:cubicBezTo>
                    <a:cubicBezTo>
                      <a:pt x="62" y="64"/>
                      <a:pt x="30" y="71"/>
                      <a:pt x="75" y="39"/>
                    </a:cubicBezTo>
                    <a:cubicBezTo>
                      <a:pt x="75" y="39"/>
                      <a:pt x="110" y="0"/>
                      <a:pt x="44" y="53"/>
                    </a:cubicBezTo>
                    <a:cubicBezTo>
                      <a:pt x="44" y="53"/>
                      <a:pt x="30" y="69"/>
                      <a:pt x="15" y="69"/>
                    </a:cubicBezTo>
                    <a:cubicBezTo>
                      <a:pt x="0" y="69"/>
                      <a:pt x="240" y="69"/>
                      <a:pt x="240" y="6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7">
                <a:extLst>
                  <a:ext uri="{FF2B5EF4-FFF2-40B4-BE49-F238E27FC236}">
                    <a16:creationId xmlns:a16="http://schemas.microsoft.com/office/drawing/2014/main" id="{3140C9D8-6943-4867-85CC-A9FB43ECF0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2613" y="4589463"/>
                <a:ext cx="1287463" cy="307975"/>
              </a:xfrm>
              <a:custGeom>
                <a:avLst/>
                <a:gdLst>
                  <a:gd name="T0" fmla="*/ 343 w 343"/>
                  <a:gd name="T1" fmla="*/ 18 h 82"/>
                  <a:gd name="T2" fmla="*/ 304 w 343"/>
                  <a:gd name="T3" fmla="*/ 9 h 82"/>
                  <a:gd name="T4" fmla="*/ 190 w 343"/>
                  <a:gd name="T5" fmla="*/ 22 h 82"/>
                  <a:gd name="T6" fmla="*/ 108 w 343"/>
                  <a:gd name="T7" fmla="*/ 36 h 82"/>
                  <a:gd name="T8" fmla="*/ 47 w 343"/>
                  <a:gd name="T9" fmla="*/ 12 h 82"/>
                  <a:gd name="T10" fmla="*/ 14 w 343"/>
                  <a:gd name="T11" fmla="*/ 8 h 82"/>
                  <a:gd name="T12" fmla="*/ 7 w 343"/>
                  <a:gd name="T13" fmla="*/ 64 h 82"/>
                  <a:gd name="T14" fmla="*/ 66 w 343"/>
                  <a:gd name="T15" fmla="*/ 73 h 82"/>
                  <a:gd name="T16" fmla="*/ 110 w 343"/>
                  <a:gd name="T17" fmla="*/ 46 h 82"/>
                  <a:gd name="T18" fmla="*/ 220 w 343"/>
                  <a:gd name="T19" fmla="*/ 22 h 82"/>
                  <a:gd name="T20" fmla="*/ 343 w 343"/>
                  <a:gd name="T21" fmla="*/ 1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3" h="82">
                    <a:moveTo>
                      <a:pt x="343" y="18"/>
                    </a:moveTo>
                    <a:cubicBezTo>
                      <a:pt x="343" y="18"/>
                      <a:pt x="315" y="10"/>
                      <a:pt x="304" y="9"/>
                    </a:cubicBezTo>
                    <a:cubicBezTo>
                      <a:pt x="294" y="8"/>
                      <a:pt x="242" y="0"/>
                      <a:pt x="190" y="22"/>
                    </a:cubicBezTo>
                    <a:cubicBezTo>
                      <a:pt x="138" y="45"/>
                      <a:pt x="120" y="38"/>
                      <a:pt x="108" y="36"/>
                    </a:cubicBezTo>
                    <a:cubicBezTo>
                      <a:pt x="96" y="33"/>
                      <a:pt x="68" y="18"/>
                      <a:pt x="47" y="12"/>
                    </a:cubicBezTo>
                    <a:cubicBezTo>
                      <a:pt x="26" y="5"/>
                      <a:pt x="14" y="8"/>
                      <a:pt x="14" y="8"/>
                    </a:cubicBezTo>
                    <a:cubicBezTo>
                      <a:pt x="14" y="8"/>
                      <a:pt x="14" y="45"/>
                      <a:pt x="7" y="64"/>
                    </a:cubicBezTo>
                    <a:cubicBezTo>
                      <a:pt x="0" y="82"/>
                      <a:pt x="54" y="77"/>
                      <a:pt x="66" y="73"/>
                    </a:cubicBezTo>
                    <a:cubicBezTo>
                      <a:pt x="78" y="69"/>
                      <a:pt x="98" y="46"/>
                      <a:pt x="110" y="46"/>
                    </a:cubicBezTo>
                    <a:cubicBezTo>
                      <a:pt x="122" y="46"/>
                      <a:pt x="132" y="45"/>
                      <a:pt x="220" y="22"/>
                    </a:cubicBezTo>
                    <a:cubicBezTo>
                      <a:pt x="308" y="0"/>
                      <a:pt x="331" y="32"/>
                      <a:pt x="343" y="18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28">
                <a:extLst>
                  <a:ext uri="{FF2B5EF4-FFF2-40B4-BE49-F238E27FC236}">
                    <a16:creationId xmlns:a16="http://schemas.microsoft.com/office/drawing/2014/main" id="{92996EE0-D065-4008-A4F9-C211D5BCA2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64176" y="4933951"/>
                <a:ext cx="585788" cy="1263650"/>
              </a:xfrm>
              <a:custGeom>
                <a:avLst/>
                <a:gdLst>
                  <a:gd name="T0" fmla="*/ 156 w 156"/>
                  <a:gd name="T1" fmla="*/ 0 h 337"/>
                  <a:gd name="T2" fmla="*/ 109 w 156"/>
                  <a:gd name="T3" fmla="*/ 113 h 337"/>
                  <a:gd name="T4" fmla="*/ 32 w 156"/>
                  <a:gd name="T5" fmla="*/ 230 h 337"/>
                  <a:gd name="T6" fmla="*/ 21 w 156"/>
                  <a:gd name="T7" fmla="*/ 253 h 337"/>
                  <a:gd name="T8" fmla="*/ 3 w 156"/>
                  <a:gd name="T9" fmla="*/ 337 h 337"/>
                  <a:gd name="T10" fmla="*/ 33 w 156"/>
                  <a:gd name="T11" fmla="*/ 252 h 337"/>
                  <a:gd name="T12" fmla="*/ 128 w 156"/>
                  <a:gd name="T13" fmla="*/ 92 h 337"/>
                  <a:gd name="T14" fmla="*/ 156 w 156"/>
                  <a:gd name="T15" fmla="*/ 0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6" h="337">
                    <a:moveTo>
                      <a:pt x="156" y="0"/>
                    </a:moveTo>
                    <a:cubicBezTo>
                      <a:pt x="156" y="0"/>
                      <a:pt x="117" y="100"/>
                      <a:pt x="109" y="113"/>
                    </a:cubicBezTo>
                    <a:cubicBezTo>
                      <a:pt x="103" y="123"/>
                      <a:pt x="54" y="192"/>
                      <a:pt x="32" y="230"/>
                    </a:cubicBezTo>
                    <a:cubicBezTo>
                      <a:pt x="26" y="240"/>
                      <a:pt x="22" y="249"/>
                      <a:pt x="21" y="253"/>
                    </a:cubicBezTo>
                    <a:cubicBezTo>
                      <a:pt x="19" y="273"/>
                      <a:pt x="0" y="321"/>
                      <a:pt x="3" y="337"/>
                    </a:cubicBezTo>
                    <a:cubicBezTo>
                      <a:pt x="3" y="337"/>
                      <a:pt x="19" y="280"/>
                      <a:pt x="33" y="252"/>
                    </a:cubicBezTo>
                    <a:cubicBezTo>
                      <a:pt x="48" y="224"/>
                      <a:pt x="117" y="126"/>
                      <a:pt x="128" y="92"/>
                    </a:cubicBezTo>
                    <a:cubicBezTo>
                      <a:pt x="139" y="57"/>
                      <a:pt x="153" y="12"/>
                      <a:pt x="156" y="0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AE5E952F-2634-420A-9DA3-C204CA8448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4889501"/>
                <a:ext cx="831850" cy="1320800"/>
              </a:xfrm>
              <a:custGeom>
                <a:avLst/>
                <a:gdLst>
                  <a:gd name="T0" fmla="*/ 0 w 222"/>
                  <a:gd name="T1" fmla="*/ 352 h 352"/>
                  <a:gd name="T2" fmla="*/ 108 w 222"/>
                  <a:gd name="T3" fmla="*/ 190 h 352"/>
                  <a:gd name="T4" fmla="*/ 205 w 222"/>
                  <a:gd name="T5" fmla="*/ 41 h 352"/>
                  <a:gd name="T6" fmla="*/ 222 w 222"/>
                  <a:gd name="T7" fmla="*/ 0 h 352"/>
                  <a:gd name="T8" fmla="*/ 209 w 222"/>
                  <a:gd name="T9" fmla="*/ 50 h 352"/>
                  <a:gd name="T10" fmla="*/ 193 w 222"/>
                  <a:gd name="T11" fmla="*/ 78 h 352"/>
                  <a:gd name="T12" fmla="*/ 170 w 222"/>
                  <a:gd name="T13" fmla="*/ 133 h 352"/>
                  <a:gd name="T14" fmla="*/ 110 w 222"/>
                  <a:gd name="T15" fmla="*/ 208 h 352"/>
                  <a:gd name="T16" fmla="*/ 0 w 222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2" h="352">
                    <a:moveTo>
                      <a:pt x="0" y="352"/>
                    </a:moveTo>
                    <a:cubicBezTo>
                      <a:pt x="0" y="352"/>
                      <a:pt x="92" y="218"/>
                      <a:pt x="108" y="190"/>
                    </a:cubicBezTo>
                    <a:cubicBezTo>
                      <a:pt x="124" y="162"/>
                      <a:pt x="194" y="58"/>
                      <a:pt x="205" y="41"/>
                    </a:cubicBezTo>
                    <a:cubicBezTo>
                      <a:pt x="216" y="24"/>
                      <a:pt x="222" y="0"/>
                      <a:pt x="222" y="0"/>
                    </a:cubicBezTo>
                    <a:cubicBezTo>
                      <a:pt x="222" y="0"/>
                      <a:pt x="216" y="41"/>
                      <a:pt x="209" y="50"/>
                    </a:cubicBezTo>
                    <a:cubicBezTo>
                      <a:pt x="202" y="60"/>
                      <a:pt x="196" y="70"/>
                      <a:pt x="193" y="78"/>
                    </a:cubicBezTo>
                    <a:cubicBezTo>
                      <a:pt x="190" y="86"/>
                      <a:pt x="184" y="121"/>
                      <a:pt x="170" y="133"/>
                    </a:cubicBezTo>
                    <a:cubicBezTo>
                      <a:pt x="157" y="145"/>
                      <a:pt x="129" y="176"/>
                      <a:pt x="110" y="208"/>
                    </a:cubicBezTo>
                    <a:cubicBezTo>
                      <a:pt x="92" y="240"/>
                      <a:pt x="13" y="342"/>
                      <a:pt x="0" y="352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30">
                <a:extLst>
                  <a:ext uri="{FF2B5EF4-FFF2-40B4-BE49-F238E27FC236}">
                    <a16:creationId xmlns:a16="http://schemas.microsoft.com/office/drawing/2014/main" id="{8BA89A33-EB43-448D-BFE1-8B1AB6B46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95901" y="4784726"/>
                <a:ext cx="231775" cy="330200"/>
              </a:xfrm>
              <a:custGeom>
                <a:avLst/>
                <a:gdLst>
                  <a:gd name="T0" fmla="*/ 62 w 62"/>
                  <a:gd name="T1" fmla="*/ 86 h 88"/>
                  <a:gd name="T2" fmla="*/ 17 w 62"/>
                  <a:gd name="T3" fmla="*/ 42 h 88"/>
                  <a:gd name="T4" fmla="*/ 16 w 62"/>
                  <a:gd name="T5" fmla="*/ 17 h 88"/>
                  <a:gd name="T6" fmla="*/ 8 w 62"/>
                  <a:gd name="T7" fmla="*/ 0 h 88"/>
                  <a:gd name="T8" fmla="*/ 9 w 62"/>
                  <a:gd name="T9" fmla="*/ 18 h 88"/>
                  <a:gd name="T10" fmla="*/ 22 w 62"/>
                  <a:gd name="T11" fmla="*/ 65 h 88"/>
                  <a:gd name="T12" fmla="*/ 62 w 62"/>
                  <a:gd name="T13" fmla="*/ 8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88">
                    <a:moveTo>
                      <a:pt x="62" y="86"/>
                    </a:moveTo>
                    <a:cubicBezTo>
                      <a:pt x="62" y="86"/>
                      <a:pt x="18" y="49"/>
                      <a:pt x="17" y="42"/>
                    </a:cubicBezTo>
                    <a:cubicBezTo>
                      <a:pt x="16" y="36"/>
                      <a:pt x="16" y="30"/>
                      <a:pt x="16" y="17"/>
                    </a:cubicBezTo>
                    <a:cubicBezTo>
                      <a:pt x="16" y="4"/>
                      <a:pt x="8" y="0"/>
                      <a:pt x="8" y="0"/>
                    </a:cubicBezTo>
                    <a:cubicBezTo>
                      <a:pt x="8" y="0"/>
                      <a:pt x="12" y="8"/>
                      <a:pt x="9" y="18"/>
                    </a:cubicBezTo>
                    <a:cubicBezTo>
                      <a:pt x="6" y="29"/>
                      <a:pt x="0" y="46"/>
                      <a:pt x="22" y="65"/>
                    </a:cubicBezTo>
                    <a:cubicBezTo>
                      <a:pt x="45" y="84"/>
                      <a:pt x="57" y="88"/>
                      <a:pt x="62" y="8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32">
                <a:extLst>
                  <a:ext uri="{FF2B5EF4-FFF2-40B4-BE49-F238E27FC236}">
                    <a16:creationId xmlns:a16="http://schemas.microsoft.com/office/drawing/2014/main" id="{B486382A-EF26-43E1-80BA-1769AE0837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49713"/>
                <a:ext cx="0" cy="2222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33">
                <a:extLst>
                  <a:ext uri="{FF2B5EF4-FFF2-40B4-BE49-F238E27FC236}">
                    <a16:creationId xmlns:a16="http://schemas.microsoft.com/office/drawing/2014/main" id="{A5AA0CF3-D746-4562-9DA1-7A08300474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3938" y="5197476"/>
                <a:ext cx="4763" cy="6350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34">
                <a:extLst>
                  <a:ext uri="{FF2B5EF4-FFF2-40B4-BE49-F238E27FC236}">
                    <a16:creationId xmlns:a16="http://schemas.microsoft.com/office/drawing/2014/main" id="{C0FBC4C7-AF71-4CB4-9544-D6C40BAA39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079876"/>
                <a:ext cx="3175" cy="19050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0" y="3"/>
                      <a:pt x="0" y="2"/>
                      <a:pt x="1" y="0"/>
                    </a:cubicBezTo>
                    <a:cubicBezTo>
                      <a:pt x="0" y="2"/>
                      <a:pt x="0" y="3"/>
                      <a:pt x="0" y="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35">
                <a:extLst>
                  <a:ext uri="{FF2B5EF4-FFF2-40B4-BE49-F238E27FC236}">
                    <a16:creationId xmlns:a16="http://schemas.microsoft.com/office/drawing/2014/main" id="{F0A6DD18-5B96-4F83-874E-D28D85EE49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19701"/>
                <a:ext cx="3175" cy="7938"/>
              </a:xfrm>
              <a:custGeom>
                <a:avLst/>
                <a:gdLst>
                  <a:gd name="T0" fmla="*/ 0 w 1"/>
                  <a:gd name="T1" fmla="*/ 1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36">
                <a:extLst>
                  <a:ext uri="{FF2B5EF4-FFF2-40B4-BE49-F238E27FC236}">
                    <a16:creationId xmlns:a16="http://schemas.microsoft.com/office/drawing/2014/main" id="{52C15645-F895-4342-87AC-1EBD7AE06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03826"/>
                <a:ext cx="3175" cy="7938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83A6DABD-52D7-4F35-9A63-F81564CA1F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00501"/>
                <a:ext cx="4763" cy="19050"/>
              </a:xfrm>
              <a:custGeom>
                <a:avLst/>
                <a:gdLst>
                  <a:gd name="T0" fmla="*/ 1 w 1"/>
                  <a:gd name="T1" fmla="*/ 0 h 5"/>
                  <a:gd name="T2" fmla="*/ 0 w 1"/>
                  <a:gd name="T3" fmla="*/ 5 h 5"/>
                  <a:gd name="T4" fmla="*/ 1 w 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cubicBezTo>
                      <a:pt x="1" y="2"/>
                      <a:pt x="0" y="3"/>
                      <a:pt x="0" y="5"/>
                    </a:cubicBezTo>
                    <a:cubicBezTo>
                      <a:pt x="0" y="3"/>
                      <a:pt x="1" y="2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38">
                <a:extLst>
                  <a:ext uri="{FF2B5EF4-FFF2-40B4-BE49-F238E27FC236}">
                    <a16:creationId xmlns:a16="http://schemas.microsoft.com/office/drawing/2014/main" id="{7FADDAC7-CDAA-4849-8F40-A4BC8493D2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27488"/>
                <a:ext cx="0" cy="14288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cubicBezTo>
                      <a:pt x="0" y="3"/>
                      <a:pt x="0" y="1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39">
                <a:extLst>
                  <a:ext uri="{FF2B5EF4-FFF2-40B4-BE49-F238E27FC236}">
                    <a16:creationId xmlns:a16="http://schemas.microsoft.com/office/drawing/2014/main" id="{C78CB9B9-633A-4019-9459-60E8981F39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11763"/>
                <a:ext cx="0" cy="7938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0">
                <a:extLst>
                  <a:ext uri="{FF2B5EF4-FFF2-40B4-BE49-F238E27FC236}">
                    <a16:creationId xmlns:a16="http://schemas.microsoft.com/office/drawing/2014/main" id="{24487923-C479-4579-88AA-A73198FC45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651" y="5291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1">
                <a:extLst>
                  <a:ext uri="{FF2B5EF4-FFF2-40B4-BE49-F238E27FC236}">
                    <a16:creationId xmlns:a16="http://schemas.microsoft.com/office/drawing/2014/main" id="{BE9A4777-EAAA-42BA-9EE1-68E3B6D091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72088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2">
                <a:extLst>
                  <a:ext uri="{FF2B5EF4-FFF2-40B4-BE49-F238E27FC236}">
                    <a16:creationId xmlns:a16="http://schemas.microsoft.com/office/drawing/2014/main" id="{CED0FDA1-C2B8-4921-87E7-36347673AB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57801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">
                <a:extLst>
                  <a:ext uri="{FF2B5EF4-FFF2-40B4-BE49-F238E27FC236}">
                    <a16:creationId xmlns:a16="http://schemas.microsoft.com/office/drawing/2014/main" id="{67B2CC89-A6E1-4795-9960-BBA0FE464C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4198938"/>
                <a:ext cx="4763" cy="30163"/>
              </a:xfrm>
              <a:custGeom>
                <a:avLst/>
                <a:gdLst>
                  <a:gd name="T0" fmla="*/ 0 w 1"/>
                  <a:gd name="T1" fmla="*/ 8 h 8"/>
                  <a:gd name="T2" fmla="*/ 1 w 1"/>
                  <a:gd name="T3" fmla="*/ 0 h 8"/>
                  <a:gd name="T4" fmla="*/ 0 w 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8">
                    <a:moveTo>
                      <a:pt x="0" y="8"/>
                    </a:moveTo>
                    <a:cubicBezTo>
                      <a:pt x="0" y="5"/>
                      <a:pt x="1" y="3"/>
                      <a:pt x="1" y="0"/>
                    </a:cubicBezTo>
                    <a:cubicBezTo>
                      <a:pt x="1" y="3"/>
                      <a:pt x="0" y="5"/>
                      <a:pt x="0" y="8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">
                <a:extLst>
                  <a:ext uri="{FF2B5EF4-FFF2-40B4-BE49-F238E27FC236}">
                    <a16:creationId xmlns:a16="http://schemas.microsoft.com/office/drawing/2014/main" id="{BA41B126-1FA5-496E-8993-9F3D71C447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105276"/>
                <a:ext cx="0" cy="23813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5">
                <a:extLst>
                  <a:ext uri="{FF2B5EF4-FFF2-40B4-BE49-F238E27FC236}">
                    <a16:creationId xmlns:a16="http://schemas.microsoft.com/office/drawing/2014/main" id="{32193A35-B87E-47AB-A75C-80FDA04C61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33988"/>
                <a:ext cx="0" cy="4763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6">
                <a:extLst>
                  <a:ext uri="{FF2B5EF4-FFF2-40B4-BE49-F238E27FC236}">
                    <a16:creationId xmlns:a16="http://schemas.microsoft.com/office/drawing/2014/main" id="{C87C47E2-F7F9-4B33-97BA-A84CBB7651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35438"/>
                <a:ext cx="3175" cy="26988"/>
              </a:xfrm>
              <a:custGeom>
                <a:avLst/>
                <a:gdLst>
                  <a:gd name="T0" fmla="*/ 0 w 1"/>
                  <a:gd name="T1" fmla="*/ 7 h 7"/>
                  <a:gd name="T2" fmla="*/ 1 w 1"/>
                  <a:gd name="T3" fmla="*/ 0 h 7"/>
                  <a:gd name="T4" fmla="*/ 0 w 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7">
                    <a:moveTo>
                      <a:pt x="0" y="7"/>
                    </a:moveTo>
                    <a:cubicBezTo>
                      <a:pt x="1" y="4"/>
                      <a:pt x="1" y="2"/>
                      <a:pt x="1" y="0"/>
                    </a:cubicBezTo>
                    <a:cubicBezTo>
                      <a:pt x="1" y="2"/>
                      <a:pt x="1" y="4"/>
                      <a:pt x="0" y="7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7">
                <a:extLst>
                  <a:ext uri="{FF2B5EF4-FFF2-40B4-BE49-F238E27FC236}">
                    <a16:creationId xmlns:a16="http://schemas.microsoft.com/office/drawing/2014/main" id="{1BD28200-93C9-4EF8-8D19-D6194E9E93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45101"/>
                <a:ext cx="4763" cy="476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8">
                <a:extLst>
                  <a:ext uri="{FF2B5EF4-FFF2-40B4-BE49-F238E27FC236}">
                    <a16:creationId xmlns:a16="http://schemas.microsoft.com/office/drawing/2014/main" id="{63FF70C7-53CB-415A-AC60-B3924D4E72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70363"/>
                <a:ext cx="0" cy="2222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9">
                <a:extLst>
                  <a:ext uri="{FF2B5EF4-FFF2-40B4-BE49-F238E27FC236}">
                    <a16:creationId xmlns:a16="http://schemas.microsoft.com/office/drawing/2014/main" id="{037C0E64-B5E8-4985-A3D4-5E53188CBD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1876" y="5189538"/>
                <a:ext cx="3175" cy="3175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50">
                <a:extLst>
                  <a:ext uri="{FF2B5EF4-FFF2-40B4-BE49-F238E27FC236}">
                    <a16:creationId xmlns:a16="http://schemas.microsoft.com/office/drawing/2014/main" id="{84DD5A96-CF49-41F4-BC36-5AA5E440E4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10138" y="5103813"/>
                <a:ext cx="14288" cy="14288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0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1" y="3"/>
                      <a:pt x="1" y="3"/>
                      <a:pt x="2" y="2"/>
                    </a:cubicBezTo>
                    <a:cubicBezTo>
                      <a:pt x="2" y="1"/>
                      <a:pt x="3" y="1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51">
                <a:extLst>
                  <a:ext uri="{FF2B5EF4-FFF2-40B4-BE49-F238E27FC236}">
                    <a16:creationId xmlns:a16="http://schemas.microsoft.com/office/drawing/2014/main" id="{351415BB-657E-4B27-BF83-FEE9FCAE9C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9038" y="4305301"/>
                <a:ext cx="360363" cy="727075"/>
              </a:xfrm>
              <a:custGeom>
                <a:avLst/>
                <a:gdLst>
                  <a:gd name="T0" fmla="*/ 49 w 96"/>
                  <a:gd name="T1" fmla="*/ 108 h 194"/>
                  <a:gd name="T2" fmla="*/ 6 w 96"/>
                  <a:gd name="T3" fmla="*/ 186 h 194"/>
                  <a:gd name="T4" fmla="*/ 0 w 96"/>
                  <a:gd name="T5" fmla="*/ 194 h 194"/>
                  <a:gd name="T6" fmla="*/ 0 w 96"/>
                  <a:gd name="T7" fmla="*/ 194 h 194"/>
                  <a:gd name="T8" fmla="*/ 16 w 96"/>
                  <a:gd name="T9" fmla="*/ 181 h 194"/>
                  <a:gd name="T10" fmla="*/ 87 w 96"/>
                  <a:gd name="T11" fmla="*/ 128 h 194"/>
                  <a:gd name="T12" fmla="*/ 88 w 96"/>
                  <a:gd name="T13" fmla="*/ 86 h 194"/>
                  <a:gd name="T14" fmla="*/ 96 w 96"/>
                  <a:gd name="T15" fmla="*/ 0 h 194"/>
                  <a:gd name="T16" fmla="*/ 96 w 96"/>
                  <a:gd name="T17" fmla="*/ 0 h 194"/>
                  <a:gd name="T18" fmla="*/ 49 w 96"/>
                  <a:gd name="T19" fmla="*/ 108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194">
                    <a:moveTo>
                      <a:pt x="49" y="108"/>
                    </a:moveTo>
                    <a:cubicBezTo>
                      <a:pt x="49" y="108"/>
                      <a:pt x="38" y="140"/>
                      <a:pt x="6" y="186"/>
                    </a:cubicBezTo>
                    <a:cubicBezTo>
                      <a:pt x="4" y="189"/>
                      <a:pt x="2" y="191"/>
                      <a:pt x="0" y="194"/>
                    </a:cubicBezTo>
                    <a:cubicBezTo>
                      <a:pt x="0" y="194"/>
                      <a:pt x="0" y="194"/>
                      <a:pt x="0" y="194"/>
                    </a:cubicBezTo>
                    <a:cubicBezTo>
                      <a:pt x="7" y="188"/>
                      <a:pt x="13" y="183"/>
                      <a:pt x="16" y="181"/>
                    </a:cubicBezTo>
                    <a:cubicBezTo>
                      <a:pt x="28" y="172"/>
                      <a:pt x="87" y="128"/>
                      <a:pt x="87" y="128"/>
                    </a:cubicBezTo>
                    <a:cubicBezTo>
                      <a:pt x="87" y="128"/>
                      <a:pt x="83" y="106"/>
                      <a:pt x="88" y="86"/>
                    </a:cubicBezTo>
                    <a:cubicBezTo>
                      <a:pt x="91" y="76"/>
                      <a:pt x="94" y="39"/>
                      <a:pt x="96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80" y="35"/>
                      <a:pt x="49" y="108"/>
                      <a:pt x="49" y="108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52">
                <a:extLst>
                  <a:ext uri="{FF2B5EF4-FFF2-40B4-BE49-F238E27FC236}">
                    <a16:creationId xmlns:a16="http://schemas.microsoft.com/office/drawing/2014/main" id="{A6BE6EE1-987D-4844-9BAE-F5B1BEF7DD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7601" y="5076826"/>
                <a:ext cx="26988" cy="22225"/>
              </a:xfrm>
              <a:custGeom>
                <a:avLst/>
                <a:gdLst>
                  <a:gd name="T0" fmla="*/ 0 w 7"/>
                  <a:gd name="T1" fmla="*/ 6 h 6"/>
                  <a:gd name="T2" fmla="*/ 7 w 7"/>
                  <a:gd name="T3" fmla="*/ 0 h 6"/>
                  <a:gd name="T4" fmla="*/ 0 w 7"/>
                  <a:gd name="T5" fmla="*/ 6 h 6"/>
                  <a:gd name="T6" fmla="*/ 0 w 7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cubicBezTo>
                      <a:pt x="2" y="4"/>
                      <a:pt x="4" y="2"/>
                      <a:pt x="7" y="0"/>
                    </a:cubicBezTo>
                    <a:cubicBezTo>
                      <a:pt x="4" y="2"/>
                      <a:pt x="2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53">
                <a:extLst>
                  <a:ext uri="{FF2B5EF4-FFF2-40B4-BE49-F238E27FC236}">
                    <a16:creationId xmlns:a16="http://schemas.microsoft.com/office/drawing/2014/main" id="{2E3CC22E-B9A5-4671-9772-9583310BAE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276" y="6210301"/>
                <a:ext cx="225425" cy="3175"/>
              </a:xfrm>
              <a:custGeom>
                <a:avLst/>
                <a:gdLst>
                  <a:gd name="T0" fmla="*/ 18 w 60"/>
                  <a:gd name="T1" fmla="*/ 0 h 1"/>
                  <a:gd name="T2" fmla="*/ 0 w 60"/>
                  <a:gd name="T3" fmla="*/ 0 h 1"/>
                  <a:gd name="T4" fmla="*/ 59 w 60"/>
                  <a:gd name="T5" fmla="*/ 1 h 1"/>
                  <a:gd name="T6" fmla="*/ 60 w 60"/>
                  <a:gd name="T7" fmla="*/ 0 h 1"/>
                  <a:gd name="T8" fmla="*/ 18 w 60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1">
                    <a:moveTo>
                      <a:pt x="1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9" y="1"/>
                      <a:pt x="59" y="0"/>
                      <a:pt x="60" y="0"/>
                    </a:cubicBezTo>
                    <a:lnTo>
                      <a:pt x="18" y="0"/>
                    </a:ln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54">
                <a:extLst>
                  <a:ext uri="{FF2B5EF4-FFF2-40B4-BE49-F238E27FC236}">
                    <a16:creationId xmlns:a16="http://schemas.microsoft.com/office/drawing/2014/main" id="{2AD43603-4954-480D-9CB5-1833FA50DA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07331" y="3471863"/>
                <a:ext cx="190500" cy="528638"/>
              </a:xfrm>
              <a:custGeom>
                <a:avLst/>
                <a:gdLst>
                  <a:gd name="T0" fmla="*/ 22 w 51"/>
                  <a:gd name="T1" fmla="*/ 7 h 141"/>
                  <a:gd name="T2" fmla="*/ 5 w 51"/>
                  <a:gd name="T3" fmla="*/ 75 h 141"/>
                  <a:gd name="T4" fmla="*/ 5 w 51"/>
                  <a:gd name="T5" fmla="*/ 124 h 141"/>
                  <a:gd name="T6" fmla="*/ 17 w 51"/>
                  <a:gd name="T7" fmla="*/ 141 h 141"/>
                  <a:gd name="T8" fmla="*/ 17 w 51"/>
                  <a:gd name="T9" fmla="*/ 130 h 141"/>
                  <a:gd name="T10" fmla="*/ 43 w 51"/>
                  <a:gd name="T11" fmla="*/ 102 h 141"/>
                  <a:gd name="T12" fmla="*/ 41 w 51"/>
                  <a:gd name="T13" fmla="*/ 47 h 141"/>
                  <a:gd name="T14" fmla="*/ 28 w 51"/>
                  <a:gd name="T15" fmla="*/ 7 h 141"/>
                  <a:gd name="T16" fmla="*/ 22 w 51"/>
                  <a:gd name="T17" fmla="*/ 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141">
                    <a:moveTo>
                      <a:pt x="22" y="7"/>
                    </a:moveTo>
                    <a:cubicBezTo>
                      <a:pt x="16" y="39"/>
                      <a:pt x="8" y="67"/>
                      <a:pt x="5" y="75"/>
                    </a:cubicBezTo>
                    <a:cubicBezTo>
                      <a:pt x="0" y="91"/>
                      <a:pt x="3" y="107"/>
                      <a:pt x="5" y="124"/>
                    </a:cubicBezTo>
                    <a:cubicBezTo>
                      <a:pt x="7" y="133"/>
                      <a:pt x="11" y="137"/>
                      <a:pt x="17" y="141"/>
                    </a:cubicBezTo>
                    <a:cubicBezTo>
                      <a:pt x="17" y="136"/>
                      <a:pt x="17" y="132"/>
                      <a:pt x="17" y="130"/>
                    </a:cubicBezTo>
                    <a:cubicBezTo>
                      <a:pt x="19" y="102"/>
                      <a:pt x="43" y="102"/>
                      <a:pt x="43" y="102"/>
                    </a:cubicBezTo>
                    <a:cubicBezTo>
                      <a:pt x="43" y="102"/>
                      <a:pt x="51" y="62"/>
                      <a:pt x="41" y="47"/>
                    </a:cubicBezTo>
                    <a:cubicBezTo>
                      <a:pt x="32" y="32"/>
                      <a:pt x="29" y="13"/>
                      <a:pt x="28" y="7"/>
                    </a:cubicBezTo>
                    <a:cubicBezTo>
                      <a:pt x="27" y="0"/>
                      <a:pt x="26" y="5"/>
                      <a:pt x="22" y="7"/>
                    </a:cubicBezTo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55">
                <a:extLst>
                  <a:ext uri="{FF2B5EF4-FFF2-40B4-BE49-F238E27FC236}">
                    <a16:creationId xmlns:a16="http://schemas.microsoft.com/office/drawing/2014/main" id="{214DFC9B-F00E-4CCE-9DFD-268BD16D9D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7763" y="5046663"/>
                <a:ext cx="26988" cy="22225"/>
              </a:xfrm>
              <a:custGeom>
                <a:avLst/>
                <a:gdLst>
                  <a:gd name="T0" fmla="*/ 7 w 7"/>
                  <a:gd name="T1" fmla="*/ 0 h 6"/>
                  <a:gd name="T2" fmla="*/ 7 w 7"/>
                  <a:gd name="T3" fmla="*/ 0 h 6"/>
                  <a:gd name="T4" fmla="*/ 0 w 7"/>
                  <a:gd name="T5" fmla="*/ 6 h 6"/>
                  <a:gd name="T6" fmla="*/ 7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4" y="2"/>
                      <a:pt x="2" y="4"/>
                      <a:pt x="0" y="6"/>
                    </a:cubicBezTo>
                    <a:cubicBezTo>
                      <a:pt x="2" y="4"/>
                      <a:pt x="4" y="2"/>
                      <a:pt x="7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56">
                <a:extLst>
                  <a:ext uri="{FF2B5EF4-FFF2-40B4-BE49-F238E27FC236}">
                    <a16:creationId xmlns:a16="http://schemas.microsoft.com/office/drawing/2014/main" id="{A46BB81E-9B7D-4844-BB5D-FE24305075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4101" y="5159376"/>
                <a:ext cx="7938" cy="7938"/>
              </a:xfrm>
              <a:custGeom>
                <a:avLst/>
                <a:gdLst>
                  <a:gd name="T0" fmla="*/ 0 w 2"/>
                  <a:gd name="T1" fmla="*/ 1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1"/>
                      <a:pt x="1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57">
                <a:extLst>
                  <a:ext uri="{FF2B5EF4-FFF2-40B4-BE49-F238E27FC236}">
                    <a16:creationId xmlns:a16="http://schemas.microsoft.com/office/drawing/2014/main" id="{52C96088-AABA-436C-A30F-CF6A39085E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5051" y="5167313"/>
                <a:ext cx="15875" cy="22225"/>
              </a:xfrm>
              <a:custGeom>
                <a:avLst/>
                <a:gdLst>
                  <a:gd name="T0" fmla="*/ 1 w 4"/>
                  <a:gd name="T1" fmla="*/ 5 h 6"/>
                  <a:gd name="T2" fmla="*/ 2 w 4"/>
                  <a:gd name="T3" fmla="*/ 3 h 6"/>
                  <a:gd name="T4" fmla="*/ 2 w 4"/>
                  <a:gd name="T5" fmla="*/ 3 h 6"/>
                  <a:gd name="T6" fmla="*/ 4 w 4"/>
                  <a:gd name="T7" fmla="*/ 0 h 6"/>
                  <a:gd name="T8" fmla="*/ 0 w 4"/>
                  <a:gd name="T9" fmla="*/ 6 h 6"/>
                  <a:gd name="T10" fmla="*/ 1 w 4"/>
                  <a:gd name="T1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5"/>
                    </a:moveTo>
                    <a:cubicBezTo>
                      <a:pt x="1" y="4"/>
                      <a:pt x="1" y="4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2"/>
                      <a:pt x="4" y="1"/>
                      <a:pt x="4" y="0"/>
                    </a:cubicBezTo>
                    <a:cubicBezTo>
                      <a:pt x="3" y="2"/>
                      <a:pt x="1" y="4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58">
                <a:extLst>
                  <a:ext uri="{FF2B5EF4-FFF2-40B4-BE49-F238E27FC236}">
                    <a16:creationId xmlns:a16="http://schemas.microsoft.com/office/drawing/2014/main" id="{C0B75032-235D-42B3-A326-D10F6198F6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2038" y="5140326"/>
                <a:ext cx="14288" cy="15875"/>
              </a:xfrm>
              <a:custGeom>
                <a:avLst/>
                <a:gdLst>
                  <a:gd name="T0" fmla="*/ 1 w 4"/>
                  <a:gd name="T1" fmla="*/ 3 h 4"/>
                  <a:gd name="T2" fmla="*/ 3 w 4"/>
                  <a:gd name="T3" fmla="*/ 2 h 4"/>
                  <a:gd name="T4" fmla="*/ 4 w 4"/>
                  <a:gd name="T5" fmla="*/ 0 h 4"/>
                  <a:gd name="T6" fmla="*/ 0 w 4"/>
                  <a:gd name="T7" fmla="*/ 4 h 4"/>
                  <a:gd name="T8" fmla="*/ 1 w 4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2" y="2"/>
                      <a:pt x="3" y="2"/>
                    </a:cubicBezTo>
                    <a:cubicBezTo>
                      <a:pt x="3" y="1"/>
                      <a:pt x="3" y="1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ubicBezTo>
                      <a:pt x="0" y="4"/>
                      <a:pt x="1" y="4"/>
                      <a:pt x="1" y="3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59">
                <a:extLst>
                  <a:ext uri="{FF2B5EF4-FFF2-40B4-BE49-F238E27FC236}">
                    <a16:creationId xmlns:a16="http://schemas.microsoft.com/office/drawing/2014/main" id="{6BA018CA-0C4D-42DE-859C-55D706BBBD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86326" y="5133976"/>
                <a:ext cx="7938" cy="6350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1" y="1"/>
                      <a:pt x="1" y="1"/>
                      <a:pt x="2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60">
                <a:extLst>
                  <a:ext uri="{FF2B5EF4-FFF2-40B4-BE49-F238E27FC236}">
                    <a16:creationId xmlns:a16="http://schemas.microsoft.com/office/drawing/2014/main" id="{7E69B6DA-32BC-4BDC-B79F-D1DDF62BEA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7438" y="5122863"/>
                <a:ext cx="4763" cy="6350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61">
                <a:extLst>
                  <a:ext uri="{FF2B5EF4-FFF2-40B4-BE49-F238E27FC236}">
                    <a16:creationId xmlns:a16="http://schemas.microsoft.com/office/drawing/2014/main" id="{6E029F66-F782-40A1-AEB0-ECD3874E25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3452813"/>
                <a:ext cx="269875" cy="776288"/>
              </a:xfrm>
              <a:custGeom>
                <a:avLst/>
                <a:gdLst>
                  <a:gd name="T0" fmla="*/ 3 w 72"/>
                  <a:gd name="T1" fmla="*/ 153 h 207"/>
                  <a:gd name="T2" fmla="*/ 3 w 72"/>
                  <a:gd name="T3" fmla="*/ 157 h 207"/>
                  <a:gd name="T4" fmla="*/ 3 w 72"/>
                  <a:gd name="T5" fmla="*/ 159 h 207"/>
                  <a:gd name="T6" fmla="*/ 3 w 72"/>
                  <a:gd name="T7" fmla="*/ 165 h 207"/>
                  <a:gd name="T8" fmla="*/ 3 w 72"/>
                  <a:gd name="T9" fmla="*/ 167 h 207"/>
                  <a:gd name="T10" fmla="*/ 2 w 72"/>
                  <a:gd name="T11" fmla="*/ 172 h 207"/>
                  <a:gd name="T12" fmla="*/ 2 w 72"/>
                  <a:gd name="T13" fmla="*/ 174 h 207"/>
                  <a:gd name="T14" fmla="*/ 2 w 72"/>
                  <a:gd name="T15" fmla="*/ 180 h 207"/>
                  <a:gd name="T16" fmla="*/ 2 w 72"/>
                  <a:gd name="T17" fmla="*/ 182 h 207"/>
                  <a:gd name="T18" fmla="*/ 1 w 72"/>
                  <a:gd name="T19" fmla="*/ 189 h 207"/>
                  <a:gd name="T20" fmla="*/ 1 w 72"/>
                  <a:gd name="T21" fmla="*/ 191 h 207"/>
                  <a:gd name="T22" fmla="*/ 1 w 72"/>
                  <a:gd name="T23" fmla="*/ 197 h 207"/>
                  <a:gd name="T24" fmla="*/ 1 w 72"/>
                  <a:gd name="T25" fmla="*/ 199 h 207"/>
                  <a:gd name="T26" fmla="*/ 0 w 72"/>
                  <a:gd name="T27" fmla="*/ 207 h 207"/>
                  <a:gd name="T28" fmla="*/ 0 w 72"/>
                  <a:gd name="T29" fmla="*/ 207 h 207"/>
                  <a:gd name="T30" fmla="*/ 67 w 72"/>
                  <a:gd name="T31" fmla="*/ 60 h 207"/>
                  <a:gd name="T32" fmla="*/ 72 w 72"/>
                  <a:gd name="T33" fmla="*/ 44 h 207"/>
                  <a:gd name="T34" fmla="*/ 60 w 72"/>
                  <a:gd name="T35" fmla="*/ 35 h 207"/>
                  <a:gd name="T36" fmla="*/ 31 w 72"/>
                  <a:gd name="T37" fmla="*/ 0 h 207"/>
                  <a:gd name="T38" fmla="*/ 15 w 72"/>
                  <a:gd name="T39" fmla="*/ 12 h 207"/>
                  <a:gd name="T40" fmla="*/ 28 w 72"/>
                  <a:gd name="T41" fmla="*/ 52 h 207"/>
                  <a:gd name="T42" fmla="*/ 30 w 72"/>
                  <a:gd name="T43" fmla="*/ 107 h 207"/>
                  <a:gd name="T44" fmla="*/ 4 w 72"/>
                  <a:gd name="T45" fmla="*/ 135 h 207"/>
                  <a:gd name="T46" fmla="*/ 4 w 72"/>
                  <a:gd name="T47" fmla="*/ 146 h 207"/>
                  <a:gd name="T48" fmla="*/ 3 w 72"/>
                  <a:gd name="T49" fmla="*/ 151 h 207"/>
                  <a:gd name="T50" fmla="*/ 3 w 72"/>
                  <a:gd name="T51" fmla="*/ 153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2" h="207">
                    <a:moveTo>
                      <a:pt x="3" y="153"/>
                    </a:moveTo>
                    <a:cubicBezTo>
                      <a:pt x="3" y="154"/>
                      <a:pt x="3" y="156"/>
                      <a:pt x="3" y="157"/>
                    </a:cubicBezTo>
                    <a:cubicBezTo>
                      <a:pt x="3" y="158"/>
                      <a:pt x="3" y="158"/>
                      <a:pt x="3" y="159"/>
                    </a:cubicBezTo>
                    <a:cubicBezTo>
                      <a:pt x="3" y="161"/>
                      <a:pt x="3" y="163"/>
                      <a:pt x="3" y="165"/>
                    </a:cubicBezTo>
                    <a:cubicBezTo>
                      <a:pt x="3" y="166"/>
                      <a:pt x="3" y="167"/>
                      <a:pt x="3" y="167"/>
                    </a:cubicBezTo>
                    <a:cubicBezTo>
                      <a:pt x="2" y="169"/>
                      <a:pt x="2" y="170"/>
                      <a:pt x="2" y="172"/>
                    </a:cubicBezTo>
                    <a:cubicBezTo>
                      <a:pt x="2" y="173"/>
                      <a:pt x="2" y="173"/>
                      <a:pt x="2" y="174"/>
                    </a:cubicBezTo>
                    <a:cubicBezTo>
                      <a:pt x="2" y="176"/>
                      <a:pt x="2" y="178"/>
                      <a:pt x="2" y="180"/>
                    </a:cubicBezTo>
                    <a:cubicBezTo>
                      <a:pt x="2" y="181"/>
                      <a:pt x="2" y="181"/>
                      <a:pt x="2" y="182"/>
                    </a:cubicBezTo>
                    <a:cubicBezTo>
                      <a:pt x="2" y="184"/>
                      <a:pt x="2" y="186"/>
                      <a:pt x="1" y="189"/>
                    </a:cubicBezTo>
                    <a:cubicBezTo>
                      <a:pt x="1" y="189"/>
                      <a:pt x="1" y="190"/>
                      <a:pt x="1" y="191"/>
                    </a:cubicBezTo>
                    <a:cubicBezTo>
                      <a:pt x="1" y="193"/>
                      <a:pt x="1" y="195"/>
                      <a:pt x="1" y="197"/>
                    </a:cubicBezTo>
                    <a:cubicBezTo>
                      <a:pt x="1" y="198"/>
                      <a:pt x="1" y="198"/>
                      <a:pt x="1" y="199"/>
                    </a:cubicBezTo>
                    <a:cubicBezTo>
                      <a:pt x="1" y="202"/>
                      <a:pt x="0" y="204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18" y="170"/>
                      <a:pt x="52" y="96"/>
                      <a:pt x="67" y="60"/>
                    </a:cubicBezTo>
                    <a:cubicBezTo>
                      <a:pt x="69" y="55"/>
                      <a:pt x="70" y="50"/>
                      <a:pt x="72" y="44"/>
                    </a:cubicBezTo>
                    <a:cubicBezTo>
                      <a:pt x="67" y="41"/>
                      <a:pt x="62" y="38"/>
                      <a:pt x="60" y="35"/>
                    </a:cubicBezTo>
                    <a:cubicBezTo>
                      <a:pt x="55" y="25"/>
                      <a:pt x="31" y="0"/>
                      <a:pt x="31" y="0"/>
                    </a:cubicBezTo>
                    <a:cubicBezTo>
                      <a:pt x="31" y="0"/>
                      <a:pt x="15" y="5"/>
                      <a:pt x="15" y="12"/>
                    </a:cubicBezTo>
                    <a:cubicBezTo>
                      <a:pt x="15" y="19"/>
                      <a:pt x="19" y="37"/>
                      <a:pt x="28" y="52"/>
                    </a:cubicBezTo>
                    <a:cubicBezTo>
                      <a:pt x="38" y="67"/>
                      <a:pt x="30" y="107"/>
                      <a:pt x="30" y="107"/>
                    </a:cubicBezTo>
                    <a:cubicBezTo>
                      <a:pt x="30" y="107"/>
                      <a:pt x="6" y="107"/>
                      <a:pt x="4" y="135"/>
                    </a:cubicBezTo>
                    <a:cubicBezTo>
                      <a:pt x="4" y="137"/>
                      <a:pt x="4" y="141"/>
                      <a:pt x="4" y="146"/>
                    </a:cubicBezTo>
                    <a:cubicBezTo>
                      <a:pt x="4" y="148"/>
                      <a:pt x="3" y="149"/>
                      <a:pt x="3" y="151"/>
                    </a:cubicBezTo>
                    <a:cubicBezTo>
                      <a:pt x="3" y="152"/>
                      <a:pt x="3" y="152"/>
                      <a:pt x="3" y="153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62">
                <a:extLst>
                  <a:ext uri="{FF2B5EF4-FFF2-40B4-BE49-F238E27FC236}">
                    <a16:creationId xmlns:a16="http://schemas.microsoft.com/office/drawing/2014/main" id="{417A5E5E-6FBE-438C-9DC5-E54A4A0B84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276" y="3636963"/>
                <a:ext cx="2362200" cy="2573338"/>
              </a:xfrm>
              <a:custGeom>
                <a:avLst/>
                <a:gdLst>
                  <a:gd name="T0" fmla="*/ 103 w 630"/>
                  <a:gd name="T1" fmla="*/ 614 h 686"/>
                  <a:gd name="T2" fmla="*/ 250 w 630"/>
                  <a:gd name="T3" fmla="*/ 392 h 686"/>
                  <a:gd name="T4" fmla="*/ 294 w 630"/>
                  <a:gd name="T5" fmla="*/ 263 h 686"/>
                  <a:gd name="T6" fmla="*/ 434 w 630"/>
                  <a:gd name="T7" fmla="*/ 283 h 686"/>
                  <a:gd name="T8" fmla="*/ 626 w 630"/>
                  <a:gd name="T9" fmla="*/ 267 h 686"/>
                  <a:gd name="T10" fmla="*/ 608 w 630"/>
                  <a:gd name="T11" fmla="*/ 231 h 686"/>
                  <a:gd name="T12" fmla="*/ 403 w 630"/>
                  <a:gd name="T13" fmla="*/ 99 h 686"/>
                  <a:gd name="T14" fmla="*/ 280 w 630"/>
                  <a:gd name="T15" fmla="*/ 0 h 686"/>
                  <a:gd name="T16" fmla="*/ 199 w 630"/>
                  <a:gd name="T17" fmla="*/ 178 h 686"/>
                  <a:gd name="T18" fmla="*/ 190 w 630"/>
                  <a:gd name="T19" fmla="*/ 306 h 686"/>
                  <a:gd name="T20" fmla="*/ 103 w 630"/>
                  <a:gd name="T21" fmla="*/ 372 h 686"/>
                  <a:gd name="T22" fmla="*/ 99 w 630"/>
                  <a:gd name="T23" fmla="*/ 376 h 686"/>
                  <a:gd name="T24" fmla="*/ 91 w 630"/>
                  <a:gd name="T25" fmla="*/ 384 h 686"/>
                  <a:gd name="T26" fmla="*/ 84 w 630"/>
                  <a:gd name="T27" fmla="*/ 390 h 686"/>
                  <a:gd name="T28" fmla="*/ 81 w 630"/>
                  <a:gd name="T29" fmla="*/ 393 h 686"/>
                  <a:gd name="T30" fmla="*/ 77 w 630"/>
                  <a:gd name="T31" fmla="*/ 396 h 686"/>
                  <a:gd name="T32" fmla="*/ 75 w 630"/>
                  <a:gd name="T33" fmla="*/ 399 h 686"/>
                  <a:gd name="T34" fmla="*/ 73 w 630"/>
                  <a:gd name="T35" fmla="*/ 401 h 686"/>
                  <a:gd name="T36" fmla="*/ 70 w 630"/>
                  <a:gd name="T37" fmla="*/ 404 h 686"/>
                  <a:gd name="T38" fmla="*/ 69 w 630"/>
                  <a:gd name="T39" fmla="*/ 406 h 686"/>
                  <a:gd name="T40" fmla="*/ 67 w 630"/>
                  <a:gd name="T41" fmla="*/ 408 h 686"/>
                  <a:gd name="T42" fmla="*/ 64 w 630"/>
                  <a:gd name="T43" fmla="*/ 411 h 686"/>
                  <a:gd name="T44" fmla="*/ 63 w 630"/>
                  <a:gd name="T45" fmla="*/ 413 h 686"/>
                  <a:gd name="T46" fmla="*/ 62 w 630"/>
                  <a:gd name="T47" fmla="*/ 414 h 686"/>
                  <a:gd name="T48" fmla="*/ 60 w 630"/>
                  <a:gd name="T49" fmla="*/ 416 h 686"/>
                  <a:gd name="T50" fmla="*/ 59 w 630"/>
                  <a:gd name="T51" fmla="*/ 418 h 686"/>
                  <a:gd name="T52" fmla="*/ 58 w 630"/>
                  <a:gd name="T53" fmla="*/ 420 h 686"/>
                  <a:gd name="T54" fmla="*/ 58 w 630"/>
                  <a:gd name="T55" fmla="*/ 420 h 686"/>
                  <a:gd name="T56" fmla="*/ 57 w 630"/>
                  <a:gd name="T57" fmla="*/ 423 h 686"/>
                  <a:gd name="T58" fmla="*/ 57 w 630"/>
                  <a:gd name="T59" fmla="*/ 426 h 686"/>
                  <a:gd name="T60" fmla="*/ 57 w 630"/>
                  <a:gd name="T61" fmla="*/ 429 h 686"/>
                  <a:gd name="T62" fmla="*/ 56 w 630"/>
                  <a:gd name="T63" fmla="*/ 432 h 686"/>
                  <a:gd name="T64" fmla="*/ 56 w 630"/>
                  <a:gd name="T65" fmla="*/ 436 h 686"/>
                  <a:gd name="T66" fmla="*/ 55 w 630"/>
                  <a:gd name="T67" fmla="*/ 441 h 686"/>
                  <a:gd name="T68" fmla="*/ 54 w 630"/>
                  <a:gd name="T69" fmla="*/ 451 h 686"/>
                  <a:gd name="T70" fmla="*/ 53 w 630"/>
                  <a:gd name="T71" fmla="*/ 462 h 686"/>
                  <a:gd name="T72" fmla="*/ 47 w 630"/>
                  <a:gd name="T73" fmla="*/ 506 h 686"/>
                  <a:gd name="T74" fmla="*/ 11 w 630"/>
                  <a:gd name="T75" fmla="*/ 638 h 686"/>
                  <a:gd name="T76" fmla="*/ 0 w 630"/>
                  <a:gd name="T77" fmla="*/ 686 h 686"/>
                  <a:gd name="T78" fmla="*/ 60 w 630"/>
                  <a:gd name="T79" fmla="*/ 686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30" h="686">
                    <a:moveTo>
                      <a:pt x="60" y="686"/>
                    </a:moveTo>
                    <a:cubicBezTo>
                      <a:pt x="64" y="678"/>
                      <a:pt x="85" y="641"/>
                      <a:pt x="103" y="614"/>
                    </a:cubicBezTo>
                    <a:cubicBezTo>
                      <a:pt x="123" y="583"/>
                      <a:pt x="231" y="438"/>
                      <a:pt x="231" y="438"/>
                    </a:cubicBezTo>
                    <a:cubicBezTo>
                      <a:pt x="242" y="402"/>
                      <a:pt x="246" y="399"/>
                      <a:pt x="250" y="392"/>
                    </a:cubicBezTo>
                    <a:cubicBezTo>
                      <a:pt x="254" y="386"/>
                      <a:pt x="274" y="343"/>
                      <a:pt x="274" y="343"/>
                    </a:cubicBezTo>
                    <a:cubicBezTo>
                      <a:pt x="291" y="316"/>
                      <a:pt x="291" y="267"/>
                      <a:pt x="294" y="263"/>
                    </a:cubicBezTo>
                    <a:cubicBezTo>
                      <a:pt x="296" y="259"/>
                      <a:pt x="316" y="264"/>
                      <a:pt x="316" y="264"/>
                    </a:cubicBezTo>
                    <a:cubicBezTo>
                      <a:pt x="367" y="288"/>
                      <a:pt x="378" y="291"/>
                      <a:pt x="434" y="283"/>
                    </a:cubicBezTo>
                    <a:cubicBezTo>
                      <a:pt x="490" y="275"/>
                      <a:pt x="570" y="260"/>
                      <a:pt x="580" y="260"/>
                    </a:cubicBezTo>
                    <a:cubicBezTo>
                      <a:pt x="591" y="260"/>
                      <a:pt x="622" y="275"/>
                      <a:pt x="626" y="267"/>
                    </a:cubicBezTo>
                    <a:cubicBezTo>
                      <a:pt x="628" y="263"/>
                      <a:pt x="629" y="255"/>
                      <a:pt x="630" y="244"/>
                    </a:cubicBezTo>
                    <a:cubicBezTo>
                      <a:pt x="621" y="239"/>
                      <a:pt x="614" y="234"/>
                      <a:pt x="608" y="231"/>
                    </a:cubicBezTo>
                    <a:cubicBezTo>
                      <a:pt x="583" y="216"/>
                      <a:pt x="559" y="188"/>
                      <a:pt x="536" y="178"/>
                    </a:cubicBezTo>
                    <a:cubicBezTo>
                      <a:pt x="514" y="167"/>
                      <a:pt x="438" y="126"/>
                      <a:pt x="403" y="99"/>
                    </a:cubicBezTo>
                    <a:cubicBezTo>
                      <a:pt x="368" y="72"/>
                      <a:pt x="320" y="31"/>
                      <a:pt x="307" y="18"/>
                    </a:cubicBezTo>
                    <a:cubicBezTo>
                      <a:pt x="300" y="11"/>
                      <a:pt x="289" y="5"/>
                      <a:pt x="280" y="0"/>
                    </a:cubicBezTo>
                    <a:cubicBezTo>
                      <a:pt x="241" y="104"/>
                      <a:pt x="213" y="151"/>
                      <a:pt x="208" y="160"/>
                    </a:cubicBezTo>
                    <a:cubicBezTo>
                      <a:pt x="206" y="162"/>
                      <a:pt x="203" y="169"/>
                      <a:pt x="199" y="178"/>
                    </a:cubicBezTo>
                    <a:cubicBezTo>
                      <a:pt x="197" y="217"/>
                      <a:pt x="194" y="254"/>
                      <a:pt x="191" y="264"/>
                    </a:cubicBezTo>
                    <a:cubicBezTo>
                      <a:pt x="186" y="284"/>
                      <a:pt x="190" y="306"/>
                      <a:pt x="190" y="306"/>
                    </a:cubicBezTo>
                    <a:cubicBezTo>
                      <a:pt x="190" y="306"/>
                      <a:pt x="131" y="350"/>
                      <a:pt x="119" y="359"/>
                    </a:cubicBezTo>
                    <a:cubicBezTo>
                      <a:pt x="116" y="361"/>
                      <a:pt x="110" y="366"/>
                      <a:pt x="103" y="372"/>
                    </a:cubicBezTo>
                    <a:cubicBezTo>
                      <a:pt x="101" y="374"/>
                      <a:pt x="100" y="375"/>
                      <a:pt x="99" y="376"/>
                    </a:cubicBezTo>
                    <a:cubicBezTo>
                      <a:pt x="99" y="376"/>
                      <a:pt x="99" y="376"/>
                      <a:pt x="99" y="376"/>
                    </a:cubicBezTo>
                    <a:cubicBezTo>
                      <a:pt x="96" y="378"/>
                      <a:pt x="94" y="380"/>
                      <a:pt x="92" y="382"/>
                    </a:cubicBezTo>
                    <a:cubicBezTo>
                      <a:pt x="92" y="383"/>
                      <a:pt x="91" y="383"/>
                      <a:pt x="91" y="384"/>
                    </a:cubicBezTo>
                    <a:cubicBezTo>
                      <a:pt x="88" y="386"/>
                      <a:pt x="86" y="388"/>
                      <a:pt x="84" y="390"/>
                    </a:cubicBezTo>
                    <a:cubicBezTo>
                      <a:pt x="84" y="390"/>
                      <a:pt x="84" y="390"/>
                      <a:pt x="84" y="390"/>
                    </a:cubicBezTo>
                    <a:cubicBezTo>
                      <a:pt x="83" y="390"/>
                      <a:pt x="83" y="391"/>
                      <a:pt x="83" y="391"/>
                    </a:cubicBezTo>
                    <a:cubicBezTo>
                      <a:pt x="82" y="392"/>
                      <a:pt x="81" y="392"/>
                      <a:pt x="81" y="393"/>
                    </a:cubicBezTo>
                    <a:cubicBezTo>
                      <a:pt x="80" y="394"/>
                      <a:pt x="80" y="394"/>
                      <a:pt x="79" y="395"/>
                    </a:cubicBezTo>
                    <a:cubicBezTo>
                      <a:pt x="78" y="395"/>
                      <a:pt x="78" y="396"/>
                      <a:pt x="77" y="396"/>
                    </a:cubicBezTo>
                    <a:cubicBezTo>
                      <a:pt x="77" y="397"/>
                      <a:pt x="76" y="397"/>
                      <a:pt x="76" y="398"/>
                    </a:cubicBezTo>
                    <a:cubicBezTo>
                      <a:pt x="76" y="398"/>
                      <a:pt x="75" y="399"/>
                      <a:pt x="75" y="399"/>
                    </a:cubicBezTo>
                    <a:cubicBezTo>
                      <a:pt x="74" y="400"/>
                      <a:pt x="74" y="400"/>
                      <a:pt x="73" y="401"/>
                    </a:cubicBezTo>
                    <a:cubicBezTo>
                      <a:pt x="73" y="401"/>
                      <a:pt x="73" y="401"/>
                      <a:pt x="73" y="401"/>
                    </a:cubicBezTo>
                    <a:cubicBezTo>
                      <a:pt x="72" y="402"/>
                      <a:pt x="72" y="402"/>
                      <a:pt x="72" y="403"/>
                    </a:cubicBezTo>
                    <a:cubicBezTo>
                      <a:pt x="71" y="403"/>
                      <a:pt x="70" y="404"/>
                      <a:pt x="70" y="404"/>
                    </a:cubicBezTo>
                    <a:cubicBezTo>
                      <a:pt x="70" y="405"/>
                      <a:pt x="69" y="405"/>
                      <a:pt x="69" y="405"/>
                    </a:cubicBezTo>
                    <a:cubicBezTo>
                      <a:pt x="69" y="405"/>
                      <a:pt x="69" y="405"/>
                      <a:pt x="69" y="406"/>
                    </a:cubicBezTo>
                    <a:cubicBezTo>
                      <a:pt x="68" y="406"/>
                      <a:pt x="68" y="407"/>
                      <a:pt x="67" y="407"/>
                    </a:cubicBezTo>
                    <a:cubicBezTo>
                      <a:pt x="67" y="408"/>
                      <a:pt x="67" y="408"/>
                      <a:pt x="67" y="408"/>
                    </a:cubicBezTo>
                    <a:cubicBezTo>
                      <a:pt x="67" y="408"/>
                      <a:pt x="67" y="408"/>
                      <a:pt x="66" y="408"/>
                    </a:cubicBezTo>
                    <a:cubicBezTo>
                      <a:pt x="66" y="409"/>
                      <a:pt x="65" y="410"/>
                      <a:pt x="64" y="411"/>
                    </a:cubicBezTo>
                    <a:cubicBezTo>
                      <a:pt x="64" y="411"/>
                      <a:pt x="64" y="411"/>
                      <a:pt x="64" y="411"/>
                    </a:cubicBezTo>
                    <a:cubicBezTo>
                      <a:pt x="63" y="412"/>
                      <a:pt x="63" y="412"/>
                      <a:pt x="63" y="413"/>
                    </a:cubicBezTo>
                    <a:cubicBezTo>
                      <a:pt x="62" y="413"/>
                      <a:pt x="62" y="413"/>
                      <a:pt x="62" y="414"/>
                    </a:cubicBezTo>
                    <a:cubicBezTo>
                      <a:pt x="62" y="414"/>
                      <a:pt x="62" y="414"/>
                      <a:pt x="62" y="414"/>
                    </a:cubicBezTo>
                    <a:cubicBezTo>
                      <a:pt x="62" y="414"/>
                      <a:pt x="61" y="415"/>
                      <a:pt x="61" y="415"/>
                    </a:cubicBezTo>
                    <a:cubicBezTo>
                      <a:pt x="61" y="416"/>
                      <a:pt x="61" y="416"/>
                      <a:pt x="60" y="416"/>
                    </a:cubicBezTo>
                    <a:cubicBezTo>
                      <a:pt x="60" y="417"/>
                      <a:pt x="60" y="417"/>
                      <a:pt x="59" y="418"/>
                    </a:cubicBezTo>
                    <a:cubicBezTo>
                      <a:pt x="59" y="418"/>
                      <a:pt x="59" y="418"/>
                      <a:pt x="59" y="418"/>
                    </a:cubicBezTo>
                    <a:cubicBezTo>
                      <a:pt x="59" y="418"/>
                      <a:pt x="59" y="418"/>
                      <a:pt x="59" y="418"/>
                    </a:cubicBezTo>
                    <a:cubicBezTo>
                      <a:pt x="59" y="419"/>
                      <a:pt x="58" y="419"/>
                      <a:pt x="58" y="420"/>
                    </a:cubicBezTo>
                    <a:cubicBezTo>
                      <a:pt x="58" y="420"/>
                      <a:pt x="58" y="420"/>
                      <a:pt x="58" y="420"/>
                    </a:cubicBezTo>
                    <a:cubicBezTo>
                      <a:pt x="58" y="420"/>
                      <a:pt x="58" y="420"/>
                      <a:pt x="58" y="420"/>
                    </a:cubicBezTo>
                    <a:cubicBezTo>
                      <a:pt x="58" y="421"/>
                      <a:pt x="58" y="421"/>
                      <a:pt x="58" y="422"/>
                    </a:cubicBezTo>
                    <a:cubicBezTo>
                      <a:pt x="57" y="422"/>
                      <a:pt x="57" y="423"/>
                      <a:pt x="57" y="423"/>
                    </a:cubicBezTo>
                    <a:cubicBezTo>
                      <a:pt x="57" y="424"/>
                      <a:pt x="57" y="424"/>
                      <a:pt x="57" y="424"/>
                    </a:cubicBezTo>
                    <a:cubicBezTo>
                      <a:pt x="57" y="424"/>
                      <a:pt x="57" y="425"/>
                      <a:pt x="57" y="426"/>
                    </a:cubicBezTo>
                    <a:cubicBezTo>
                      <a:pt x="57" y="426"/>
                      <a:pt x="57" y="427"/>
                      <a:pt x="57" y="427"/>
                    </a:cubicBezTo>
                    <a:cubicBezTo>
                      <a:pt x="57" y="427"/>
                      <a:pt x="57" y="428"/>
                      <a:pt x="57" y="429"/>
                    </a:cubicBezTo>
                    <a:cubicBezTo>
                      <a:pt x="56" y="429"/>
                      <a:pt x="56" y="430"/>
                      <a:pt x="56" y="430"/>
                    </a:cubicBezTo>
                    <a:cubicBezTo>
                      <a:pt x="56" y="431"/>
                      <a:pt x="56" y="431"/>
                      <a:pt x="56" y="432"/>
                    </a:cubicBezTo>
                    <a:cubicBezTo>
                      <a:pt x="56" y="433"/>
                      <a:pt x="56" y="433"/>
                      <a:pt x="56" y="433"/>
                    </a:cubicBezTo>
                    <a:cubicBezTo>
                      <a:pt x="56" y="434"/>
                      <a:pt x="56" y="435"/>
                      <a:pt x="56" y="436"/>
                    </a:cubicBezTo>
                    <a:cubicBezTo>
                      <a:pt x="56" y="436"/>
                      <a:pt x="56" y="437"/>
                      <a:pt x="56" y="437"/>
                    </a:cubicBezTo>
                    <a:cubicBezTo>
                      <a:pt x="56" y="438"/>
                      <a:pt x="55" y="440"/>
                      <a:pt x="55" y="441"/>
                    </a:cubicBezTo>
                    <a:cubicBezTo>
                      <a:pt x="55" y="441"/>
                      <a:pt x="55" y="441"/>
                      <a:pt x="55" y="441"/>
                    </a:cubicBezTo>
                    <a:cubicBezTo>
                      <a:pt x="55" y="444"/>
                      <a:pt x="55" y="447"/>
                      <a:pt x="54" y="451"/>
                    </a:cubicBezTo>
                    <a:cubicBezTo>
                      <a:pt x="54" y="454"/>
                      <a:pt x="54" y="458"/>
                      <a:pt x="53" y="462"/>
                    </a:cubicBezTo>
                    <a:cubicBezTo>
                      <a:pt x="53" y="462"/>
                      <a:pt x="53" y="462"/>
                      <a:pt x="53" y="462"/>
                    </a:cubicBezTo>
                    <a:cubicBezTo>
                      <a:pt x="53" y="466"/>
                      <a:pt x="53" y="471"/>
                      <a:pt x="52" y="475"/>
                    </a:cubicBezTo>
                    <a:cubicBezTo>
                      <a:pt x="51" y="487"/>
                      <a:pt x="49" y="498"/>
                      <a:pt x="47" y="506"/>
                    </a:cubicBezTo>
                    <a:cubicBezTo>
                      <a:pt x="46" y="510"/>
                      <a:pt x="45" y="513"/>
                      <a:pt x="44" y="515"/>
                    </a:cubicBezTo>
                    <a:cubicBezTo>
                      <a:pt x="36" y="528"/>
                      <a:pt x="8" y="596"/>
                      <a:pt x="11" y="638"/>
                    </a:cubicBezTo>
                    <a:cubicBezTo>
                      <a:pt x="11" y="638"/>
                      <a:pt x="8" y="663"/>
                      <a:pt x="4" y="667"/>
                    </a:cubicBezTo>
                    <a:cubicBezTo>
                      <a:pt x="0" y="671"/>
                      <a:pt x="0" y="686"/>
                      <a:pt x="0" y="686"/>
                    </a:cubicBezTo>
                    <a:cubicBezTo>
                      <a:pt x="18" y="686"/>
                      <a:pt x="18" y="686"/>
                      <a:pt x="18" y="686"/>
                    </a:cubicBezTo>
                    <a:lnTo>
                      <a:pt x="60" y="686"/>
                    </a:ln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63">
                <a:extLst>
                  <a:ext uri="{FF2B5EF4-FFF2-40B4-BE49-F238E27FC236}">
                    <a16:creationId xmlns:a16="http://schemas.microsoft.com/office/drawing/2014/main" id="{C3147B24-7C8A-45F6-BE70-6F86046192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08538" y="5418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64">
                <a:extLst>
                  <a:ext uri="{FF2B5EF4-FFF2-40B4-BE49-F238E27FC236}">
                    <a16:creationId xmlns:a16="http://schemas.microsoft.com/office/drawing/2014/main" id="{ECC2FB6E-B065-493F-B0EB-D41F35FF1D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4588" y="5068888"/>
                <a:ext cx="3175" cy="7938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65">
                <a:extLst>
                  <a:ext uri="{FF2B5EF4-FFF2-40B4-BE49-F238E27FC236}">
                    <a16:creationId xmlns:a16="http://schemas.microsoft.com/office/drawing/2014/main" id="{DC81AAB8-092A-4EB8-9589-7F607686E8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7601" y="3182938"/>
                <a:ext cx="855663" cy="1916113"/>
              </a:xfrm>
              <a:custGeom>
                <a:avLst/>
                <a:gdLst>
                  <a:gd name="T0" fmla="*/ 212 w 228"/>
                  <a:gd name="T1" fmla="*/ 16 h 511"/>
                  <a:gd name="T2" fmla="*/ 195 w 228"/>
                  <a:gd name="T3" fmla="*/ 92 h 511"/>
                  <a:gd name="T4" fmla="*/ 188 w 228"/>
                  <a:gd name="T5" fmla="*/ 116 h 511"/>
                  <a:gd name="T6" fmla="*/ 183 w 228"/>
                  <a:gd name="T7" fmla="*/ 132 h 511"/>
                  <a:gd name="T8" fmla="*/ 116 w 228"/>
                  <a:gd name="T9" fmla="*/ 279 h 511"/>
                  <a:gd name="T10" fmla="*/ 107 w 228"/>
                  <a:gd name="T11" fmla="*/ 298 h 511"/>
                  <a:gd name="T12" fmla="*/ 53 w 228"/>
                  <a:gd name="T13" fmla="*/ 420 h 511"/>
                  <a:gd name="T14" fmla="*/ 13 w 228"/>
                  <a:gd name="T15" fmla="*/ 489 h 511"/>
                  <a:gd name="T16" fmla="*/ 0 w 228"/>
                  <a:gd name="T17" fmla="*/ 511 h 511"/>
                  <a:gd name="T18" fmla="*/ 7 w 228"/>
                  <a:gd name="T19" fmla="*/ 505 h 511"/>
                  <a:gd name="T20" fmla="*/ 8 w 228"/>
                  <a:gd name="T21" fmla="*/ 503 h 511"/>
                  <a:gd name="T22" fmla="*/ 15 w 228"/>
                  <a:gd name="T23" fmla="*/ 497 h 511"/>
                  <a:gd name="T24" fmla="*/ 15 w 228"/>
                  <a:gd name="T25" fmla="*/ 497 h 511"/>
                  <a:gd name="T26" fmla="*/ 19 w 228"/>
                  <a:gd name="T27" fmla="*/ 493 h 511"/>
                  <a:gd name="T28" fmla="*/ 19 w 228"/>
                  <a:gd name="T29" fmla="*/ 493 h 511"/>
                  <a:gd name="T30" fmla="*/ 25 w 228"/>
                  <a:gd name="T31" fmla="*/ 485 h 511"/>
                  <a:gd name="T32" fmla="*/ 68 w 228"/>
                  <a:gd name="T33" fmla="*/ 407 h 511"/>
                  <a:gd name="T34" fmla="*/ 115 w 228"/>
                  <a:gd name="T35" fmla="*/ 299 h 511"/>
                  <a:gd name="T36" fmla="*/ 124 w 228"/>
                  <a:gd name="T37" fmla="*/ 281 h 511"/>
                  <a:gd name="T38" fmla="*/ 196 w 228"/>
                  <a:gd name="T39" fmla="*/ 121 h 511"/>
                  <a:gd name="T40" fmla="*/ 203 w 228"/>
                  <a:gd name="T41" fmla="*/ 99 h 511"/>
                  <a:gd name="T42" fmla="*/ 206 w 228"/>
                  <a:gd name="T43" fmla="*/ 93 h 511"/>
                  <a:gd name="T44" fmla="*/ 228 w 228"/>
                  <a:gd name="T45" fmla="*/ 0 h 511"/>
                  <a:gd name="T46" fmla="*/ 212 w 228"/>
                  <a:gd name="T47" fmla="*/ 16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8" h="511">
                    <a:moveTo>
                      <a:pt x="212" y="16"/>
                    </a:moveTo>
                    <a:cubicBezTo>
                      <a:pt x="208" y="34"/>
                      <a:pt x="203" y="64"/>
                      <a:pt x="195" y="92"/>
                    </a:cubicBezTo>
                    <a:cubicBezTo>
                      <a:pt x="193" y="101"/>
                      <a:pt x="191" y="109"/>
                      <a:pt x="188" y="116"/>
                    </a:cubicBezTo>
                    <a:cubicBezTo>
                      <a:pt x="186" y="122"/>
                      <a:pt x="185" y="127"/>
                      <a:pt x="183" y="132"/>
                    </a:cubicBezTo>
                    <a:cubicBezTo>
                      <a:pt x="168" y="168"/>
                      <a:pt x="134" y="242"/>
                      <a:pt x="116" y="279"/>
                    </a:cubicBezTo>
                    <a:cubicBezTo>
                      <a:pt x="112" y="288"/>
                      <a:pt x="109" y="295"/>
                      <a:pt x="107" y="298"/>
                    </a:cubicBezTo>
                    <a:cubicBezTo>
                      <a:pt x="107" y="298"/>
                      <a:pt x="86" y="333"/>
                      <a:pt x="53" y="420"/>
                    </a:cubicBezTo>
                    <a:cubicBezTo>
                      <a:pt x="13" y="489"/>
                      <a:pt x="13" y="489"/>
                      <a:pt x="13" y="489"/>
                    </a:cubicBezTo>
                    <a:cubicBezTo>
                      <a:pt x="13" y="489"/>
                      <a:pt x="8" y="496"/>
                      <a:pt x="0" y="511"/>
                    </a:cubicBezTo>
                    <a:cubicBezTo>
                      <a:pt x="2" y="509"/>
                      <a:pt x="4" y="507"/>
                      <a:pt x="7" y="505"/>
                    </a:cubicBezTo>
                    <a:cubicBezTo>
                      <a:pt x="7" y="504"/>
                      <a:pt x="8" y="504"/>
                      <a:pt x="8" y="503"/>
                    </a:cubicBezTo>
                    <a:cubicBezTo>
                      <a:pt x="10" y="501"/>
                      <a:pt x="12" y="499"/>
                      <a:pt x="15" y="497"/>
                    </a:cubicBezTo>
                    <a:cubicBezTo>
                      <a:pt x="15" y="497"/>
                      <a:pt x="15" y="497"/>
                      <a:pt x="15" y="497"/>
                    </a:cubicBezTo>
                    <a:cubicBezTo>
                      <a:pt x="16" y="496"/>
                      <a:pt x="17" y="495"/>
                      <a:pt x="19" y="493"/>
                    </a:cubicBezTo>
                    <a:cubicBezTo>
                      <a:pt x="19" y="493"/>
                      <a:pt x="19" y="493"/>
                      <a:pt x="19" y="493"/>
                    </a:cubicBezTo>
                    <a:cubicBezTo>
                      <a:pt x="21" y="490"/>
                      <a:pt x="23" y="488"/>
                      <a:pt x="25" y="485"/>
                    </a:cubicBezTo>
                    <a:cubicBezTo>
                      <a:pt x="57" y="439"/>
                      <a:pt x="68" y="407"/>
                      <a:pt x="68" y="407"/>
                    </a:cubicBezTo>
                    <a:cubicBezTo>
                      <a:pt x="68" y="407"/>
                      <a:pt x="99" y="334"/>
                      <a:pt x="115" y="299"/>
                    </a:cubicBezTo>
                    <a:cubicBezTo>
                      <a:pt x="119" y="290"/>
                      <a:pt x="122" y="283"/>
                      <a:pt x="124" y="281"/>
                    </a:cubicBezTo>
                    <a:cubicBezTo>
                      <a:pt x="129" y="272"/>
                      <a:pt x="157" y="225"/>
                      <a:pt x="196" y="121"/>
                    </a:cubicBezTo>
                    <a:cubicBezTo>
                      <a:pt x="198" y="114"/>
                      <a:pt x="201" y="107"/>
                      <a:pt x="203" y="99"/>
                    </a:cubicBezTo>
                    <a:cubicBezTo>
                      <a:pt x="204" y="97"/>
                      <a:pt x="205" y="95"/>
                      <a:pt x="206" y="93"/>
                    </a:cubicBezTo>
                    <a:cubicBezTo>
                      <a:pt x="214" y="71"/>
                      <a:pt x="223" y="24"/>
                      <a:pt x="228" y="0"/>
                    </a:cubicBezTo>
                    <a:cubicBezTo>
                      <a:pt x="223" y="5"/>
                      <a:pt x="217" y="10"/>
                      <a:pt x="212" y="16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66">
                <a:extLst>
                  <a:ext uri="{FF2B5EF4-FFF2-40B4-BE49-F238E27FC236}">
                    <a16:creationId xmlns:a16="http://schemas.microsoft.com/office/drawing/2014/main" id="{CC2C33F8-646C-4A2F-ABAF-3E9DF93C6F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84751" y="5032376"/>
                <a:ext cx="14288" cy="14288"/>
              </a:xfrm>
              <a:custGeom>
                <a:avLst/>
                <a:gdLst>
                  <a:gd name="T0" fmla="*/ 0 w 4"/>
                  <a:gd name="T1" fmla="*/ 4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1" y="3"/>
                      <a:pt x="2" y="2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67">
                <a:extLst>
                  <a:ext uri="{FF2B5EF4-FFF2-40B4-BE49-F238E27FC236}">
                    <a16:creationId xmlns:a16="http://schemas.microsoft.com/office/drawing/2014/main" id="{6E46BDB6-8963-457A-B2BA-65FFF2CF93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621" y="3214901"/>
                <a:ext cx="1034386" cy="792175"/>
              </a:xfrm>
              <a:custGeom>
                <a:avLst/>
                <a:gdLst>
                  <a:gd name="T0" fmla="*/ 281 w 281"/>
                  <a:gd name="T1" fmla="*/ 16 h 224"/>
                  <a:gd name="T2" fmla="*/ 269 w 281"/>
                  <a:gd name="T3" fmla="*/ 4 h 224"/>
                  <a:gd name="T4" fmla="*/ 242 w 281"/>
                  <a:gd name="T5" fmla="*/ 25 h 224"/>
                  <a:gd name="T6" fmla="*/ 222 w 281"/>
                  <a:gd name="T7" fmla="*/ 40 h 224"/>
                  <a:gd name="T8" fmla="*/ 152 w 281"/>
                  <a:gd name="T9" fmla="*/ 90 h 224"/>
                  <a:gd name="T10" fmla="*/ 98 w 281"/>
                  <a:gd name="T11" fmla="*/ 122 h 224"/>
                  <a:gd name="T12" fmla="*/ 82 w 281"/>
                  <a:gd name="T13" fmla="*/ 116 h 224"/>
                  <a:gd name="T14" fmla="*/ 25 w 281"/>
                  <a:gd name="T15" fmla="*/ 139 h 224"/>
                  <a:gd name="T16" fmla="*/ 9 w 281"/>
                  <a:gd name="T17" fmla="*/ 185 h 224"/>
                  <a:gd name="T18" fmla="*/ 66 w 281"/>
                  <a:gd name="T19" fmla="*/ 208 h 224"/>
                  <a:gd name="T20" fmla="*/ 114 w 281"/>
                  <a:gd name="T21" fmla="*/ 159 h 224"/>
                  <a:gd name="T22" fmla="*/ 113 w 281"/>
                  <a:gd name="T23" fmla="*/ 145 h 224"/>
                  <a:gd name="T24" fmla="*/ 196 w 281"/>
                  <a:gd name="T25" fmla="*/ 90 h 224"/>
                  <a:gd name="T26" fmla="*/ 216 w 281"/>
                  <a:gd name="T27" fmla="*/ 76 h 224"/>
                  <a:gd name="T28" fmla="*/ 244 w 281"/>
                  <a:gd name="T29" fmla="*/ 54 h 224"/>
                  <a:gd name="T30" fmla="*/ 245 w 281"/>
                  <a:gd name="T31" fmla="*/ 53 h 224"/>
                  <a:gd name="T32" fmla="*/ 273 w 281"/>
                  <a:gd name="T33" fmla="*/ 29 h 224"/>
                  <a:gd name="T34" fmla="*/ 280 w 281"/>
                  <a:gd name="T35" fmla="*/ 24 h 224"/>
                  <a:gd name="T36" fmla="*/ 281 w 281"/>
                  <a:gd name="T37" fmla="*/ 16 h 224"/>
                  <a:gd name="connsiteX0" fmla="*/ 9779 w 9779"/>
                  <a:gd name="connsiteY0" fmla="*/ 603 h 9416"/>
                  <a:gd name="connsiteX1" fmla="*/ 9352 w 9779"/>
                  <a:gd name="connsiteY1" fmla="*/ 68 h 9416"/>
                  <a:gd name="connsiteX2" fmla="*/ 8391 w 9779"/>
                  <a:gd name="connsiteY2" fmla="*/ 1005 h 9416"/>
                  <a:gd name="connsiteX3" fmla="*/ 7679 w 9779"/>
                  <a:gd name="connsiteY3" fmla="*/ 1675 h 9416"/>
                  <a:gd name="connsiteX4" fmla="*/ 5188 w 9779"/>
                  <a:gd name="connsiteY4" fmla="*/ 3907 h 9416"/>
                  <a:gd name="connsiteX5" fmla="*/ 3267 w 9779"/>
                  <a:gd name="connsiteY5" fmla="*/ 5335 h 9416"/>
                  <a:gd name="connsiteX6" fmla="*/ 2697 w 9779"/>
                  <a:gd name="connsiteY6" fmla="*/ 5068 h 9416"/>
                  <a:gd name="connsiteX7" fmla="*/ 669 w 9779"/>
                  <a:gd name="connsiteY7" fmla="*/ 6094 h 9416"/>
                  <a:gd name="connsiteX8" fmla="*/ 99 w 9779"/>
                  <a:gd name="connsiteY8" fmla="*/ 8148 h 9416"/>
                  <a:gd name="connsiteX9" fmla="*/ 2128 w 9779"/>
                  <a:gd name="connsiteY9" fmla="*/ 9175 h 9416"/>
                  <a:gd name="connsiteX10" fmla="*/ 3836 w 9779"/>
                  <a:gd name="connsiteY10" fmla="*/ 6987 h 9416"/>
                  <a:gd name="connsiteX11" fmla="*/ 3800 w 9779"/>
                  <a:gd name="connsiteY11" fmla="*/ 6362 h 9416"/>
                  <a:gd name="connsiteX12" fmla="*/ 6754 w 9779"/>
                  <a:gd name="connsiteY12" fmla="*/ 3907 h 9416"/>
                  <a:gd name="connsiteX13" fmla="*/ 7466 w 9779"/>
                  <a:gd name="connsiteY13" fmla="*/ 3282 h 9416"/>
                  <a:gd name="connsiteX14" fmla="*/ 8462 w 9779"/>
                  <a:gd name="connsiteY14" fmla="*/ 2300 h 9416"/>
                  <a:gd name="connsiteX15" fmla="*/ 8498 w 9779"/>
                  <a:gd name="connsiteY15" fmla="*/ 2255 h 9416"/>
                  <a:gd name="connsiteX16" fmla="*/ 9494 w 9779"/>
                  <a:gd name="connsiteY16" fmla="*/ 1184 h 9416"/>
                  <a:gd name="connsiteX17" fmla="*/ 9743 w 9779"/>
                  <a:gd name="connsiteY17" fmla="*/ 960 h 9416"/>
                  <a:gd name="connsiteX18" fmla="*/ 9779 w 9779"/>
                  <a:gd name="connsiteY18" fmla="*/ 603 h 9416"/>
                  <a:gd name="connsiteX0" fmla="*/ 10008 w 10008"/>
                  <a:gd name="connsiteY0" fmla="*/ 640 h 9812"/>
                  <a:gd name="connsiteX1" fmla="*/ 9571 w 10008"/>
                  <a:gd name="connsiteY1" fmla="*/ 72 h 9812"/>
                  <a:gd name="connsiteX2" fmla="*/ 8589 w 10008"/>
                  <a:gd name="connsiteY2" fmla="*/ 1067 h 9812"/>
                  <a:gd name="connsiteX3" fmla="*/ 7861 w 10008"/>
                  <a:gd name="connsiteY3" fmla="*/ 1779 h 9812"/>
                  <a:gd name="connsiteX4" fmla="*/ 5313 w 10008"/>
                  <a:gd name="connsiteY4" fmla="*/ 4149 h 9812"/>
                  <a:gd name="connsiteX5" fmla="*/ 3349 w 10008"/>
                  <a:gd name="connsiteY5" fmla="*/ 5666 h 9812"/>
                  <a:gd name="connsiteX6" fmla="*/ 2766 w 10008"/>
                  <a:gd name="connsiteY6" fmla="*/ 5382 h 9812"/>
                  <a:gd name="connsiteX7" fmla="*/ 692 w 10008"/>
                  <a:gd name="connsiteY7" fmla="*/ 6472 h 9812"/>
                  <a:gd name="connsiteX8" fmla="*/ 109 w 10008"/>
                  <a:gd name="connsiteY8" fmla="*/ 8834 h 9812"/>
                  <a:gd name="connsiteX9" fmla="*/ 2184 w 10008"/>
                  <a:gd name="connsiteY9" fmla="*/ 9744 h 9812"/>
                  <a:gd name="connsiteX10" fmla="*/ 3931 w 10008"/>
                  <a:gd name="connsiteY10" fmla="*/ 7420 h 9812"/>
                  <a:gd name="connsiteX11" fmla="*/ 3894 w 10008"/>
                  <a:gd name="connsiteY11" fmla="*/ 6757 h 9812"/>
                  <a:gd name="connsiteX12" fmla="*/ 6915 w 10008"/>
                  <a:gd name="connsiteY12" fmla="*/ 4149 h 9812"/>
                  <a:gd name="connsiteX13" fmla="*/ 7643 w 10008"/>
                  <a:gd name="connsiteY13" fmla="*/ 3486 h 9812"/>
                  <a:gd name="connsiteX14" fmla="*/ 8661 w 10008"/>
                  <a:gd name="connsiteY14" fmla="*/ 2443 h 9812"/>
                  <a:gd name="connsiteX15" fmla="*/ 8698 w 10008"/>
                  <a:gd name="connsiteY15" fmla="*/ 2395 h 9812"/>
                  <a:gd name="connsiteX16" fmla="*/ 9717 w 10008"/>
                  <a:gd name="connsiteY16" fmla="*/ 1257 h 9812"/>
                  <a:gd name="connsiteX17" fmla="*/ 9971 w 10008"/>
                  <a:gd name="connsiteY17" fmla="*/ 1020 h 9812"/>
                  <a:gd name="connsiteX18" fmla="*/ 10008 w 10008"/>
                  <a:gd name="connsiteY18" fmla="*/ 640 h 9812"/>
                  <a:gd name="connsiteX0" fmla="*/ 9946 w 9946"/>
                  <a:gd name="connsiteY0" fmla="*/ 579 h 9998"/>
                  <a:gd name="connsiteX1" fmla="*/ 9509 w 9946"/>
                  <a:gd name="connsiteY1" fmla="*/ 0 h 9998"/>
                  <a:gd name="connsiteX2" fmla="*/ 8528 w 9946"/>
                  <a:gd name="connsiteY2" fmla="*/ 1014 h 9998"/>
                  <a:gd name="connsiteX3" fmla="*/ 7801 w 9946"/>
                  <a:gd name="connsiteY3" fmla="*/ 1740 h 9998"/>
                  <a:gd name="connsiteX4" fmla="*/ 5255 w 9946"/>
                  <a:gd name="connsiteY4" fmla="*/ 4155 h 9998"/>
                  <a:gd name="connsiteX5" fmla="*/ 3292 w 9946"/>
                  <a:gd name="connsiteY5" fmla="*/ 5702 h 9998"/>
                  <a:gd name="connsiteX6" fmla="*/ 2710 w 9946"/>
                  <a:gd name="connsiteY6" fmla="*/ 5412 h 9998"/>
                  <a:gd name="connsiteX7" fmla="*/ 637 w 9946"/>
                  <a:gd name="connsiteY7" fmla="*/ 6523 h 9998"/>
                  <a:gd name="connsiteX8" fmla="*/ 55 w 9946"/>
                  <a:gd name="connsiteY8" fmla="*/ 8930 h 9998"/>
                  <a:gd name="connsiteX9" fmla="*/ 2128 w 9946"/>
                  <a:gd name="connsiteY9" fmla="*/ 9858 h 9998"/>
                  <a:gd name="connsiteX10" fmla="*/ 3874 w 9946"/>
                  <a:gd name="connsiteY10" fmla="*/ 7489 h 9998"/>
                  <a:gd name="connsiteX11" fmla="*/ 3837 w 9946"/>
                  <a:gd name="connsiteY11" fmla="*/ 6813 h 9998"/>
                  <a:gd name="connsiteX12" fmla="*/ 6855 w 9946"/>
                  <a:gd name="connsiteY12" fmla="*/ 4155 h 9998"/>
                  <a:gd name="connsiteX13" fmla="*/ 7583 w 9946"/>
                  <a:gd name="connsiteY13" fmla="*/ 3480 h 9998"/>
                  <a:gd name="connsiteX14" fmla="*/ 8600 w 9946"/>
                  <a:gd name="connsiteY14" fmla="*/ 2417 h 9998"/>
                  <a:gd name="connsiteX15" fmla="*/ 8637 w 9946"/>
                  <a:gd name="connsiteY15" fmla="*/ 2368 h 9998"/>
                  <a:gd name="connsiteX16" fmla="*/ 9655 w 9946"/>
                  <a:gd name="connsiteY16" fmla="*/ 1208 h 9998"/>
                  <a:gd name="connsiteX17" fmla="*/ 9909 w 9946"/>
                  <a:gd name="connsiteY17" fmla="*/ 967 h 9998"/>
                  <a:gd name="connsiteX18" fmla="*/ 9946 w 9946"/>
                  <a:gd name="connsiteY18" fmla="*/ 579 h 9998"/>
                  <a:gd name="connsiteX0" fmla="*/ 10042 w 10042"/>
                  <a:gd name="connsiteY0" fmla="*/ 579 h 9963"/>
                  <a:gd name="connsiteX1" fmla="*/ 9603 w 10042"/>
                  <a:gd name="connsiteY1" fmla="*/ 0 h 9963"/>
                  <a:gd name="connsiteX2" fmla="*/ 8616 w 10042"/>
                  <a:gd name="connsiteY2" fmla="*/ 1014 h 9963"/>
                  <a:gd name="connsiteX3" fmla="*/ 7885 w 10042"/>
                  <a:gd name="connsiteY3" fmla="*/ 1740 h 9963"/>
                  <a:gd name="connsiteX4" fmla="*/ 5326 w 10042"/>
                  <a:gd name="connsiteY4" fmla="*/ 4156 h 9963"/>
                  <a:gd name="connsiteX5" fmla="*/ 3352 w 10042"/>
                  <a:gd name="connsiteY5" fmla="*/ 5703 h 9963"/>
                  <a:gd name="connsiteX6" fmla="*/ 2767 w 10042"/>
                  <a:gd name="connsiteY6" fmla="*/ 5413 h 9963"/>
                  <a:gd name="connsiteX7" fmla="*/ 682 w 10042"/>
                  <a:gd name="connsiteY7" fmla="*/ 6524 h 9963"/>
                  <a:gd name="connsiteX8" fmla="*/ 51 w 10042"/>
                  <a:gd name="connsiteY8" fmla="*/ 8809 h 9963"/>
                  <a:gd name="connsiteX9" fmla="*/ 2182 w 10042"/>
                  <a:gd name="connsiteY9" fmla="*/ 9860 h 9963"/>
                  <a:gd name="connsiteX10" fmla="*/ 3937 w 10042"/>
                  <a:gd name="connsiteY10" fmla="*/ 7490 h 9963"/>
                  <a:gd name="connsiteX11" fmla="*/ 3900 w 10042"/>
                  <a:gd name="connsiteY11" fmla="*/ 6814 h 9963"/>
                  <a:gd name="connsiteX12" fmla="*/ 6934 w 10042"/>
                  <a:gd name="connsiteY12" fmla="*/ 4156 h 9963"/>
                  <a:gd name="connsiteX13" fmla="*/ 7666 w 10042"/>
                  <a:gd name="connsiteY13" fmla="*/ 3481 h 9963"/>
                  <a:gd name="connsiteX14" fmla="*/ 8689 w 10042"/>
                  <a:gd name="connsiteY14" fmla="*/ 2417 h 9963"/>
                  <a:gd name="connsiteX15" fmla="*/ 8726 w 10042"/>
                  <a:gd name="connsiteY15" fmla="*/ 2368 h 9963"/>
                  <a:gd name="connsiteX16" fmla="*/ 9749 w 10042"/>
                  <a:gd name="connsiteY16" fmla="*/ 1208 h 9963"/>
                  <a:gd name="connsiteX17" fmla="*/ 10005 w 10042"/>
                  <a:gd name="connsiteY17" fmla="*/ 967 h 9963"/>
                  <a:gd name="connsiteX18" fmla="*/ 10042 w 10042"/>
                  <a:gd name="connsiteY18" fmla="*/ 579 h 9963"/>
                  <a:gd name="connsiteX0" fmla="*/ 10017 w 10017"/>
                  <a:gd name="connsiteY0" fmla="*/ 653 h 10062"/>
                  <a:gd name="connsiteX1" fmla="*/ 9580 w 10017"/>
                  <a:gd name="connsiteY1" fmla="*/ 72 h 10062"/>
                  <a:gd name="connsiteX2" fmla="*/ 8597 w 10017"/>
                  <a:gd name="connsiteY2" fmla="*/ 1090 h 10062"/>
                  <a:gd name="connsiteX3" fmla="*/ 7869 w 10017"/>
                  <a:gd name="connsiteY3" fmla="*/ 1818 h 10062"/>
                  <a:gd name="connsiteX4" fmla="*/ 5321 w 10017"/>
                  <a:gd name="connsiteY4" fmla="*/ 4243 h 10062"/>
                  <a:gd name="connsiteX5" fmla="*/ 3355 w 10017"/>
                  <a:gd name="connsiteY5" fmla="*/ 5796 h 10062"/>
                  <a:gd name="connsiteX6" fmla="*/ 2772 w 10017"/>
                  <a:gd name="connsiteY6" fmla="*/ 5505 h 10062"/>
                  <a:gd name="connsiteX7" fmla="*/ 696 w 10017"/>
                  <a:gd name="connsiteY7" fmla="*/ 6620 h 10062"/>
                  <a:gd name="connsiteX8" fmla="*/ 68 w 10017"/>
                  <a:gd name="connsiteY8" fmla="*/ 8914 h 10062"/>
                  <a:gd name="connsiteX9" fmla="*/ 2190 w 10017"/>
                  <a:gd name="connsiteY9" fmla="*/ 9969 h 10062"/>
                  <a:gd name="connsiteX10" fmla="*/ 3938 w 10017"/>
                  <a:gd name="connsiteY10" fmla="*/ 7590 h 10062"/>
                  <a:gd name="connsiteX11" fmla="*/ 3901 w 10017"/>
                  <a:gd name="connsiteY11" fmla="*/ 6911 h 10062"/>
                  <a:gd name="connsiteX12" fmla="*/ 6922 w 10017"/>
                  <a:gd name="connsiteY12" fmla="*/ 4243 h 10062"/>
                  <a:gd name="connsiteX13" fmla="*/ 7651 w 10017"/>
                  <a:gd name="connsiteY13" fmla="*/ 3566 h 10062"/>
                  <a:gd name="connsiteX14" fmla="*/ 8670 w 10017"/>
                  <a:gd name="connsiteY14" fmla="*/ 2498 h 10062"/>
                  <a:gd name="connsiteX15" fmla="*/ 8707 w 10017"/>
                  <a:gd name="connsiteY15" fmla="*/ 2449 h 10062"/>
                  <a:gd name="connsiteX16" fmla="*/ 9725 w 10017"/>
                  <a:gd name="connsiteY16" fmla="*/ 1284 h 10062"/>
                  <a:gd name="connsiteX17" fmla="*/ 9980 w 10017"/>
                  <a:gd name="connsiteY17" fmla="*/ 1043 h 10062"/>
                  <a:gd name="connsiteX18" fmla="*/ 10017 w 10017"/>
                  <a:gd name="connsiteY18" fmla="*/ 653 h 10062"/>
                  <a:gd name="connsiteX0" fmla="*/ 10017 w 10017"/>
                  <a:gd name="connsiteY0" fmla="*/ 653 h 10250"/>
                  <a:gd name="connsiteX1" fmla="*/ 9580 w 10017"/>
                  <a:gd name="connsiteY1" fmla="*/ 72 h 10250"/>
                  <a:gd name="connsiteX2" fmla="*/ 8597 w 10017"/>
                  <a:gd name="connsiteY2" fmla="*/ 1090 h 10250"/>
                  <a:gd name="connsiteX3" fmla="*/ 7869 w 10017"/>
                  <a:gd name="connsiteY3" fmla="*/ 1818 h 10250"/>
                  <a:gd name="connsiteX4" fmla="*/ 5321 w 10017"/>
                  <a:gd name="connsiteY4" fmla="*/ 4243 h 10250"/>
                  <a:gd name="connsiteX5" fmla="*/ 3355 w 10017"/>
                  <a:gd name="connsiteY5" fmla="*/ 5796 h 10250"/>
                  <a:gd name="connsiteX6" fmla="*/ 2772 w 10017"/>
                  <a:gd name="connsiteY6" fmla="*/ 5505 h 10250"/>
                  <a:gd name="connsiteX7" fmla="*/ 696 w 10017"/>
                  <a:gd name="connsiteY7" fmla="*/ 6620 h 10250"/>
                  <a:gd name="connsiteX8" fmla="*/ 68 w 10017"/>
                  <a:gd name="connsiteY8" fmla="*/ 8914 h 10250"/>
                  <a:gd name="connsiteX9" fmla="*/ 2190 w 10017"/>
                  <a:gd name="connsiteY9" fmla="*/ 9969 h 10250"/>
                  <a:gd name="connsiteX10" fmla="*/ 3938 w 10017"/>
                  <a:gd name="connsiteY10" fmla="*/ 7590 h 10250"/>
                  <a:gd name="connsiteX11" fmla="*/ 3901 w 10017"/>
                  <a:gd name="connsiteY11" fmla="*/ 6911 h 10250"/>
                  <a:gd name="connsiteX12" fmla="*/ 6922 w 10017"/>
                  <a:gd name="connsiteY12" fmla="*/ 4243 h 10250"/>
                  <a:gd name="connsiteX13" fmla="*/ 7651 w 10017"/>
                  <a:gd name="connsiteY13" fmla="*/ 3566 h 10250"/>
                  <a:gd name="connsiteX14" fmla="*/ 8670 w 10017"/>
                  <a:gd name="connsiteY14" fmla="*/ 2498 h 10250"/>
                  <a:gd name="connsiteX15" fmla="*/ 8707 w 10017"/>
                  <a:gd name="connsiteY15" fmla="*/ 2449 h 10250"/>
                  <a:gd name="connsiteX16" fmla="*/ 9725 w 10017"/>
                  <a:gd name="connsiteY16" fmla="*/ 1284 h 10250"/>
                  <a:gd name="connsiteX17" fmla="*/ 9980 w 10017"/>
                  <a:gd name="connsiteY17" fmla="*/ 1043 h 10250"/>
                  <a:gd name="connsiteX18" fmla="*/ 10017 w 10017"/>
                  <a:gd name="connsiteY18" fmla="*/ 653 h 10250"/>
                  <a:gd name="connsiteX0" fmla="*/ 10039 w 10039"/>
                  <a:gd name="connsiteY0" fmla="*/ 653 h 10250"/>
                  <a:gd name="connsiteX1" fmla="*/ 9602 w 10039"/>
                  <a:gd name="connsiteY1" fmla="*/ 72 h 10250"/>
                  <a:gd name="connsiteX2" fmla="*/ 8619 w 10039"/>
                  <a:gd name="connsiteY2" fmla="*/ 1090 h 10250"/>
                  <a:gd name="connsiteX3" fmla="*/ 7891 w 10039"/>
                  <a:gd name="connsiteY3" fmla="*/ 1818 h 10250"/>
                  <a:gd name="connsiteX4" fmla="*/ 5343 w 10039"/>
                  <a:gd name="connsiteY4" fmla="*/ 4243 h 10250"/>
                  <a:gd name="connsiteX5" fmla="*/ 3377 w 10039"/>
                  <a:gd name="connsiteY5" fmla="*/ 5796 h 10250"/>
                  <a:gd name="connsiteX6" fmla="*/ 2794 w 10039"/>
                  <a:gd name="connsiteY6" fmla="*/ 5505 h 10250"/>
                  <a:gd name="connsiteX7" fmla="*/ 718 w 10039"/>
                  <a:gd name="connsiteY7" fmla="*/ 6620 h 10250"/>
                  <a:gd name="connsiteX8" fmla="*/ 90 w 10039"/>
                  <a:gd name="connsiteY8" fmla="*/ 8914 h 10250"/>
                  <a:gd name="connsiteX9" fmla="*/ 2212 w 10039"/>
                  <a:gd name="connsiteY9" fmla="*/ 9969 h 10250"/>
                  <a:gd name="connsiteX10" fmla="*/ 3960 w 10039"/>
                  <a:gd name="connsiteY10" fmla="*/ 7590 h 10250"/>
                  <a:gd name="connsiteX11" fmla="*/ 3923 w 10039"/>
                  <a:gd name="connsiteY11" fmla="*/ 6911 h 10250"/>
                  <a:gd name="connsiteX12" fmla="*/ 6944 w 10039"/>
                  <a:gd name="connsiteY12" fmla="*/ 4243 h 10250"/>
                  <a:gd name="connsiteX13" fmla="*/ 7673 w 10039"/>
                  <a:gd name="connsiteY13" fmla="*/ 3566 h 10250"/>
                  <a:gd name="connsiteX14" fmla="*/ 8692 w 10039"/>
                  <a:gd name="connsiteY14" fmla="*/ 2498 h 10250"/>
                  <a:gd name="connsiteX15" fmla="*/ 8729 w 10039"/>
                  <a:gd name="connsiteY15" fmla="*/ 2449 h 10250"/>
                  <a:gd name="connsiteX16" fmla="*/ 9747 w 10039"/>
                  <a:gd name="connsiteY16" fmla="*/ 1284 h 10250"/>
                  <a:gd name="connsiteX17" fmla="*/ 10002 w 10039"/>
                  <a:gd name="connsiteY17" fmla="*/ 1043 h 10250"/>
                  <a:gd name="connsiteX18" fmla="*/ 10039 w 10039"/>
                  <a:gd name="connsiteY18" fmla="*/ 653 h 1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39" h="10250">
                    <a:moveTo>
                      <a:pt x="10039" y="653"/>
                    </a:moveTo>
                    <a:cubicBezTo>
                      <a:pt x="9966" y="72"/>
                      <a:pt x="9747" y="-122"/>
                      <a:pt x="9602" y="72"/>
                    </a:cubicBezTo>
                    <a:cubicBezTo>
                      <a:pt x="9456" y="266"/>
                      <a:pt x="8764" y="897"/>
                      <a:pt x="8619" y="1090"/>
                    </a:cubicBezTo>
                    <a:cubicBezTo>
                      <a:pt x="8546" y="1139"/>
                      <a:pt x="8291" y="1431"/>
                      <a:pt x="7891" y="1818"/>
                    </a:cubicBezTo>
                    <a:cubicBezTo>
                      <a:pt x="7089" y="2595"/>
                      <a:pt x="5816" y="3807"/>
                      <a:pt x="5343" y="4243"/>
                    </a:cubicBezTo>
                    <a:cubicBezTo>
                      <a:pt x="4615" y="4874"/>
                      <a:pt x="3558" y="5990"/>
                      <a:pt x="3377" y="5796"/>
                    </a:cubicBezTo>
                    <a:cubicBezTo>
                      <a:pt x="3377" y="5796"/>
                      <a:pt x="3121" y="5457"/>
                      <a:pt x="2794" y="5505"/>
                    </a:cubicBezTo>
                    <a:cubicBezTo>
                      <a:pt x="2467" y="5553"/>
                      <a:pt x="1354" y="5682"/>
                      <a:pt x="718" y="6620"/>
                    </a:cubicBezTo>
                    <a:cubicBezTo>
                      <a:pt x="82" y="7558"/>
                      <a:pt x="-145" y="7738"/>
                      <a:pt x="90" y="8914"/>
                    </a:cubicBezTo>
                    <a:cubicBezTo>
                      <a:pt x="325" y="10090"/>
                      <a:pt x="1428" y="10620"/>
                      <a:pt x="2212" y="9969"/>
                    </a:cubicBezTo>
                    <a:cubicBezTo>
                      <a:pt x="2996" y="9318"/>
                      <a:pt x="3927" y="8349"/>
                      <a:pt x="3960" y="7590"/>
                    </a:cubicBezTo>
                    <a:cubicBezTo>
                      <a:pt x="3991" y="6833"/>
                      <a:pt x="3923" y="6911"/>
                      <a:pt x="3923" y="6911"/>
                    </a:cubicBezTo>
                    <a:cubicBezTo>
                      <a:pt x="3923" y="6911"/>
                      <a:pt x="5598" y="5505"/>
                      <a:pt x="6944" y="4243"/>
                    </a:cubicBezTo>
                    <a:cubicBezTo>
                      <a:pt x="7199" y="4002"/>
                      <a:pt x="7454" y="3807"/>
                      <a:pt x="7673" y="3566"/>
                    </a:cubicBezTo>
                    <a:cubicBezTo>
                      <a:pt x="8182" y="3080"/>
                      <a:pt x="8583" y="2692"/>
                      <a:pt x="8692" y="2498"/>
                    </a:cubicBezTo>
                    <a:cubicBezTo>
                      <a:pt x="8692" y="2498"/>
                      <a:pt x="8692" y="2449"/>
                      <a:pt x="8729" y="2449"/>
                    </a:cubicBezTo>
                    <a:cubicBezTo>
                      <a:pt x="9093" y="1818"/>
                      <a:pt x="9639" y="1382"/>
                      <a:pt x="9747" y="1284"/>
                    </a:cubicBezTo>
                    <a:cubicBezTo>
                      <a:pt x="9747" y="1284"/>
                      <a:pt x="9929" y="1284"/>
                      <a:pt x="10002" y="1043"/>
                    </a:cubicBezTo>
                    <a:cubicBezTo>
                      <a:pt x="10039" y="945"/>
                      <a:pt x="10039" y="800"/>
                      <a:pt x="10039" y="653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68">
                <a:extLst>
                  <a:ext uri="{FF2B5EF4-FFF2-40B4-BE49-F238E27FC236}">
                    <a16:creationId xmlns:a16="http://schemas.microsoft.com/office/drawing/2014/main" id="{E24E8500-35DF-463F-9A64-722BC85FDE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7226" y="5418138"/>
                <a:ext cx="341313" cy="792163"/>
              </a:xfrm>
              <a:custGeom>
                <a:avLst/>
                <a:gdLst>
                  <a:gd name="T0" fmla="*/ 89 w 91"/>
                  <a:gd name="T1" fmla="*/ 6 h 211"/>
                  <a:gd name="T2" fmla="*/ 76 w 91"/>
                  <a:gd name="T3" fmla="*/ 40 h 211"/>
                  <a:gd name="T4" fmla="*/ 36 w 91"/>
                  <a:gd name="T5" fmla="*/ 139 h 211"/>
                  <a:gd name="T6" fmla="*/ 36 w 91"/>
                  <a:gd name="T7" fmla="*/ 139 h 211"/>
                  <a:gd name="T8" fmla="*/ 0 w 91"/>
                  <a:gd name="T9" fmla="*/ 211 h 211"/>
                  <a:gd name="T10" fmla="*/ 39 w 91"/>
                  <a:gd name="T11" fmla="*/ 211 h 211"/>
                  <a:gd name="T12" fmla="*/ 43 w 91"/>
                  <a:gd name="T13" fmla="*/ 192 h 211"/>
                  <a:gd name="T14" fmla="*/ 50 w 91"/>
                  <a:gd name="T15" fmla="*/ 163 h 211"/>
                  <a:gd name="T16" fmla="*/ 83 w 91"/>
                  <a:gd name="T17" fmla="*/ 40 h 211"/>
                  <a:gd name="T18" fmla="*/ 86 w 91"/>
                  <a:gd name="T19" fmla="*/ 31 h 211"/>
                  <a:gd name="T20" fmla="*/ 91 w 91"/>
                  <a:gd name="T21" fmla="*/ 0 h 211"/>
                  <a:gd name="T22" fmla="*/ 89 w 91"/>
                  <a:gd name="T2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211">
                    <a:moveTo>
                      <a:pt x="89" y="6"/>
                    </a:moveTo>
                    <a:cubicBezTo>
                      <a:pt x="76" y="40"/>
                      <a:pt x="76" y="40"/>
                      <a:pt x="76" y="40"/>
                    </a:cubicBezTo>
                    <a:cubicBezTo>
                      <a:pt x="67" y="75"/>
                      <a:pt x="50" y="115"/>
                      <a:pt x="36" y="139"/>
                    </a:cubicBezTo>
                    <a:cubicBezTo>
                      <a:pt x="36" y="139"/>
                      <a:pt x="36" y="139"/>
                      <a:pt x="36" y="139"/>
                    </a:cubicBezTo>
                    <a:cubicBezTo>
                      <a:pt x="24" y="160"/>
                      <a:pt x="5" y="200"/>
                      <a:pt x="0" y="211"/>
                    </a:cubicBezTo>
                    <a:cubicBezTo>
                      <a:pt x="39" y="211"/>
                      <a:pt x="39" y="211"/>
                      <a:pt x="39" y="211"/>
                    </a:cubicBezTo>
                    <a:cubicBezTo>
                      <a:pt x="39" y="211"/>
                      <a:pt x="39" y="196"/>
                      <a:pt x="43" y="192"/>
                    </a:cubicBezTo>
                    <a:cubicBezTo>
                      <a:pt x="47" y="188"/>
                      <a:pt x="50" y="163"/>
                      <a:pt x="50" y="163"/>
                    </a:cubicBezTo>
                    <a:cubicBezTo>
                      <a:pt x="47" y="121"/>
                      <a:pt x="75" y="53"/>
                      <a:pt x="83" y="40"/>
                    </a:cubicBezTo>
                    <a:cubicBezTo>
                      <a:pt x="84" y="38"/>
                      <a:pt x="85" y="35"/>
                      <a:pt x="86" y="31"/>
                    </a:cubicBezTo>
                    <a:cubicBezTo>
                      <a:pt x="88" y="23"/>
                      <a:pt x="90" y="12"/>
                      <a:pt x="91" y="0"/>
                    </a:cubicBezTo>
                    <a:cubicBezTo>
                      <a:pt x="89" y="4"/>
                      <a:pt x="89" y="6"/>
                      <a:pt x="89" y="6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69">
                <a:extLst>
                  <a:ext uri="{FF2B5EF4-FFF2-40B4-BE49-F238E27FC236}">
                    <a16:creationId xmlns:a16="http://schemas.microsoft.com/office/drawing/2014/main" id="{17D23567-A5CF-4A4F-820C-B2DC6F2F06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0926" y="5167313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70">
                <a:extLst>
                  <a:ext uri="{FF2B5EF4-FFF2-40B4-BE49-F238E27FC236}">
                    <a16:creationId xmlns:a16="http://schemas.microsoft.com/office/drawing/2014/main" id="{B60A571A-27ED-4591-8ADF-314FA713D4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5051" y="51895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71">
                <a:extLst>
                  <a:ext uri="{FF2B5EF4-FFF2-40B4-BE49-F238E27FC236}">
                    <a16:creationId xmlns:a16="http://schemas.microsoft.com/office/drawing/2014/main" id="{EDD8A2BE-E56A-46DD-8109-8DB854B738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117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72">
                <a:extLst>
                  <a:ext uri="{FF2B5EF4-FFF2-40B4-BE49-F238E27FC236}">
                    <a16:creationId xmlns:a16="http://schemas.microsoft.com/office/drawing/2014/main" id="{B14EF484-8D25-442D-A808-9F1FEA74C1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2038" y="5156201"/>
                <a:ext cx="0" cy="317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73">
                <a:extLst>
                  <a:ext uri="{FF2B5EF4-FFF2-40B4-BE49-F238E27FC236}">
                    <a16:creationId xmlns:a16="http://schemas.microsoft.com/office/drawing/2014/main" id="{38CE5DA4-E57F-4C8F-B1D1-6C7561525E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3938" y="52038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74">
                <a:extLst>
                  <a:ext uri="{FF2B5EF4-FFF2-40B4-BE49-F238E27FC236}">
                    <a16:creationId xmlns:a16="http://schemas.microsoft.com/office/drawing/2014/main" id="{AE468F17-A92E-45CC-A45B-217BFBCFB0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701" y="5192713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75">
                <a:extLst>
                  <a:ext uri="{FF2B5EF4-FFF2-40B4-BE49-F238E27FC236}">
                    <a16:creationId xmlns:a16="http://schemas.microsoft.com/office/drawing/2014/main" id="{C71B7964-E1FB-4551-8640-FBA0541C04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2201" y="5118101"/>
                <a:ext cx="7938" cy="4763"/>
              </a:xfrm>
              <a:custGeom>
                <a:avLst/>
                <a:gdLst>
                  <a:gd name="T0" fmla="*/ 1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  <a:gd name="T8" fmla="*/ 1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76">
                <a:extLst>
                  <a:ext uri="{FF2B5EF4-FFF2-40B4-BE49-F238E27FC236}">
                    <a16:creationId xmlns:a16="http://schemas.microsoft.com/office/drawing/2014/main" id="{88E8C1C7-62FF-4EA7-A126-F77642392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86326" y="51403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77">
                <a:extLst>
                  <a:ext uri="{FF2B5EF4-FFF2-40B4-BE49-F238E27FC236}">
                    <a16:creationId xmlns:a16="http://schemas.microsoft.com/office/drawing/2014/main" id="{8909D85E-5919-4CD1-A2C1-373C786377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488" y="5418138"/>
                <a:ext cx="19050" cy="115888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0 h 31"/>
                  <a:gd name="T4" fmla="*/ 5 w 5"/>
                  <a:gd name="T5" fmla="*/ 0 h 31"/>
                  <a:gd name="T6" fmla="*/ 0 w 5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cubicBezTo>
                      <a:pt x="2" y="23"/>
                      <a:pt x="4" y="12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2"/>
                      <a:pt x="2" y="23"/>
                      <a:pt x="0" y="3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78">
                <a:extLst>
                  <a:ext uri="{FF2B5EF4-FFF2-40B4-BE49-F238E27FC236}">
                    <a16:creationId xmlns:a16="http://schemas.microsoft.com/office/drawing/2014/main" id="{14938385-456E-4714-8F8D-3076695AF5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4263" y="5129213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79">
                <a:extLst>
                  <a:ext uri="{FF2B5EF4-FFF2-40B4-BE49-F238E27FC236}">
                    <a16:creationId xmlns:a16="http://schemas.microsoft.com/office/drawing/2014/main" id="{DDCC1A80-85A7-4E7C-8EEC-F25474BA61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4426" y="5099051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80">
                <a:extLst>
                  <a:ext uri="{FF2B5EF4-FFF2-40B4-BE49-F238E27FC236}">
                    <a16:creationId xmlns:a16="http://schemas.microsoft.com/office/drawing/2014/main" id="{A50DCC5C-B247-47AA-AD64-4BF1B81307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49863"/>
                <a:ext cx="0" cy="7938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81">
                <a:extLst>
                  <a:ext uri="{FF2B5EF4-FFF2-40B4-BE49-F238E27FC236}">
                    <a16:creationId xmlns:a16="http://schemas.microsoft.com/office/drawing/2014/main" id="{DC565EDB-33E5-41BF-86AC-FC1D9B58FD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92588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82">
                <a:extLst>
                  <a:ext uri="{FF2B5EF4-FFF2-40B4-BE49-F238E27FC236}">
                    <a16:creationId xmlns:a16="http://schemas.microsoft.com/office/drawing/2014/main" id="{C7858969-FEF3-4B5D-8AC3-6D200D51C1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62426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83">
                <a:extLst>
                  <a:ext uri="{FF2B5EF4-FFF2-40B4-BE49-F238E27FC236}">
                    <a16:creationId xmlns:a16="http://schemas.microsoft.com/office/drawing/2014/main" id="{B1108069-B732-462E-9FB0-AD8EBE8CBE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60976"/>
                <a:ext cx="0" cy="11113"/>
              </a:xfrm>
              <a:custGeom>
                <a:avLst/>
                <a:gdLst>
                  <a:gd name="T0" fmla="*/ 0 h 3"/>
                  <a:gd name="T1" fmla="*/ 3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84">
                <a:extLst>
                  <a:ext uri="{FF2B5EF4-FFF2-40B4-BE49-F238E27FC236}">
                    <a16:creationId xmlns:a16="http://schemas.microsoft.com/office/drawing/2014/main" id="{DC817E07-C6B1-4FD2-9520-19518AE3C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476" y="5291138"/>
                <a:ext cx="3175" cy="36513"/>
              </a:xfrm>
              <a:custGeom>
                <a:avLst/>
                <a:gdLst>
                  <a:gd name="T0" fmla="*/ 1 w 1"/>
                  <a:gd name="T1" fmla="*/ 0 h 10"/>
                  <a:gd name="T2" fmla="*/ 0 w 1"/>
                  <a:gd name="T3" fmla="*/ 10 h 10"/>
                  <a:gd name="T4" fmla="*/ 1 w 1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0">
                    <a:moveTo>
                      <a:pt x="1" y="0"/>
                    </a:moveTo>
                    <a:cubicBezTo>
                      <a:pt x="1" y="3"/>
                      <a:pt x="1" y="6"/>
                      <a:pt x="0" y="10"/>
                    </a:cubicBezTo>
                    <a:cubicBezTo>
                      <a:pt x="1" y="6"/>
                      <a:pt x="1" y="3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85">
                <a:extLst>
                  <a:ext uri="{FF2B5EF4-FFF2-40B4-BE49-F238E27FC236}">
                    <a16:creationId xmlns:a16="http://schemas.microsoft.com/office/drawing/2014/main" id="{0F1B02F0-D2EB-454B-AE88-49BC47928E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651" y="5275263"/>
                <a:ext cx="3175" cy="15875"/>
              </a:xfrm>
              <a:custGeom>
                <a:avLst/>
                <a:gdLst>
                  <a:gd name="T0" fmla="*/ 1 w 1"/>
                  <a:gd name="T1" fmla="*/ 0 h 4"/>
                  <a:gd name="T2" fmla="*/ 0 w 1"/>
                  <a:gd name="T3" fmla="*/ 4 h 4"/>
                  <a:gd name="T4" fmla="*/ 1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cubicBezTo>
                      <a:pt x="1" y="1"/>
                      <a:pt x="0" y="3"/>
                      <a:pt x="0" y="4"/>
                    </a:cubicBezTo>
                    <a:cubicBezTo>
                      <a:pt x="0" y="3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86">
                <a:extLst>
                  <a:ext uri="{FF2B5EF4-FFF2-40B4-BE49-F238E27FC236}">
                    <a16:creationId xmlns:a16="http://schemas.microsoft.com/office/drawing/2014/main" id="{5A6A6D15-7A13-445C-A0A2-7C9B9E68E0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422910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87">
                <a:extLst>
                  <a:ext uri="{FF2B5EF4-FFF2-40B4-BE49-F238E27FC236}">
                    <a16:creationId xmlns:a16="http://schemas.microsoft.com/office/drawing/2014/main" id="{B5F411D7-75A4-43FB-BFBE-A1E4B0AC88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129088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88">
                <a:extLst>
                  <a:ext uri="{FF2B5EF4-FFF2-40B4-BE49-F238E27FC236}">
                    <a16:creationId xmlns:a16="http://schemas.microsoft.com/office/drawing/2014/main" id="{21F81DD4-3683-4D72-858A-5335D9809A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27638"/>
                <a:ext cx="0" cy="6350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89">
                <a:extLst>
                  <a:ext uri="{FF2B5EF4-FFF2-40B4-BE49-F238E27FC236}">
                    <a16:creationId xmlns:a16="http://schemas.microsoft.com/office/drawing/2014/main" id="{BE052312-FF83-4856-9544-DEC32B17BC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71938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90">
                <a:extLst>
                  <a:ext uri="{FF2B5EF4-FFF2-40B4-BE49-F238E27FC236}">
                    <a16:creationId xmlns:a16="http://schemas.microsoft.com/office/drawing/2014/main" id="{1174FA73-A923-4673-B536-9BD2AA3591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19551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91">
                <a:extLst>
                  <a:ext uri="{FF2B5EF4-FFF2-40B4-BE49-F238E27FC236}">
                    <a16:creationId xmlns:a16="http://schemas.microsoft.com/office/drawing/2014/main" id="{8C2FB767-EA22-47E1-A292-3DDA8A43EC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41776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92">
                <a:extLst>
                  <a:ext uri="{FF2B5EF4-FFF2-40B4-BE49-F238E27FC236}">
                    <a16:creationId xmlns:a16="http://schemas.microsoft.com/office/drawing/2014/main" id="{53070D27-793D-4BEB-8EC1-74479B1BE6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38751"/>
                <a:ext cx="0" cy="6350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93">
                <a:extLst>
                  <a:ext uri="{FF2B5EF4-FFF2-40B4-BE49-F238E27FC236}">
                    <a16:creationId xmlns:a16="http://schemas.microsoft.com/office/drawing/2014/main" id="{050309AE-22EF-41E3-9B46-BBE1A13381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098926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94">
                <a:extLst>
                  <a:ext uri="{FF2B5EF4-FFF2-40B4-BE49-F238E27FC236}">
                    <a16:creationId xmlns:a16="http://schemas.microsoft.com/office/drawing/2014/main" id="{B6635DCD-571F-4330-8491-6773CF868B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79788" y="5065713"/>
                <a:ext cx="858838" cy="1150938"/>
              </a:xfrm>
              <a:custGeom>
                <a:avLst/>
                <a:gdLst>
                  <a:gd name="T0" fmla="*/ 101 w 229"/>
                  <a:gd name="T1" fmla="*/ 0 h 307"/>
                  <a:gd name="T2" fmla="*/ 0 w 229"/>
                  <a:gd name="T3" fmla="*/ 201 h 307"/>
                  <a:gd name="T4" fmla="*/ 63 w 229"/>
                  <a:gd name="T5" fmla="*/ 249 h 307"/>
                  <a:gd name="T6" fmla="*/ 127 w 229"/>
                  <a:gd name="T7" fmla="*/ 305 h 307"/>
                  <a:gd name="T8" fmla="*/ 225 w 229"/>
                  <a:gd name="T9" fmla="*/ 305 h 307"/>
                  <a:gd name="T10" fmla="*/ 101 w 229"/>
                  <a:gd name="T1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307">
                    <a:moveTo>
                      <a:pt x="101" y="0"/>
                    </a:moveTo>
                    <a:cubicBezTo>
                      <a:pt x="62" y="47"/>
                      <a:pt x="0" y="201"/>
                      <a:pt x="0" y="201"/>
                    </a:cubicBezTo>
                    <a:cubicBezTo>
                      <a:pt x="0" y="201"/>
                      <a:pt x="59" y="245"/>
                      <a:pt x="63" y="249"/>
                    </a:cubicBezTo>
                    <a:cubicBezTo>
                      <a:pt x="67" y="253"/>
                      <a:pt x="127" y="305"/>
                      <a:pt x="127" y="305"/>
                    </a:cubicBezTo>
                    <a:cubicBezTo>
                      <a:pt x="127" y="305"/>
                      <a:pt x="229" y="307"/>
                      <a:pt x="225" y="305"/>
                    </a:cubicBezTo>
                    <a:cubicBezTo>
                      <a:pt x="219" y="283"/>
                      <a:pt x="161" y="84"/>
                      <a:pt x="101" y="0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95">
                <a:extLst>
                  <a:ext uri="{FF2B5EF4-FFF2-40B4-BE49-F238E27FC236}">
                    <a16:creationId xmlns:a16="http://schemas.microsoft.com/office/drawing/2014/main" id="{E7AA6BC7-9473-4BFC-BCD7-DD48BA858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9523" y="1321570"/>
                <a:ext cx="2170527" cy="4891906"/>
              </a:xfrm>
              <a:custGeom>
                <a:avLst/>
                <a:gdLst>
                  <a:gd name="T0" fmla="*/ 560 w 576"/>
                  <a:gd name="T1" fmla="*/ 295 h 1311"/>
                  <a:gd name="T2" fmla="*/ 488 w 576"/>
                  <a:gd name="T3" fmla="*/ 102 h 1311"/>
                  <a:gd name="T4" fmla="*/ 259 w 576"/>
                  <a:gd name="T5" fmla="*/ 10 h 1311"/>
                  <a:gd name="T6" fmla="*/ 9 w 576"/>
                  <a:gd name="T7" fmla="*/ 158 h 1311"/>
                  <a:gd name="T8" fmla="*/ 4 w 576"/>
                  <a:gd name="T9" fmla="*/ 362 h 1311"/>
                  <a:gd name="T10" fmla="*/ 1 w 576"/>
                  <a:gd name="T11" fmla="*/ 379 h 1311"/>
                  <a:gd name="T12" fmla="*/ 3 w 576"/>
                  <a:gd name="T13" fmla="*/ 384 h 1311"/>
                  <a:gd name="T14" fmla="*/ 2 w 576"/>
                  <a:gd name="T15" fmla="*/ 476 h 1311"/>
                  <a:gd name="T16" fmla="*/ 15 w 576"/>
                  <a:gd name="T17" fmla="*/ 524 h 1311"/>
                  <a:gd name="T18" fmla="*/ 19 w 576"/>
                  <a:gd name="T19" fmla="*/ 540 h 1311"/>
                  <a:gd name="T20" fmla="*/ 65 w 576"/>
                  <a:gd name="T21" fmla="*/ 684 h 1311"/>
                  <a:gd name="T22" fmla="*/ 87 w 576"/>
                  <a:gd name="T23" fmla="*/ 713 h 1311"/>
                  <a:gd name="T24" fmla="*/ 131 w 576"/>
                  <a:gd name="T25" fmla="*/ 764 h 1311"/>
                  <a:gd name="T26" fmla="*/ 128 w 576"/>
                  <a:gd name="T27" fmla="*/ 794 h 1311"/>
                  <a:gd name="T28" fmla="*/ 103 w 576"/>
                  <a:gd name="T29" fmla="*/ 870 h 1311"/>
                  <a:gd name="T30" fmla="*/ 84 w 576"/>
                  <a:gd name="T31" fmla="*/ 923 h 1311"/>
                  <a:gd name="T32" fmla="*/ 116 w 576"/>
                  <a:gd name="T33" fmla="*/ 1003 h 1311"/>
                  <a:gd name="T34" fmla="*/ 119 w 576"/>
                  <a:gd name="T35" fmla="*/ 1007 h 1311"/>
                  <a:gd name="T36" fmla="*/ 253 w 576"/>
                  <a:gd name="T37" fmla="*/ 1311 h 1311"/>
                  <a:gd name="T38" fmla="*/ 340 w 576"/>
                  <a:gd name="T39" fmla="*/ 1225 h 1311"/>
                  <a:gd name="T40" fmla="*/ 399 w 576"/>
                  <a:gd name="T41" fmla="*/ 1075 h 1311"/>
                  <a:gd name="T42" fmla="*/ 403 w 576"/>
                  <a:gd name="T43" fmla="*/ 1044 h 1311"/>
                  <a:gd name="T44" fmla="*/ 406 w 576"/>
                  <a:gd name="T45" fmla="*/ 1039 h 1311"/>
                  <a:gd name="T46" fmla="*/ 411 w 576"/>
                  <a:gd name="T47" fmla="*/ 1032 h 1311"/>
                  <a:gd name="T48" fmla="*/ 412 w 576"/>
                  <a:gd name="T49" fmla="*/ 1032 h 1311"/>
                  <a:gd name="T50" fmla="*/ 429 w 576"/>
                  <a:gd name="T51" fmla="*/ 1014 h 1311"/>
                  <a:gd name="T52" fmla="*/ 482 w 576"/>
                  <a:gd name="T53" fmla="*/ 923 h 1311"/>
                  <a:gd name="T54" fmla="*/ 545 w 576"/>
                  <a:gd name="T55" fmla="*/ 782 h 1311"/>
                  <a:gd name="T56" fmla="*/ 546 w 576"/>
                  <a:gd name="T57" fmla="*/ 774 h 1311"/>
                  <a:gd name="T58" fmla="*/ 546 w 576"/>
                  <a:gd name="T59" fmla="*/ 766 h 1311"/>
                  <a:gd name="T60" fmla="*/ 547 w 576"/>
                  <a:gd name="T61" fmla="*/ 757 h 1311"/>
                  <a:gd name="T62" fmla="*/ 547 w 576"/>
                  <a:gd name="T63" fmla="*/ 749 h 1311"/>
                  <a:gd name="T64" fmla="*/ 548 w 576"/>
                  <a:gd name="T65" fmla="*/ 742 h 1311"/>
                  <a:gd name="T66" fmla="*/ 548 w 576"/>
                  <a:gd name="T67" fmla="*/ 734 h 1311"/>
                  <a:gd name="T68" fmla="*/ 548 w 576"/>
                  <a:gd name="T69" fmla="*/ 728 h 1311"/>
                  <a:gd name="T70" fmla="*/ 549 w 576"/>
                  <a:gd name="T71" fmla="*/ 721 h 1311"/>
                  <a:gd name="T72" fmla="*/ 537 w 576"/>
                  <a:gd name="T73" fmla="*/ 655 h 1311"/>
                  <a:gd name="T74" fmla="*/ 534 w 576"/>
                  <a:gd name="T75" fmla="*/ 601 h 1311"/>
                  <a:gd name="T76" fmla="*/ 452 w 576"/>
                  <a:gd name="T77" fmla="*/ 670 h 1311"/>
                  <a:gd name="T78" fmla="*/ 347 w 576"/>
                  <a:gd name="T79" fmla="*/ 696 h 1311"/>
                  <a:gd name="T80" fmla="*/ 420 w 576"/>
                  <a:gd name="T81" fmla="*/ 627 h 1311"/>
                  <a:gd name="T82" fmla="*/ 490 w 576"/>
                  <a:gd name="T83" fmla="*/ 601 h 1311"/>
                  <a:gd name="T84" fmla="*/ 564 w 576"/>
                  <a:gd name="T85" fmla="*/ 500 h 1311"/>
                  <a:gd name="T86" fmla="*/ 575 w 576"/>
                  <a:gd name="T87" fmla="*/ 365 h 1311"/>
                  <a:gd name="T88" fmla="*/ 574 w 576"/>
                  <a:gd name="T89" fmla="*/ 354 h 1311"/>
                  <a:gd name="connsiteX0" fmla="*/ 9965 w 10000"/>
                  <a:gd name="connsiteY0" fmla="*/ 2650 h 9950"/>
                  <a:gd name="connsiteX1" fmla="*/ 9722 w 10000"/>
                  <a:gd name="connsiteY1" fmla="*/ 2200 h 9950"/>
                  <a:gd name="connsiteX2" fmla="*/ 9167 w 10000"/>
                  <a:gd name="connsiteY2" fmla="*/ 1620 h 9950"/>
                  <a:gd name="connsiteX3" fmla="*/ 8472 w 10000"/>
                  <a:gd name="connsiteY3" fmla="*/ 728 h 9950"/>
                  <a:gd name="connsiteX4" fmla="*/ 6858 w 10000"/>
                  <a:gd name="connsiteY4" fmla="*/ 125 h 9950"/>
                  <a:gd name="connsiteX5" fmla="*/ 4497 w 10000"/>
                  <a:gd name="connsiteY5" fmla="*/ 26 h 9950"/>
                  <a:gd name="connsiteX6" fmla="*/ 1615 w 10000"/>
                  <a:gd name="connsiteY6" fmla="*/ 286 h 9950"/>
                  <a:gd name="connsiteX7" fmla="*/ 156 w 10000"/>
                  <a:gd name="connsiteY7" fmla="*/ 1155 h 9950"/>
                  <a:gd name="connsiteX8" fmla="*/ 208 w 10000"/>
                  <a:gd name="connsiteY8" fmla="*/ 2078 h 9950"/>
                  <a:gd name="connsiteX9" fmla="*/ 69 w 10000"/>
                  <a:gd name="connsiteY9" fmla="*/ 2711 h 9950"/>
                  <a:gd name="connsiteX10" fmla="*/ 0 w 10000"/>
                  <a:gd name="connsiteY10" fmla="*/ 2826 h 9950"/>
                  <a:gd name="connsiteX11" fmla="*/ 17 w 10000"/>
                  <a:gd name="connsiteY11" fmla="*/ 2841 h 9950"/>
                  <a:gd name="connsiteX12" fmla="*/ 52 w 10000"/>
                  <a:gd name="connsiteY12" fmla="*/ 2856 h 9950"/>
                  <a:gd name="connsiteX13" fmla="*/ 17 w 10000"/>
                  <a:gd name="connsiteY13" fmla="*/ 3390 h 9950"/>
                  <a:gd name="connsiteX14" fmla="*/ 35 w 10000"/>
                  <a:gd name="connsiteY14" fmla="*/ 3581 h 9950"/>
                  <a:gd name="connsiteX15" fmla="*/ 191 w 10000"/>
                  <a:gd name="connsiteY15" fmla="*/ 3810 h 9950"/>
                  <a:gd name="connsiteX16" fmla="*/ 260 w 10000"/>
                  <a:gd name="connsiteY16" fmla="*/ 3947 h 9950"/>
                  <a:gd name="connsiteX17" fmla="*/ 278 w 10000"/>
                  <a:gd name="connsiteY17" fmla="*/ 4008 h 9950"/>
                  <a:gd name="connsiteX18" fmla="*/ 330 w 10000"/>
                  <a:gd name="connsiteY18" fmla="*/ 4069 h 9950"/>
                  <a:gd name="connsiteX19" fmla="*/ 903 w 10000"/>
                  <a:gd name="connsiteY19" fmla="*/ 4984 h 9950"/>
                  <a:gd name="connsiteX20" fmla="*/ 1128 w 10000"/>
                  <a:gd name="connsiteY20" fmla="*/ 5167 h 9950"/>
                  <a:gd name="connsiteX21" fmla="*/ 1319 w 10000"/>
                  <a:gd name="connsiteY21" fmla="*/ 5251 h 9950"/>
                  <a:gd name="connsiteX22" fmla="*/ 1510 w 10000"/>
                  <a:gd name="connsiteY22" fmla="*/ 5389 h 9950"/>
                  <a:gd name="connsiteX23" fmla="*/ 1545 w 10000"/>
                  <a:gd name="connsiteY23" fmla="*/ 5381 h 9950"/>
                  <a:gd name="connsiteX24" fmla="*/ 2274 w 10000"/>
                  <a:gd name="connsiteY24" fmla="*/ 5778 h 9950"/>
                  <a:gd name="connsiteX25" fmla="*/ 2361 w 10000"/>
                  <a:gd name="connsiteY25" fmla="*/ 6037 h 9950"/>
                  <a:gd name="connsiteX26" fmla="*/ 2222 w 10000"/>
                  <a:gd name="connsiteY26" fmla="*/ 6006 h 9950"/>
                  <a:gd name="connsiteX27" fmla="*/ 1962 w 10000"/>
                  <a:gd name="connsiteY27" fmla="*/ 6090 h 9950"/>
                  <a:gd name="connsiteX28" fmla="*/ 1788 w 10000"/>
                  <a:gd name="connsiteY28" fmla="*/ 6586 h 9950"/>
                  <a:gd name="connsiteX29" fmla="*/ 1389 w 10000"/>
                  <a:gd name="connsiteY29" fmla="*/ 6983 h 9950"/>
                  <a:gd name="connsiteX30" fmla="*/ 1458 w 10000"/>
                  <a:gd name="connsiteY30" fmla="*/ 6990 h 9950"/>
                  <a:gd name="connsiteX31" fmla="*/ 2431 w 10000"/>
                  <a:gd name="connsiteY31" fmla="*/ 7265 h 9950"/>
                  <a:gd name="connsiteX32" fmla="*/ 2014 w 10000"/>
                  <a:gd name="connsiteY32" fmla="*/ 7601 h 9950"/>
                  <a:gd name="connsiteX33" fmla="*/ 2031 w 10000"/>
                  <a:gd name="connsiteY33" fmla="*/ 7616 h 9950"/>
                  <a:gd name="connsiteX34" fmla="*/ 2066 w 10000"/>
                  <a:gd name="connsiteY34" fmla="*/ 7631 h 9950"/>
                  <a:gd name="connsiteX35" fmla="*/ 4184 w 10000"/>
                  <a:gd name="connsiteY35" fmla="*/ 9927 h 9950"/>
                  <a:gd name="connsiteX36" fmla="*/ 4392 w 10000"/>
                  <a:gd name="connsiteY36" fmla="*/ 9950 h 9950"/>
                  <a:gd name="connsiteX37" fmla="*/ 5122 w 10000"/>
                  <a:gd name="connsiteY37" fmla="*/ 9942 h 9950"/>
                  <a:gd name="connsiteX38" fmla="*/ 5903 w 10000"/>
                  <a:gd name="connsiteY38" fmla="*/ 9294 h 9950"/>
                  <a:gd name="connsiteX39" fmla="*/ 6024 w 10000"/>
                  <a:gd name="connsiteY39" fmla="*/ 9195 h 9950"/>
                  <a:gd name="connsiteX40" fmla="*/ 6927 w 10000"/>
                  <a:gd name="connsiteY40" fmla="*/ 8150 h 9950"/>
                  <a:gd name="connsiteX41" fmla="*/ 6962 w 10000"/>
                  <a:gd name="connsiteY41" fmla="*/ 8005 h 9950"/>
                  <a:gd name="connsiteX42" fmla="*/ 6997 w 10000"/>
                  <a:gd name="connsiteY42" fmla="*/ 7913 h 9950"/>
                  <a:gd name="connsiteX43" fmla="*/ 7031 w 10000"/>
                  <a:gd name="connsiteY43" fmla="*/ 7883 h 9950"/>
                  <a:gd name="connsiteX44" fmla="*/ 7049 w 10000"/>
                  <a:gd name="connsiteY44" fmla="*/ 7875 h 9950"/>
                  <a:gd name="connsiteX45" fmla="*/ 7049 w 10000"/>
                  <a:gd name="connsiteY45" fmla="*/ 7875 h 9950"/>
                  <a:gd name="connsiteX46" fmla="*/ 7135 w 10000"/>
                  <a:gd name="connsiteY46" fmla="*/ 7822 h 9950"/>
                  <a:gd name="connsiteX47" fmla="*/ 7135 w 10000"/>
                  <a:gd name="connsiteY47" fmla="*/ 7822 h 9950"/>
                  <a:gd name="connsiteX48" fmla="*/ 7153 w 10000"/>
                  <a:gd name="connsiteY48" fmla="*/ 7822 h 9950"/>
                  <a:gd name="connsiteX49" fmla="*/ 7292 w 10000"/>
                  <a:gd name="connsiteY49" fmla="*/ 7753 h 9950"/>
                  <a:gd name="connsiteX50" fmla="*/ 7448 w 10000"/>
                  <a:gd name="connsiteY50" fmla="*/ 7685 h 9950"/>
                  <a:gd name="connsiteX51" fmla="*/ 7674 w 10000"/>
                  <a:gd name="connsiteY51" fmla="*/ 7517 h 9950"/>
                  <a:gd name="connsiteX52" fmla="*/ 8368 w 10000"/>
                  <a:gd name="connsiteY52" fmla="*/ 6990 h 9950"/>
                  <a:gd name="connsiteX53" fmla="*/ 9306 w 10000"/>
                  <a:gd name="connsiteY53" fmla="*/ 6060 h 9950"/>
                  <a:gd name="connsiteX54" fmla="*/ 9462 w 10000"/>
                  <a:gd name="connsiteY54" fmla="*/ 5915 h 9950"/>
                  <a:gd name="connsiteX55" fmla="*/ 9462 w 10000"/>
                  <a:gd name="connsiteY55" fmla="*/ 5915 h 9950"/>
                  <a:gd name="connsiteX56" fmla="*/ 9479 w 10000"/>
                  <a:gd name="connsiteY56" fmla="*/ 5854 h 9950"/>
                  <a:gd name="connsiteX57" fmla="*/ 9479 w 10000"/>
                  <a:gd name="connsiteY57" fmla="*/ 5839 h 9950"/>
                  <a:gd name="connsiteX58" fmla="*/ 9479 w 10000"/>
                  <a:gd name="connsiteY58" fmla="*/ 5793 h 9950"/>
                  <a:gd name="connsiteX59" fmla="*/ 9479 w 10000"/>
                  <a:gd name="connsiteY59" fmla="*/ 5778 h 9950"/>
                  <a:gd name="connsiteX60" fmla="*/ 9497 w 10000"/>
                  <a:gd name="connsiteY60" fmla="*/ 5724 h 9950"/>
                  <a:gd name="connsiteX61" fmla="*/ 9497 w 10000"/>
                  <a:gd name="connsiteY61" fmla="*/ 5709 h 9950"/>
                  <a:gd name="connsiteX62" fmla="*/ 9497 w 10000"/>
                  <a:gd name="connsiteY62" fmla="*/ 5663 h 9950"/>
                  <a:gd name="connsiteX63" fmla="*/ 9497 w 10000"/>
                  <a:gd name="connsiteY63" fmla="*/ 5648 h 9950"/>
                  <a:gd name="connsiteX64" fmla="*/ 9514 w 10000"/>
                  <a:gd name="connsiteY64" fmla="*/ 5610 h 9950"/>
                  <a:gd name="connsiteX65" fmla="*/ 9514 w 10000"/>
                  <a:gd name="connsiteY65" fmla="*/ 5595 h 9950"/>
                  <a:gd name="connsiteX66" fmla="*/ 9514 w 10000"/>
                  <a:gd name="connsiteY66" fmla="*/ 5549 h 9950"/>
                  <a:gd name="connsiteX67" fmla="*/ 9514 w 10000"/>
                  <a:gd name="connsiteY67" fmla="*/ 5534 h 9950"/>
                  <a:gd name="connsiteX68" fmla="*/ 9514 w 10000"/>
                  <a:gd name="connsiteY68" fmla="*/ 5503 h 9950"/>
                  <a:gd name="connsiteX69" fmla="*/ 9514 w 10000"/>
                  <a:gd name="connsiteY69" fmla="*/ 5488 h 9950"/>
                  <a:gd name="connsiteX70" fmla="*/ 9531 w 10000"/>
                  <a:gd name="connsiteY70" fmla="*/ 5450 h 9950"/>
                  <a:gd name="connsiteX71" fmla="*/ 9323 w 10000"/>
                  <a:gd name="connsiteY71" fmla="*/ 5320 h 9950"/>
                  <a:gd name="connsiteX72" fmla="*/ 9323 w 10000"/>
                  <a:gd name="connsiteY72" fmla="*/ 4946 h 9950"/>
                  <a:gd name="connsiteX73" fmla="*/ 9618 w 10000"/>
                  <a:gd name="connsiteY73" fmla="*/ 4427 h 9950"/>
                  <a:gd name="connsiteX74" fmla="*/ 9271 w 10000"/>
                  <a:gd name="connsiteY74" fmla="*/ 4534 h 9950"/>
                  <a:gd name="connsiteX75" fmla="*/ 7830 w 10000"/>
                  <a:gd name="connsiteY75" fmla="*/ 4954 h 9950"/>
                  <a:gd name="connsiteX76" fmla="*/ 7847 w 10000"/>
                  <a:gd name="connsiteY76" fmla="*/ 5061 h 9950"/>
                  <a:gd name="connsiteX77" fmla="*/ 7014 w 10000"/>
                  <a:gd name="connsiteY77" fmla="*/ 5434 h 9950"/>
                  <a:gd name="connsiteX78" fmla="*/ 6024 w 10000"/>
                  <a:gd name="connsiteY78" fmla="*/ 5259 h 9950"/>
                  <a:gd name="connsiteX79" fmla="*/ 6302 w 10000"/>
                  <a:gd name="connsiteY79" fmla="*/ 4908 h 9950"/>
                  <a:gd name="connsiteX80" fmla="*/ 7292 w 10000"/>
                  <a:gd name="connsiteY80" fmla="*/ 4733 h 9950"/>
                  <a:gd name="connsiteX81" fmla="*/ 7569 w 10000"/>
                  <a:gd name="connsiteY81" fmla="*/ 4778 h 9950"/>
                  <a:gd name="connsiteX82" fmla="*/ 8507 w 10000"/>
                  <a:gd name="connsiteY82" fmla="*/ 4534 h 9950"/>
                  <a:gd name="connsiteX83" fmla="*/ 9722 w 10000"/>
                  <a:gd name="connsiteY83" fmla="*/ 4153 h 9950"/>
                  <a:gd name="connsiteX84" fmla="*/ 9792 w 10000"/>
                  <a:gd name="connsiteY84" fmla="*/ 3764 h 9950"/>
                  <a:gd name="connsiteX85" fmla="*/ 9809 w 10000"/>
                  <a:gd name="connsiteY85" fmla="*/ 3642 h 9950"/>
                  <a:gd name="connsiteX86" fmla="*/ 9983 w 10000"/>
                  <a:gd name="connsiteY86" fmla="*/ 2734 h 9950"/>
                  <a:gd name="connsiteX87" fmla="*/ 10000 w 10000"/>
                  <a:gd name="connsiteY87" fmla="*/ 2704 h 9950"/>
                  <a:gd name="connsiteX88" fmla="*/ 9965 w 10000"/>
                  <a:gd name="connsiteY88" fmla="*/ 2650 h 9950"/>
                  <a:gd name="connsiteX0" fmla="*/ 9965 w 10000"/>
                  <a:gd name="connsiteY0" fmla="*/ 2663 h 10000"/>
                  <a:gd name="connsiteX1" fmla="*/ 9722 w 10000"/>
                  <a:gd name="connsiteY1" fmla="*/ 2211 h 10000"/>
                  <a:gd name="connsiteX2" fmla="*/ 9167 w 10000"/>
                  <a:gd name="connsiteY2" fmla="*/ 1628 h 10000"/>
                  <a:gd name="connsiteX3" fmla="*/ 8472 w 10000"/>
                  <a:gd name="connsiteY3" fmla="*/ 732 h 10000"/>
                  <a:gd name="connsiteX4" fmla="*/ 6858 w 10000"/>
                  <a:gd name="connsiteY4" fmla="*/ 126 h 10000"/>
                  <a:gd name="connsiteX5" fmla="*/ 4497 w 10000"/>
                  <a:gd name="connsiteY5" fmla="*/ 26 h 10000"/>
                  <a:gd name="connsiteX6" fmla="*/ 1615 w 10000"/>
                  <a:gd name="connsiteY6" fmla="*/ 287 h 10000"/>
                  <a:gd name="connsiteX7" fmla="*/ 156 w 10000"/>
                  <a:gd name="connsiteY7" fmla="*/ 1161 h 10000"/>
                  <a:gd name="connsiteX8" fmla="*/ 208 w 10000"/>
                  <a:gd name="connsiteY8" fmla="*/ 2088 h 10000"/>
                  <a:gd name="connsiteX9" fmla="*/ 69 w 10000"/>
                  <a:gd name="connsiteY9" fmla="*/ 2725 h 10000"/>
                  <a:gd name="connsiteX10" fmla="*/ 0 w 10000"/>
                  <a:gd name="connsiteY10" fmla="*/ 2840 h 10000"/>
                  <a:gd name="connsiteX11" fmla="*/ 52 w 10000"/>
                  <a:gd name="connsiteY11" fmla="*/ 2870 h 10000"/>
                  <a:gd name="connsiteX12" fmla="*/ 17 w 10000"/>
                  <a:gd name="connsiteY12" fmla="*/ 3407 h 10000"/>
                  <a:gd name="connsiteX13" fmla="*/ 35 w 10000"/>
                  <a:gd name="connsiteY13" fmla="*/ 3599 h 10000"/>
                  <a:gd name="connsiteX14" fmla="*/ 191 w 10000"/>
                  <a:gd name="connsiteY14" fmla="*/ 3829 h 10000"/>
                  <a:gd name="connsiteX15" fmla="*/ 260 w 10000"/>
                  <a:gd name="connsiteY15" fmla="*/ 3967 h 10000"/>
                  <a:gd name="connsiteX16" fmla="*/ 278 w 10000"/>
                  <a:gd name="connsiteY16" fmla="*/ 4028 h 10000"/>
                  <a:gd name="connsiteX17" fmla="*/ 330 w 10000"/>
                  <a:gd name="connsiteY17" fmla="*/ 4089 h 10000"/>
                  <a:gd name="connsiteX18" fmla="*/ 903 w 10000"/>
                  <a:gd name="connsiteY18" fmla="*/ 5009 h 10000"/>
                  <a:gd name="connsiteX19" fmla="*/ 1128 w 10000"/>
                  <a:gd name="connsiteY19" fmla="*/ 5193 h 10000"/>
                  <a:gd name="connsiteX20" fmla="*/ 1319 w 10000"/>
                  <a:gd name="connsiteY20" fmla="*/ 5277 h 10000"/>
                  <a:gd name="connsiteX21" fmla="*/ 1510 w 10000"/>
                  <a:gd name="connsiteY21" fmla="*/ 5416 h 10000"/>
                  <a:gd name="connsiteX22" fmla="*/ 1545 w 10000"/>
                  <a:gd name="connsiteY22" fmla="*/ 5408 h 10000"/>
                  <a:gd name="connsiteX23" fmla="*/ 2274 w 10000"/>
                  <a:gd name="connsiteY23" fmla="*/ 5807 h 10000"/>
                  <a:gd name="connsiteX24" fmla="*/ 2361 w 10000"/>
                  <a:gd name="connsiteY24" fmla="*/ 6067 h 10000"/>
                  <a:gd name="connsiteX25" fmla="*/ 2222 w 10000"/>
                  <a:gd name="connsiteY25" fmla="*/ 6036 h 10000"/>
                  <a:gd name="connsiteX26" fmla="*/ 1962 w 10000"/>
                  <a:gd name="connsiteY26" fmla="*/ 6121 h 10000"/>
                  <a:gd name="connsiteX27" fmla="*/ 1788 w 10000"/>
                  <a:gd name="connsiteY27" fmla="*/ 6619 h 10000"/>
                  <a:gd name="connsiteX28" fmla="*/ 1389 w 10000"/>
                  <a:gd name="connsiteY28" fmla="*/ 7018 h 10000"/>
                  <a:gd name="connsiteX29" fmla="*/ 1458 w 10000"/>
                  <a:gd name="connsiteY29" fmla="*/ 7025 h 10000"/>
                  <a:gd name="connsiteX30" fmla="*/ 2431 w 10000"/>
                  <a:gd name="connsiteY30" fmla="*/ 7302 h 10000"/>
                  <a:gd name="connsiteX31" fmla="*/ 2014 w 10000"/>
                  <a:gd name="connsiteY31" fmla="*/ 7639 h 10000"/>
                  <a:gd name="connsiteX32" fmla="*/ 2031 w 10000"/>
                  <a:gd name="connsiteY32" fmla="*/ 7654 h 10000"/>
                  <a:gd name="connsiteX33" fmla="*/ 2066 w 10000"/>
                  <a:gd name="connsiteY33" fmla="*/ 7669 h 10000"/>
                  <a:gd name="connsiteX34" fmla="*/ 4184 w 10000"/>
                  <a:gd name="connsiteY34" fmla="*/ 9977 h 10000"/>
                  <a:gd name="connsiteX35" fmla="*/ 4392 w 10000"/>
                  <a:gd name="connsiteY35" fmla="*/ 10000 h 10000"/>
                  <a:gd name="connsiteX36" fmla="*/ 5122 w 10000"/>
                  <a:gd name="connsiteY36" fmla="*/ 9992 h 10000"/>
                  <a:gd name="connsiteX37" fmla="*/ 5903 w 10000"/>
                  <a:gd name="connsiteY37" fmla="*/ 9341 h 10000"/>
                  <a:gd name="connsiteX38" fmla="*/ 6024 w 10000"/>
                  <a:gd name="connsiteY38" fmla="*/ 9241 h 10000"/>
                  <a:gd name="connsiteX39" fmla="*/ 6927 w 10000"/>
                  <a:gd name="connsiteY39" fmla="*/ 8191 h 10000"/>
                  <a:gd name="connsiteX40" fmla="*/ 6962 w 10000"/>
                  <a:gd name="connsiteY40" fmla="*/ 8045 h 10000"/>
                  <a:gd name="connsiteX41" fmla="*/ 6997 w 10000"/>
                  <a:gd name="connsiteY41" fmla="*/ 7953 h 10000"/>
                  <a:gd name="connsiteX42" fmla="*/ 7031 w 10000"/>
                  <a:gd name="connsiteY42" fmla="*/ 7923 h 10000"/>
                  <a:gd name="connsiteX43" fmla="*/ 7049 w 10000"/>
                  <a:gd name="connsiteY43" fmla="*/ 7915 h 10000"/>
                  <a:gd name="connsiteX44" fmla="*/ 7049 w 10000"/>
                  <a:gd name="connsiteY44" fmla="*/ 7915 h 10000"/>
                  <a:gd name="connsiteX45" fmla="*/ 7135 w 10000"/>
                  <a:gd name="connsiteY45" fmla="*/ 7861 h 10000"/>
                  <a:gd name="connsiteX46" fmla="*/ 7135 w 10000"/>
                  <a:gd name="connsiteY46" fmla="*/ 7861 h 10000"/>
                  <a:gd name="connsiteX47" fmla="*/ 7153 w 10000"/>
                  <a:gd name="connsiteY47" fmla="*/ 7861 h 10000"/>
                  <a:gd name="connsiteX48" fmla="*/ 7292 w 10000"/>
                  <a:gd name="connsiteY48" fmla="*/ 7792 h 10000"/>
                  <a:gd name="connsiteX49" fmla="*/ 7448 w 10000"/>
                  <a:gd name="connsiteY49" fmla="*/ 7724 h 10000"/>
                  <a:gd name="connsiteX50" fmla="*/ 7674 w 10000"/>
                  <a:gd name="connsiteY50" fmla="*/ 7555 h 10000"/>
                  <a:gd name="connsiteX51" fmla="*/ 8368 w 10000"/>
                  <a:gd name="connsiteY51" fmla="*/ 7025 h 10000"/>
                  <a:gd name="connsiteX52" fmla="*/ 9306 w 10000"/>
                  <a:gd name="connsiteY52" fmla="*/ 6090 h 10000"/>
                  <a:gd name="connsiteX53" fmla="*/ 9462 w 10000"/>
                  <a:gd name="connsiteY53" fmla="*/ 5945 h 10000"/>
                  <a:gd name="connsiteX54" fmla="*/ 9462 w 10000"/>
                  <a:gd name="connsiteY54" fmla="*/ 5945 h 10000"/>
                  <a:gd name="connsiteX55" fmla="*/ 9479 w 10000"/>
                  <a:gd name="connsiteY55" fmla="*/ 5883 h 10000"/>
                  <a:gd name="connsiteX56" fmla="*/ 9479 w 10000"/>
                  <a:gd name="connsiteY56" fmla="*/ 5868 h 10000"/>
                  <a:gd name="connsiteX57" fmla="*/ 9479 w 10000"/>
                  <a:gd name="connsiteY57" fmla="*/ 5822 h 10000"/>
                  <a:gd name="connsiteX58" fmla="*/ 9479 w 10000"/>
                  <a:gd name="connsiteY58" fmla="*/ 5807 h 10000"/>
                  <a:gd name="connsiteX59" fmla="*/ 9497 w 10000"/>
                  <a:gd name="connsiteY59" fmla="*/ 5753 h 10000"/>
                  <a:gd name="connsiteX60" fmla="*/ 9497 w 10000"/>
                  <a:gd name="connsiteY60" fmla="*/ 5738 h 10000"/>
                  <a:gd name="connsiteX61" fmla="*/ 9497 w 10000"/>
                  <a:gd name="connsiteY61" fmla="*/ 5691 h 10000"/>
                  <a:gd name="connsiteX62" fmla="*/ 9497 w 10000"/>
                  <a:gd name="connsiteY62" fmla="*/ 5676 h 10000"/>
                  <a:gd name="connsiteX63" fmla="*/ 9514 w 10000"/>
                  <a:gd name="connsiteY63" fmla="*/ 5638 h 10000"/>
                  <a:gd name="connsiteX64" fmla="*/ 9514 w 10000"/>
                  <a:gd name="connsiteY64" fmla="*/ 5623 h 10000"/>
                  <a:gd name="connsiteX65" fmla="*/ 9514 w 10000"/>
                  <a:gd name="connsiteY65" fmla="*/ 5577 h 10000"/>
                  <a:gd name="connsiteX66" fmla="*/ 9514 w 10000"/>
                  <a:gd name="connsiteY66" fmla="*/ 5562 h 10000"/>
                  <a:gd name="connsiteX67" fmla="*/ 9514 w 10000"/>
                  <a:gd name="connsiteY67" fmla="*/ 5531 h 10000"/>
                  <a:gd name="connsiteX68" fmla="*/ 9514 w 10000"/>
                  <a:gd name="connsiteY68" fmla="*/ 5516 h 10000"/>
                  <a:gd name="connsiteX69" fmla="*/ 9531 w 10000"/>
                  <a:gd name="connsiteY69" fmla="*/ 5477 h 10000"/>
                  <a:gd name="connsiteX70" fmla="*/ 9323 w 10000"/>
                  <a:gd name="connsiteY70" fmla="*/ 5347 h 10000"/>
                  <a:gd name="connsiteX71" fmla="*/ 9323 w 10000"/>
                  <a:gd name="connsiteY71" fmla="*/ 4971 h 10000"/>
                  <a:gd name="connsiteX72" fmla="*/ 9618 w 10000"/>
                  <a:gd name="connsiteY72" fmla="*/ 4449 h 10000"/>
                  <a:gd name="connsiteX73" fmla="*/ 9271 w 10000"/>
                  <a:gd name="connsiteY73" fmla="*/ 4557 h 10000"/>
                  <a:gd name="connsiteX74" fmla="*/ 7830 w 10000"/>
                  <a:gd name="connsiteY74" fmla="*/ 4979 h 10000"/>
                  <a:gd name="connsiteX75" fmla="*/ 7847 w 10000"/>
                  <a:gd name="connsiteY75" fmla="*/ 5086 h 10000"/>
                  <a:gd name="connsiteX76" fmla="*/ 7014 w 10000"/>
                  <a:gd name="connsiteY76" fmla="*/ 5461 h 10000"/>
                  <a:gd name="connsiteX77" fmla="*/ 6024 w 10000"/>
                  <a:gd name="connsiteY77" fmla="*/ 5285 h 10000"/>
                  <a:gd name="connsiteX78" fmla="*/ 6302 w 10000"/>
                  <a:gd name="connsiteY78" fmla="*/ 4933 h 10000"/>
                  <a:gd name="connsiteX79" fmla="*/ 7292 w 10000"/>
                  <a:gd name="connsiteY79" fmla="*/ 4757 h 10000"/>
                  <a:gd name="connsiteX80" fmla="*/ 7569 w 10000"/>
                  <a:gd name="connsiteY80" fmla="*/ 4802 h 10000"/>
                  <a:gd name="connsiteX81" fmla="*/ 8507 w 10000"/>
                  <a:gd name="connsiteY81" fmla="*/ 4557 h 10000"/>
                  <a:gd name="connsiteX82" fmla="*/ 9722 w 10000"/>
                  <a:gd name="connsiteY82" fmla="*/ 4174 h 10000"/>
                  <a:gd name="connsiteX83" fmla="*/ 9792 w 10000"/>
                  <a:gd name="connsiteY83" fmla="*/ 3783 h 10000"/>
                  <a:gd name="connsiteX84" fmla="*/ 9809 w 10000"/>
                  <a:gd name="connsiteY84" fmla="*/ 3660 h 10000"/>
                  <a:gd name="connsiteX85" fmla="*/ 9983 w 10000"/>
                  <a:gd name="connsiteY85" fmla="*/ 2748 h 10000"/>
                  <a:gd name="connsiteX86" fmla="*/ 10000 w 10000"/>
                  <a:gd name="connsiteY86" fmla="*/ 2718 h 10000"/>
                  <a:gd name="connsiteX87" fmla="*/ 9965 w 10000"/>
                  <a:gd name="connsiteY87" fmla="*/ 2663 h 10000"/>
                  <a:gd name="connsiteX0" fmla="*/ 9965 w 10000"/>
                  <a:gd name="connsiteY0" fmla="*/ 2663 h 10000"/>
                  <a:gd name="connsiteX1" fmla="*/ 9722 w 10000"/>
                  <a:gd name="connsiteY1" fmla="*/ 2211 h 10000"/>
                  <a:gd name="connsiteX2" fmla="*/ 9167 w 10000"/>
                  <a:gd name="connsiteY2" fmla="*/ 1628 h 10000"/>
                  <a:gd name="connsiteX3" fmla="*/ 8472 w 10000"/>
                  <a:gd name="connsiteY3" fmla="*/ 732 h 10000"/>
                  <a:gd name="connsiteX4" fmla="*/ 6858 w 10000"/>
                  <a:gd name="connsiteY4" fmla="*/ 126 h 10000"/>
                  <a:gd name="connsiteX5" fmla="*/ 4497 w 10000"/>
                  <a:gd name="connsiteY5" fmla="*/ 26 h 10000"/>
                  <a:gd name="connsiteX6" fmla="*/ 1615 w 10000"/>
                  <a:gd name="connsiteY6" fmla="*/ 287 h 10000"/>
                  <a:gd name="connsiteX7" fmla="*/ 156 w 10000"/>
                  <a:gd name="connsiteY7" fmla="*/ 1161 h 10000"/>
                  <a:gd name="connsiteX8" fmla="*/ 208 w 10000"/>
                  <a:gd name="connsiteY8" fmla="*/ 2088 h 10000"/>
                  <a:gd name="connsiteX9" fmla="*/ 69 w 10000"/>
                  <a:gd name="connsiteY9" fmla="*/ 2725 h 10000"/>
                  <a:gd name="connsiteX10" fmla="*/ 0 w 10000"/>
                  <a:gd name="connsiteY10" fmla="*/ 2840 h 10000"/>
                  <a:gd name="connsiteX11" fmla="*/ 8 w 10000"/>
                  <a:gd name="connsiteY11" fmla="*/ 2889 h 10000"/>
                  <a:gd name="connsiteX12" fmla="*/ 17 w 10000"/>
                  <a:gd name="connsiteY12" fmla="*/ 3407 h 10000"/>
                  <a:gd name="connsiteX13" fmla="*/ 35 w 10000"/>
                  <a:gd name="connsiteY13" fmla="*/ 3599 h 10000"/>
                  <a:gd name="connsiteX14" fmla="*/ 191 w 10000"/>
                  <a:gd name="connsiteY14" fmla="*/ 3829 h 10000"/>
                  <a:gd name="connsiteX15" fmla="*/ 260 w 10000"/>
                  <a:gd name="connsiteY15" fmla="*/ 3967 h 10000"/>
                  <a:gd name="connsiteX16" fmla="*/ 278 w 10000"/>
                  <a:gd name="connsiteY16" fmla="*/ 4028 h 10000"/>
                  <a:gd name="connsiteX17" fmla="*/ 330 w 10000"/>
                  <a:gd name="connsiteY17" fmla="*/ 4089 h 10000"/>
                  <a:gd name="connsiteX18" fmla="*/ 903 w 10000"/>
                  <a:gd name="connsiteY18" fmla="*/ 5009 h 10000"/>
                  <a:gd name="connsiteX19" fmla="*/ 1128 w 10000"/>
                  <a:gd name="connsiteY19" fmla="*/ 5193 h 10000"/>
                  <a:gd name="connsiteX20" fmla="*/ 1319 w 10000"/>
                  <a:gd name="connsiteY20" fmla="*/ 5277 h 10000"/>
                  <a:gd name="connsiteX21" fmla="*/ 1510 w 10000"/>
                  <a:gd name="connsiteY21" fmla="*/ 5416 h 10000"/>
                  <a:gd name="connsiteX22" fmla="*/ 1545 w 10000"/>
                  <a:gd name="connsiteY22" fmla="*/ 5408 h 10000"/>
                  <a:gd name="connsiteX23" fmla="*/ 2274 w 10000"/>
                  <a:gd name="connsiteY23" fmla="*/ 5807 h 10000"/>
                  <a:gd name="connsiteX24" fmla="*/ 2361 w 10000"/>
                  <a:gd name="connsiteY24" fmla="*/ 6067 h 10000"/>
                  <a:gd name="connsiteX25" fmla="*/ 2222 w 10000"/>
                  <a:gd name="connsiteY25" fmla="*/ 6036 h 10000"/>
                  <a:gd name="connsiteX26" fmla="*/ 1962 w 10000"/>
                  <a:gd name="connsiteY26" fmla="*/ 6121 h 10000"/>
                  <a:gd name="connsiteX27" fmla="*/ 1788 w 10000"/>
                  <a:gd name="connsiteY27" fmla="*/ 6619 h 10000"/>
                  <a:gd name="connsiteX28" fmla="*/ 1389 w 10000"/>
                  <a:gd name="connsiteY28" fmla="*/ 7018 h 10000"/>
                  <a:gd name="connsiteX29" fmla="*/ 1458 w 10000"/>
                  <a:gd name="connsiteY29" fmla="*/ 7025 h 10000"/>
                  <a:gd name="connsiteX30" fmla="*/ 2431 w 10000"/>
                  <a:gd name="connsiteY30" fmla="*/ 7302 h 10000"/>
                  <a:gd name="connsiteX31" fmla="*/ 2014 w 10000"/>
                  <a:gd name="connsiteY31" fmla="*/ 7639 h 10000"/>
                  <a:gd name="connsiteX32" fmla="*/ 2031 w 10000"/>
                  <a:gd name="connsiteY32" fmla="*/ 7654 h 10000"/>
                  <a:gd name="connsiteX33" fmla="*/ 2066 w 10000"/>
                  <a:gd name="connsiteY33" fmla="*/ 7669 h 10000"/>
                  <a:gd name="connsiteX34" fmla="*/ 4184 w 10000"/>
                  <a:gd name="connsiteY34" fmla="*/ 9977 h 10000"/>
                  <a:gd name="connsiteX35" fmla="*/ 4392 w 10000"/>
                  <a:gd name="connsiteY35" fmla="*/ 10000 h 10000"/>
                  <a:gd name="connsiteX36" fmla="*/ 5122 w 10000"/>
                  <a:gd name="connsiteY36" fmla="*/ 9992 h 10000"/>
                  <a:gd name="connsiteX37" fmla="*/ 5903 w 10000"/>
                  <a:gd name="connsiteY37" fmla="*/ 9341 h 10000"/>
                  <a:gd name="connsiteX38" fmla="*/ 6024 w 10000"/>
                  <a:gd name="connsiteY38" fmla="*/ 9241 h 10000"/>
                  <a:gd name="connsiteX39" fmla="*/ 6927 w 10000"/>
                  <a:gd name="connsiteY39" fmla="*/ 8191 h 10000"/>
                  <a:gd name="connsiteX40" fmla="*/ 6962 w 10000"/>
                  <a:gd name="connsiteY40" fmla="*/ 8045 h 10000"/>
                  <a:gd name="connsiteX41" fmla="*/ 6997 w 10000"/>
                  <a:gd name="connsiteY41" fmla="*/ 7953 h 10000"/>
                  <a:gd name="connsiteX42" fmla="*/ 7031 w 10000"/>
                  <a:gd name="connsiteY42" fmla="*/ 7923 h 10000"/>
                  <a:gd name="connsiteX43" fmla="*/ 7049 w 10000"/>
                  <a:gd name="connsiteY43" fmla="*/ 7915 h 10000"/>
                  <a:gd name="connsiteX44" fmla="*/ 7049 w 10000"/>
                  <a:gd name="connsiteY44" fmla="*/ 7915 h 10000"/>
                  <a:gd name="connsiteX45" fmla="*/ 7135 w 10000"/>
                  <a:gd name="connsiteY45" fmla="*/ 7861 h 10000"/>
                  <a:gd name="connsiteX46" fmla="*/ 7135 w 10000"/>
                  <a:gd name="connsiteY46" fmla="*/ 7861 h 10000"/>
                  <a:gd name="connsiteX47" fmla="*/ 7153 w 10000"/>
                  <a:gd name="connsiteY47" fmla="*/ 7861 h 10000"/>
                  <a:gd name="connsiteX48" fmla="*/ 7292 w 10000"/>
                  <a:gd name="connsiteY48" fmla="*/ 7792 h 10000"/>
                  <a:gd name="connsiteX49" fmla="*/ 7448 w 10000"/>
                  <a:gd name="connsiteY49" fmla="*/ 7724 h 10000"/>
                  <a:gd name="connsiteX50" fmla="*/ 7674 w 10000"/>
                  <a:gd name="connsiteY50" fmla="*/ 7555 h 10000"/>
                  <a:gd name="connsiteX51" fmla="*/ 8368 w 10000"/>
                  <a:gd name="connsiteY51" fmla="*/ 7025 h 10000"/>
                  <a:gd name="connsiteX52" fmla="*/ 9306 w 10000"/>
                  <a:gd name="connsiteY52" fmla="*/ 6090 h 10000"/>
                  <a:gd name="connsiteX53" fmla="*/ 9462 w 10000"/>
                  <a:gd name="connsiteY53" fmla="*/ 5945 h 10000"/>
                  <a:gd name="connsiteX54" fmla="*/ 9462 w 10000"/>
                  <a:gd name="connsiteY54" fmla="*/ 5945 h 10000"/>
                  <a:gd name="connsiteX55" fmla="*/ 9479 w 10000"/>
                  <a:gd name="connsiteY55" fmla="*/ 5883 h 10000"/>
                  <a:gd name="connsiteX56" fmla="*/ 9479 w 10000"/>
                  <a:gd name="connsiteY56" fmla="*/ 5868 h 10000"/>
                  <a:gd name="connsiteX57" fmla="*/ 9479 w 10000"/>
                  <a:gd name="connsiteY57" fmla="*/ 5822 h 10000"/>
                  <a:gd name="connsiteX58" fmla="*/ 9479 w 10000"/>
                  <a:gd name="connsiteY58" fmla="*/ 5807 h 10000"/>
                  <a:gd name="connsiteX59" fmla="*/ 9497 w 10000"/>
                  <a:gd name="connsiteY59" fmla="*/ 5753 h 10000"/>
                  <a:gd name="connsiteX60" fmla="*/ 9497 w 10000"/>
                  <a:gd name="connsiteY60" fmla="*/ 5738 h 10000"/>
                  <a:gd name="connsiteX61" fmla="*/ 9497 w 10000"/>
                  <a:gd name="connsiteY61" fmla="*/ 5691 h 10000"/>
                  <a:gd name="connsiteX62" fmla="*/ 9497 w 10000"/>
                  <a:gd name="connsiteY62" fmla="*/ 5676 h 10000"/>
                  <a:gd name="connsiteX63" fmla="*/ 9514 w 10000"/>
                  <a:gd name="connsiteY63" fmla="*/ 5638 h 10000"/>
                  <a:gd name="connsiteX64" fmla="*/ 9514 w 10000"/>
                  <a:gd name="connsiteY64" fmla="*/ 5623 h 10000"/>
                  <a:gd name="connsiteX65" fmla="*/ 9514 w 10000"/>
                  <a:gd name="connsiteY65" fmla="*/ 5577 h 10000"/>
                  <a:gd name="connsiteX66" fmla="*/ 9514 w 10000"/>
                  <a:gd name="connsiteY66" fmla="*/ 5562 h 10000"/>
                  <a:gd name="connsiteX67" fmla="*/ 9514 w 10000"/>
                  <a:gd name="connsiteY67" fmla="*/ 5531 h 10000"/>
                  <a:gd name="connsiteX68" fmla="*/ 9514 w 10000"/>
                  <a:gd name="connsiteY68" fmla="*/ 5516 h 10000"/>
                  <a:gd name="connsiteX69" fmla="*/ 9531 w 10000"/>
                  <a:gd name="connsiteY69" fmla="*/ 5477 h 10000"/>
                  <a:gd name="connsiteX70" fmla="*/ 9323 w 10000"/>
                  <a:gd name="connsiteY70" fmla="*/ 5347 h 10000"/>
                  <a:gd name="connsiteX71" fmla="*/ 9323 w 10000"/>
                  <a:gd name="connsiteY71" fmla="*/ 4971 h 10000"/>
                  <a:gd name="connsiteX72" fmla="*/ 9618 w 10000"/>
                  <a:gd name="connsiteY72" fmla="*/ 4449 h 10000"/>
                  <a:gd name="connsiteX73" fmla="*/ 9271 w 10000"/>
                  <a:gd name="connsiteY73" fmla="*/ 4557 h 10000"/>
                  <a:gd name="connsiteX74" fmla="*/ 7830 w 10000"/>
                  <a:gd name="connsiteY74" fmla="*/ 4979 h 10000"/>
                  <a:gd name="connsiteX75" fmla="*/ 7847 w 10000"/>
                  <a:gd name="connsiteY75" fmla="*/ 5086 h 10000"/>
                  <a:gd name="connsiteX76" fmla="*/ 7014 w 10000"/>
                  <a:gd name="connsiteY76" fmla="*/ 5461 h 10000"/>
                  <a:gd name="connsiteX77" fmla="*/ 6024 w 10000"/>
                  <a:gd name="connsiteY77" fmla="*/ 5285 h 10000"/>
                  <a:gd name="connsiteX78" fmla="*/ 6302 w 10000"/>
                  <a:gd name="connsiteY78" fmla="*/ 4933 h 10000"/>
                  <a:gd name="connsiteX79" fmla="*/ 7292 w 10000"/>
                  <a:gd name="connsiteY79" fmla="*/ 4757 h 10000"/>
                  <a:gd name="connsiteX80" fmla="*/ 7569 w 10000"/>
                  <a:gd name="connsiteY80" fmla="*/ 4802 h 10000"/>
                  <a:gd name="connsiteX81" fmla="*/ 8507 w 10000"/>
                  <a:gd name="connsiteY81" fmla="*/ 4557 h 10000"/>
                  <a:gd name="connsiteX82" fmla="*/ 9722 w 10000"/>
                  <a:gd name="connsiteY82" fmla="*/ 4174 h 10000"/>
                  <a:gd name="connsiteX83" fmla="*/ 9792 w 10000"/>
                  <a:gd name="connsiteY83" fmla="*/ 3783 h 10000"/>
                  <a:gd name="connsiteX84" fmla="*/ 9809 w 10000"/>
                  <a:gd name="connsiteY84" fmla="*/ 3660 h 10000"/>
                  <a:gd name="connsiteX85" fmla="*/ 9983 w 10000"/>
                  <a:gd name="connsiteY85" fmla="*/ 2748 h 10000"/>
                  <a:gd name="connsiteX86" fmla="*/ 10000 w 10000"/>
                  <a:gd name="connsiteY86" fmla="*/ 2718 h 10000"/>
                  <a:gd name="connsiteX87" fmla="*/ 9965 w 10000"/>
                  <a:gd name="connsiteY87" fmla="*/ 2663 h 10000"/>
                  <a:gd name="connsiteX0" fmla="*/ 10009 w 10044"/>
                  <a:gd name="connsiteY0" fmla="*/ 2663 h 10000"/>
                  <a:gd name="connsiteX1" fmla="*/ 9766 w 10044"/>
                  <a:gd name="connsiteY1" fmla="*/ 2211 h 10000"/>
                  <a:gd name="connsiteX2" fmla="*/ 9211 w 10044"/>
                  <a:gd name="connsiteY2" fmla="*/ 1628 h 10000"/>
                  <a:gd name="connsiteX3" fmla="*/ 8516 w 10044"/>
                  <a:gd name="connsiteY3" fmla="*/ 732 h 10000"/>
                  <a:gd name="connsiteX4" fmla="*/ 6902 w 10044"/>
                  <a:gd name="connsiteY4" fmla="*/ 126 h 10000"/>
                  <a:gd name="connsiteX5" fmla="*/ 4541 w 10044"/>
                  <a:gd name="connsiteY5" fmla="*/ 26 h 10000"/>
                  <a:gd name="connsiteX6" fmla="*/ 1659 w 10044"/>
                  <a:gd name="connsiteY6" fmla="*/ 287 h 10000"/>
                  <a:gd name="connsiteX7" fmla="*/ 200 w 10044"/>
                  <a:gd name="connsiteY7" fmla="*/ 1161 h 10000"/>
                  <a:gd name="connsiteX8" fmla="*/ 252 w 10044"/>
                  <a:gd name="connsiteY8" fmla="*/ 2088 h 10000"/>
                  <a:gd name="connsiteX9" fmla="*/ 113 w 10044"/>
                  <a:gd name="connsiteY9" fmla="*/ 2725 h 10000"/>
                  <a:gd name="connsiteX10" fmla="*/ 44 w 10044"/>
                  <a:gd name="connsiteY10" fmla="*/ 2840 h 10000"/>
                  <a:gd name="connsiteX11" fmla="*/ 52 w 10044"/>
                  <a:gd name="connsiteY11" fmla="*/ 2889 h 10000"/>
                  <a:gd name="connsiteX12" fmla="*/ 2 w 10044"/>
                  <a:gd name="connsiteY12" fmla="*/ 3433 h 10000"/>
                  <a:gd name="connsiteX13" fmla="*/ 79 w 10044"/>
                  <a:gd name="connsiteY13" fmla="*/ 3599 h 10000"/>
                  <a:gd name="connsiteX14" fmla="*/ 235 w 10044"/>
                  <a:gd name="connsiteY14" fmla="*/ 3829 h 10000"/>
                  <a:gd name="connsiteX15" fmla="*/ 304 w 10044"/>
                  <a:gd name="connsiteY15" fmla="*/ 3967 h 10000"/>
                  <a:gd name="connsiteX16" fmla="*/ 322 w 10044"/>
                  <a:gd name="connsiteY16" fmla="*/ 4028 h 10000"/>
                  <a:gd name="connsiteX17" fmla="*/ 374 w 10044"/>
                  <a:gd name="connsiteY17" fmla="*/ 4089 h 10000"/>
                  <a:gd name="connsiteX18" fmla="*/ 947 w 10044"/>
                  <a:gd name="connsiteY18" fmla="*/ 5009 h 10000"/>
                  <a:gd name="connsiteX19" fmla="*/ 1172 w 10044"/>
                  <a:gd name="connsiteY19" fmla="*/ 5193 h 10000"/>
                  <a:gd name="connsiteX20" fmla="*/ 1363 w 10044"/>
                  <a:gd name="connsiteY20" fmla="*/ 5277 h 10000"/>
                  <a:gd name="connsiteX21" fmla="*/ 1554 w 10044"/>
                  <a:gd name="connsiteY21" fmla="*/ 5416 h 10000"/>
                  <a:gd name="connsiteX22" fmla="*/ 1589 w 10044"/>
                  <a:gd name="connsiteY22" fmla="*/ 5408 h 10000"/>
                  <a:gd name="connsiteX23" fmla="*/ 2318 w 10044"/>
                  <a:gd name="connsiteY23" fmla="*/ 5807 h 10000"/>
                  <a:gd name="connsiteX24" fmla="*/ 2405 w 10044"/>
                  <a:gd name="connsiteY24" fmla="*/ 6067 h 10000"/>
                  <a:gd name="connsiteX25" fmla="*/ 2266 w 10044"/>
                  <a:gd name="connsiteY25" fmla="*/ 6036 h 10000"/>
                  <a:gd name="connsiteX26" fmla="*/ 2006 w 10044"/>
                  <a:gd name="connsiteY26" fmla="*/ 6121 h 10000"/>
                  <a:gd name="connsiteX27" fmla="*/ 1832 w 10044"/>
                  <a:gd name="connsiteY27" fmla="*/ 6619 h 10000"/>
                  <a:gd name="connsiteX28" fmla="*/ 1433 w 10044"/>
                  <a:gd name="connsiteY28" fmla="*/ 7018 h 10000"/>
                  <a:gd name="connsiteX29" fmla="*/ 1502 w 10044"/>
                  <a:gd name="connsiteY29" fmla="*/ 7025 h 10000"/>
                  <a:gd name="connsiteX30" fmla="*/ 2475 w 10044"/>
                  <a:gd name="connsiteY30" fmla="*/ 7302 h 10000"/>
                  <a:gd name="connsiteX31" fmla="*/ 2058 w 10044"/>
                  <a:gd name="connsiteY31" fmla="*/ 7639 h 10000"/>
                  <a:gd name="connsiteX32" fmla="*/ 2075 w 10044"/>
                  <a:gd name="connsiteY32" fmla="*/ 7654 h 10000"/>
                  <a:gd name="connsiteX33" fmla="*/ 2110 w 10044"/>
                  <a:gd name="connsiteY33" fmla="*/ 7669 h 10000"/>
                  <a:gd name="connsiteX34" fmla="*/ 4228 w 10044"/>
                  <a:gd name="connsiteY34" fmla="*/ 9977 h 10000"/>
                  <a:gd name="connsiteX35" fmla="*/ 4436 w 10044"/>
                  <a:gd name="connsiteY35" fmla="*/ 10000 h 10000"/>
                  <a:gd name="connsiteX36" fmla="*/ 5166 w 10044"/>
                  <a:gd name="connsiteY36" fmla="*/ 9992 h 10000"/>
                  <a:gd name="connsiteX37" fmla="*/ 5947 w 10044"/>
                  <a:gd name="connsiteY37" fmla="*/ 9341 h 10000"/>
                  <a:gd name="connsiteX38" fmla="*/ 6068 w 10044"/>
                  <a:gd name="connsiteY38" fmla="*/ 9241 h 10000"/>
                  <a:gd name="connsiteX39" fmla="*/ 6971 w 10044"/>
                  <a:gd name="connsiteY39" fmla="*/ 8191 h 10000"/>
                  <a:gd name="connsiteX40" fmla="*/ 7006 w 10044"/>
                  <a:gd name="connsiteY40" fmla="*/ 8045 h 10000"/>
                  <a:gd name="connsiteX41" fmla="*/ 7041 w 10044"/>
                  <a:gd name="connsiteY41" fmla="*/ 7953 h 10000"/>
                  <a:gd name="connsiteX42" fmla="*/ 7075 w 10044"/>
                  <a:gd name="connsiteY42" fmla="*/ 7923 h 10000"/>
                  <a:gd name="connsiteX43" fmla="*/ 7093 w 10044"/>
                  <a:gd name="connsiteY43" fmla="*/ 7915 h 10000"/>
                  <a:gd name="connsiteX44" fmla="*/ 7093 w 10044"/>
                  <a:gd name="connsiteY44" fmla="*/ 7915 h 10000"/>
                  <a:gd name="connsiteX45" fmla="*/ 7179 w 10044"/>
                  <a:gd name="connsiteY45" fmla="*/ 7861 h 10000"/>
                  <a:gd name="connsiteX46" fmla="*/ 7179 w 10044"/>
                  <a:gd name="connsiteY46" fmla="*/ 7861 h 10000"/>
                  <a:gd name="connsiteX47" fmla="*/ 7197 w 10044"/>
                  <a:gd name="connsiteY47" fmla="*/ 7861 h 10000"/>
                  <a:gd name="connsiteX48" fmla="*/ 7336 w 10044"/>
                  <a:gd name="connsiteY48" fmla="*/ 7792 h 10000"/>
                  <a:gd name="connsiteX49" fmla="*/ 7492 w 10044"/>
                  <a:gd name="connsiteY49" fmla="*/ 7724 h 10000"/>
                  <a:gd name="connsiteX50" fmla="*/ 7718 w 10044"/>
                  <a:gd name="connsiteY50" fmla="*/ 7555 h 10000"/>
                  <a:gd name="connsiteX51" fmla="*/ 8412 w 10044"/>
                  <a:gd name="connsiteY51" fmla="*/ 7025 h 10000"/>
                  <a:gd name="connsiteX52" fmla="*/ 9350 w 10044"/>
                  <a:gd name="connsiteY52" fmla="*/ 6090 h 10000"/>
                  <a:gd name="connsiteX53" fmla="*/ 9506 w 10044"/>
                  <a:gd name="connsiteY53" fmla="*/ 5945 h 10000"/>
                  <a:gd name="connsiteX54" fmla="*/ 9506 w 10044"/>
                  <a:gd name="connsiteY54" fmla="*/ 5945 h 10000"/>
                  <a:gd name="connsiteX55" fmla="*/ 9523 w 10044"/>
                  <a:gd name="connsiteY55" fmla="*/ 5883 h 10000"/>
                  <a:gd name="connsiteX56" fmla="*/ 9523 w 10044"/>
                  <a:gd name="connsiteY56" fmla="*/ 5868 h 10000"/>
                  <a:gd name="connsiteX57" fmla="*/ 9523 w 10044"/>
                  <a:gd name="connsiteY57" fmla="*/ 5822 h 10000"/>
                  <a:gd name="connsiteX58" fmla="*/ 9523 w 10044"/>
                  <a:gd name="connsiteY58" fmla="*/ 5807 h 10000"/>
                  <a:gd name="connsiteX59" fmla="*/ 9541 w 10044"/>
                  <a:gd name="connsiteY59" fmla="*/ 5753 h 10000"/>
                  <a:gd name="connsiteX60" fmla="*/ 9541 w 10044"/>
                  <a:gd name="connsiteY60" fmla="*/ 5738 h 10000"/>
                  <a:gd name="connsiteX61" fmla="*/ 9541 w 10044"/>
                  <a:gd name="connsiteY61" fmla="*/ 5691 h 10000"/>
                  <a:gd name="connsiteX62" fmla="*/ 9541 w 10044"/>
                  <a:gd name="connsiteY62" fmla="*/ 5676 h 10000"/>
                  <a:gd name="connsiteX63" fmla="*/ 9558 w 10044"/>
                  <a:gd name="connsiteY63" fmla="*/ 5638 h 10000"/>
                  <a:gd name="connsiteX64" fmla="*/ 9558 w 10044"/>
                  <a:gd name="connsiteY64" fmla="*/ 5623 h 10000"/>
                  <a:gd name="connsiteX65" fmla="*/ 9558 w 10044"/>
                  <a:gd name="connsiteY65" fmla="*/ 5577 h 10000"/>
                  <a:gd name="connsiteX66" fmla="*/ 9558 w 10044"/>
                  <a:gd name="connsiteY66" fmla="*/ 5562 h 10000"/>
                  <a:gd name="connsiteX67" fmla="*/ 9558 w 10044"/>
                  <a:gd name="connsiteY67" fmla="*/ 5531 h 10000"/>
                  <a:gd name="connsiteX68" fmla="*/ 9558 w 10044"/>
                  <a:gd name="connsiteY68" fmla="*/ 5516 h 10000"/>
                  <a:gd name="connsiteX69" fmla="*/ 9575 w 10044"/>
                  <a:gd name="connsiteY69" fmla="*/ 5477 h 10000"/>
                  <a:gd name="connsiteX70" fmla="*/ 9367 w 10044"/>
                  <a:gd name="connsiteY70" fmla="*/ 5347 h 10000"/>
                  <a:gd name="connsiteX71" fmla="*/ 9367 w 10044"/>
                  <a:gd name="connsiteY71" fmla="*/ 4971 h 10000"/>
                  <a:gd name="connsiteX72" fmla="*/ 9662 w 10044"/>
                  <a:gd name="connsiteY72" fmla="*/ 4449 h 10000"/>
                  <a:gd name="connsiteX73" fmla="*/ 9315 w 10044"/>
                  <a:gd name="connsiteY73" fmla="*/ 4557 h 10000"/>
                  <a:gd name="connsiteX74" fmla="*/ 7874 w 10044"/>
                  <a:gd name="connsiteY74" fmla="*/ 4979 h 10000"/>
                  <a:gd name="connsiteX75" fmla="*/ 7891 w 10044"/>
                  <a:gd name="connsiteY75" fmla="*/ 5086 h 10000"/>
                  <a:gd name="connsiteX76" fmla="*/ 7058 w 10044"/>
                  <a:gd name="connsiteY76" fmla="*/ 5461 h 10000"/>
                  <a:gd name="connsiteX77" fmla="*/ 6068 w 10044"/>
                  <a:gd name="connsiteY77" fmla="*/ 5285 h 10000"/>
                  <a:gd name="connsiteX78" fmla="*/ 6346 w 10044"/>
                  <a:gd name="connsiteY78" fmla="*/ 4933 h 10000"/>
                  <a:gd name="connsiteX79" fmla="*/ 7336 w 10044"/>
                  <a:gd name="connsiteY79" fmla="*/ 4757 h 10000"/>
                  <a:gd name="connsiteX80" fmla="*/ 7613 w 10044"/>
                  <a:gd name="connsiteY80" fmla="*/ 4802 h 10000"/>
                  <a:gd name="connsiteX81" fmla="*/ 8551 w 10044"/>
                  <a:gd name="connsiteY81" fmla="*/ 4557 h 10000"/>
                  <a:gd name="connsiteX82" fmla="*/ 9766 w 10044"/>
                  <a:gd name="connsiteY82" fmla="*/ 4174 h 10000"/>
                  <a:gd name="connsiteX83" fmla="*/ 9836 w 10044"/>
                  <a:gd name="connsiteY83" fmla="*/ 3783 h 10000"/>
                  <a:gd name="connsiteX84" fmla="*/ 9853 w 10044"/>
                  <a:gd name="connsiteY84" fmla="*/ 3660 h 10000"/>
                  <a:gd name="connsiteX85" fmla="*/ 10027 w 10044"/>
                  <a:gd name="connsiteY85" fmla="*/ 2748 h 10000"/>
                  <a:gd name="connsiteX86" fmla="*/ 10044 w 10044"/>
                  <a:gd name="connsiteY86" fmla="*/ 2718 h 10000"/>
                  <a:gd name="connsiteX87" fmla="*/ 10009 w 10044"/>
                  <a:gd name="connsiteY87" fmla="*/ 2663 h 10000"/>
                  <a:gd name="connsiteX0" fmla="*/ 10011 w 10046"/>
                  <a:gd name="connsiteY0" fmla="*/ 2663 h 10000"/>
                  <a:gd name="connsiteX1" fmla="*/ 9768 w 10046"/>
                  <a:gd name="connsiteY1" fmla="*/ 2211 h 10000"/>
                  <a:gd name="connsiteX2" fmla="*/ 9213 w 10046"/>
                  <a:gd name="connsiteY2" fmla="*/ 1628 h 10000"/>
                  <a:gd name="connsiteX3" fmla="*/ 8518 w 10046"/>
                  <a:gd name="connsiteY3" fmla="*/ 732 h 10000"/>
                  <a:gd name="connsiteX4" fmla="*/ 6904 w 10046"/>
                  <a:gd name="connsiteY4" fmla="*/ 126 h 10000"/>
                  <a:gd name="connsiteX5" fmla="*/ 4543 w 10046"/>
                  <a:gd name="connsiteY5" fmla="*/ 26 h 10000"/>
                  <a:gd name="connsiteX6" fmla="*/ 1661 w 10046"/>
                  <a:gd name="connsiteY6" fmla="*/ 287 h 10000"/>
                  <a:gd name="connsiteX7" fmla="*/ 202 w 10046"/>
                  <a:gd name="connsiteY7" fmla="*/ 1161 h 10000"/>
                  <a:gd name="connsiteX8" fmla="*/ 254 w 10046"/>
                  <a:gd name="connsiteY8" fmla="*/ 2088 h 10000"/>
                  <a:gd name="connsiteX9" fmla="*/ 115 w 10046"/>
                  <a:gd name="connsiteY9" fmla="*/ 2725 h 10000"/>
                  <a:gd name="connsiteX10" fmla="*/ 46 w 10046"/>
                  <a:gd name="connsiteY10" fmla="*/ 2840 h 10000"/>
                  <a:gd name="connsiteX11" fmla="*/ 54 w 10046"/>
                  <a:gd name="connsiteY11" fmla="*/ 2889 h 10000"/>
                  <a:gd name="connsiteX12" fmla="*/ 4 w 10046"/>
                  <a:gd name="connsiteY12" fmla="*/ 3433 h 10000"/>
                  <a:gd name="connsiteX13" fmla="*/ 37 w 10046"/>
                  <a:gd name="connsiteY13" fmla="*/ 3638 h 10000"/>
                  <a:gd name="connsiteX14" fmla="*/ 237 w 10046"/>
                  <a:gd name="connsiteY14" fmla="*/ 3829 h 10000"/>
                  <a:gd name="connsiteX15" fmla="*/ 306 w 10046"/>
                  <a:gd name="connsiteY15" fmla="*/ 3967 h 10000"/>
                  <a:gd name="connsiteX16" fmla="*/ 324 w 10046"/>
                  <a:gd name="connsiteY16" fmla="*/ 4028 h 10000"/>
                  <a:gd name="connsiteX17" fmla="*/ 376 w 10046"/>
                  <a:gd name="connsiteY17" fmla="*/ 4089 h 10000"/>
                  <a:gd name="connsiteX18" fmla="*/ 949 w 10046"/>
                  <a:gd name="connsiteY18" fmla="*/ 5009 h 10000"/>
                  <a:gd name="connsiteX19" fmla="*/ 1174 w 10046"/>
                  <a:gd name="connsiteY19" fmla="*/ 5193 h 10000"/>
                  <a:gd name="connsiteX20" fmla="*/ 1365 w 10046"/>
                  <a:gd name="connsiteY20" fmla="*/ 5277 h 10000"/>
                  <a:gd name="connsiteX21" fmla="*/ 1556 w 10046"/>
                  <a:gd name="connsiteY21" fmla="*/ 5416 h 10000"/>
                  <a:gd name="connsiteX22" fmla="*/ 1591 w 10046"/>
                  <a:gd name="connsiteY22" fmla="*/ 5408 h 10000"/>
                  <a:gd name="connsiteX23" fmla="*/ 2320 w 10046"/>
                  <a:gd name="connsiteY23" fmla="*/ 5807 h 10000"/>
                  <a:gd name="connsiteX24" fmla="*/ 2407 w 10046"/>
                  <a:gd name="connsiteY24" fmla="*/ 6067 h 10000"/>
                  <a:gd name="connsiteX25" fmla="*/ 2268 w 10046"/>
                  <a:gd name="connsiteY25" fmla="*/ 6036 h 10000"/>
                  <a:gd name="connsiteX26" fmla="*/ 2008 w 10046"/>
                  <a:gd name="connsiteY26" fmla="*/ 6121 h 10000"/>
                  <a:gd name="connsiteX27" fmla="*/ 1834 w 10046"/>
                  <a:gd name="connsiteY27" fmla="*/ 6619 h 10000"/>
                  <a:gd name="connsiteX28" fmla="*/ 1435 w 10046"/>
                  <a:gd name="connsiteY28" fmla="*/ 7018 h 10000"/>
                  <a:gd name="connsiteX29" fmla="*/ 1504 w 10046"/>
                  <a:gd name="connsiteY29" fmla="*/ 7025 h 10000"/>
                  <a:gd name="connsiteX30" fmla="*/ 2477 w 10046"/>
                  <a:gd name="connsiteY30" fmla="*/ 7302 h 10000"/>
                  <a:gd name="connsiteX31" fmla="*/ 2060 w 10046"/>
                  <a:gd name="connsiteY31" fmla="*/ 7639 h 10000"/>
                  <a:gd name="connsiteX32" fmla="*/ 2077 w 10046"/>
                  <a:gd name="connsiteY32" fmla="*/ 7654 h 10000"/>
                  <a:gd name="connsiteX33" fmla="*/ 2112 w 10046"/>
                  <a:gd name="connsiteY33" fmla="*/ 7669 h 10000"/>
                  <a:gd name="connsiteX34" fmla="*/ 4230 w 10046"/>
                  <a:gd name="connsiteY34" fmla="*/ 9977 h 10000"/>
                  <a:gd name="connsiteX35" fmla="*/ 4438 w 10046"/>
                  <a:gd name="connsiteY35" fmla="*/ 10000 h 10000"/>
                  <a:gd name="connsiteX36" fmla="*/ 5168 w 10046"/>
                  <a:gd name="connsiteY36" fmla="*/ 9992 h 10000"/>
                  <a:gd name="connsiteX37" fmla="*/ 5949 w 10046"/>
                  <a:gd name="connsiteY37" fmla="*/ 9341 h 10000"/>
                  <a:gd name="connsiteX38" fmla="*/ 6070 w 10046"/>
                  <a:gd name="connsiteY38" fmla="*/ 9241 h 10000"/>
                  <a:gd name="connsiteX39" fmla="*/ 6973 w 10046"/>
                  <a:gd name="connsiteY39" fmla="*/ 8191 h 10000"/>
                  <a:gd name="connsiteX40" fmla="*/ 7008 w 10046"/>
                  <a:gd name="connsiteY40" fmla="*/ 8045 h 10000"/>
                  <a:gd name="connsiteX41" fmla="*/ 7043 w 10046"/>
                  <a:gd name="connsiteY41" fmla="*/ 7953 h 10000"/>
                  <a:gd name="connsiteX42" fmla="*/ 7077 w 10046"/>
                  <a:gd name="connsiteY42" fmla="*/ 7923 h 10000"/>
                  <a:gd name="connsiteX43" fmla="*/ 7095 w 10046"/>
                  <a:gd name="connsiteY43" fmla="*/ 7915 h 10000"/>
                  <a:gd name="connsiteX44" fmla="*/ 7095 w 10046"/>
                  <a:gd name="connsiteY44" fmla="*/ 7915 h 10000"/>
                  <a:gd name="connsiteX45" fmla="*/ 7181 w 10046"/>
                  <a:gd name="connsiteY45" fmla="*/ 7861 h 10000"/>
                  <a:gd name="connsiteX46" fmla="*/ 7181 w 10046"/>
                  <a:gd name="connsiteY46" fmla="*/ 7861 h 10000"/>
                  <a:gd name="connsiteX47" fmla="*/ 7199 w 10046"/>
                  <a:gd name="connsiteY47" fmla="*/ 7861 h 10000"/>
                  <a:gd name="connsiteX48" fmla="*/ 7338 w 10046"/>
                  <a:gd name="connsiteY48" fmla="*/ 7792 h 10000"/>
                  <a:gd name="connsiteX49" fmla="*/ 7494 w 10046"/>
                  <a:gd name="connsiteY49" fmla="*/ 7724 h 10000"/>
                  <a:gd name="connsiteX50" fmla="*/ 7720 w 10046"/>
                  <a:gd name="connsiteY50" fmla="*/ 7555 h 10000"/>
                  <a:gd name="connsiteX51" fmla="*/ 8414 w 10046"/>
                  <a:gd name="connsiteY51" fmla="*/ 7025 h 10000"/>
                  <a:gd name="connsiteX52" fmla="*/ 9352 w 10046"/>
                  <a:gd name="connsiteY52" fmla="*/ 6090 h 10000"/>
                  <a:gd name="connsiteX53" fmla="*/ 9508 w 10046"/>
                  <a:gd name="connsiteY53" fmla="*/ 5945 h 10000"/>
                  <a:gd name="connsiteX54" fmla="*/ 9508 w 10046"/>
                  <a:gd name="connsiteY54" fmla="*/ 5945 h 10000"/>
                  <a:gd name="connsiteX55" fmla="*/ 9525 w 10046"/>
                  <a:gd name="connsiteY55" fmla="*/ 5883 h 10000"/>
                  <a:gd name="connsiteX56" fmla="*/ 9525 w 10046"/>
                  <a:gd name="connsiteY56" fmla="*/ 5868 h 10000"/>
                  <a:gd name="connsiteX57" fmla="*/ 9525 w 10046"/>
                  <a:gd name="connsiteY57" fmla="*/ 5822 h 10000"/>
                  <a:gd name="connsiteX58" fmla="*/ 9525 w 10046"/>
                  <a:gd name="connsiteY58" fmla="*/ 5807 h 10000"/>
                  <a:gd name="connsiteX59" fmla="*/ 9543 w 10046"/>
                  <a:gd name="connsiteY59" fmla="*/ 5753 h 10000"/>
                  <a:gd name="connsiteX60" fmla="*/ 9543 w 10046"/>
                  <a:gd name="connsiteY60" fmla="*/ 5738 h 10000"/>
                  <a:gd name="connsiteX61" fmla="*/ 9543 w 10046"/>
                  <a:gd name="connsiteY61" fmla="*/ 5691 h 10000"/>
                  <a:gd name="connsiteX62" fmla="*/ 9543 w 10046"/>
                  <a:gd name="connsiteY62" fmla="*/ 5676 h 10000"/>
                  <a:gd name="connsiteX63" fmla="*/ 9560 w 10046"/>
                  <a:gd name="connsiteY63" fmla="*/ 5638 h 10000"/>
                  <a:gd name="connsiteX64" fmla="*/ 9560 w 10046"/>
                  <a:gd name="connsiteY64" fmla="*/ 5623 h 10000"/>
                  <a:gd name="connsiteX65" fmla="*/ 9560 w 10046"/>
                  <a:gd name="connsiteY65" fmla="*/ 5577 h 10000"/>
                  <a:gd name="connsiteX66" fmla="*/ 9560 w 10046"/>
                  <a:gd name="connsiteY66" fmla="*/ 5562 h 10000"/>
                  <a:gd name="connsiteX67" fmla="*/ 9560 w 10046"/>
                  <a:gd name="connsiteY67" fmla="*/ 5531 h 10000"/>
                  <a:gd name="connsiteX68" fmla="*/ 9560 w 10046"/>
                  <a:gd name="connsiteY68" fmla="*/ 5516 h 10000"/>
                  <a:gd name="connsiteX69" fmla="*/ 9577 w 10046"/>
                  <a:gd name="connsiteY69" fmla="*/ 5477 h 10000"/>
                  <a:gd name="connsiteX70" fmla="*/ 9369 w 10046"/>
                  <a:gd name="connsiteY70" fmla="*/ 5347 h 10000"/>
                  <a:gd name="connsiteX71" fmla="*/ 9369 w 10046"/>
                  <a:gd name="connsiteY71" fmla="*/ 4971 h 10000"/>
                  <a:gd name="connsiteX72" fmla="*/ 9664 w 10046"/>
                  <a:gd name="connsiteY72" fmla="*/ 4449 h 10000"/>
                  <a:gd name="connsiteX73" fmla="*/ 9317 w 10046"/>
                  <a:gd name="connsiteY73" fmla="*/ 4557 h 10000"/>
                  <a:gd name="connsiteX74" fmla="*/ 7876 w 10046"/>
                  <a:gd name="connsiteY74" fmla="*/ 4979 h 10000"/>
                  <a:gd name="connsiteX75" fmla="*/ 7893 w 10046"/>
                  <a:gd name="connsiteY75" fmla="*/ 5086 h 10000"/>
                  <a:gd name="connsiteX76" fmla="*/ 7060 w 10046"/>
                  <a:gd name="connsiteY76" fmla="*/ 5461 h 10000"/>
                  <a:gd name="connsiteX77" fmla="*/ 6070 w 10046"/>
                  <a:gd name="connsiteY77" fmla="*/ 5285 h 10000"/>
                  <a:gd name="connsiteX78" fmla="*/ 6348 w 10046"/>
                  <a:gd name="connsiteY78" fmla="*/ 4933 h 10000"/>
                  <a:gd name="connsiteX79" fmla="*/ 7338 w 10046"/>
                  <a:gd name="connsiteY79" fmla="*/ 4757 h 10000"/>
                  <a:gd name="connsiteX80" fmla="*/ 7615 w 10046"/>
                  <a:gd name="connsiteY80" fmla="*/ 4802 h 10000"/>
                  <a:gd name="connsiteX81" fmla="*/ 8553 w 10046"/>
                  <a:gd name="connsiteY81" fmla="*/ 4557 h 10000"/>
                  <a:gd name="connsiteX82" fmla="*/ 9768 w 10046"/>
                  <a:gd name="connsiteY82" fmla="*/ 4174 h 10000"/>
                  <a:gd name="connsiteX83" fmla="*/ 9838 w 10046"/>
                  <a:gd name="connsiteY83" fmla="*/ 3783 h 10000"/>
                  <a:gd name="connsiteX84" fmla="*/ 9855 w 10046"/>
                  <a:gd name="connsiteY84" fmla="*/ 3660 h 10000"/>
                  <a:gd name="connsiteX85" fmla="*/ 10029 w 10046"/>
                  <a:gd name="connsiteY85" fmla="*/ 2748 h 10000"/>
                  <a:gd name="connsiteX86" fmla="*/ 10046 w 10046"/>
                  <a:gd name="connsiteY86" fmla="*/ 2718 h 10000"/>
                  <a:gd name="connsiteX87" fmla="*/ 10011 w 10046"/>
                  <a:gd name="connsiteY87" fmla="*/ 2663 h 10000"/>
                  <a:gd name="connsiteX0" fmla="*/ 10011 w 10046"/>
                  <a:gd name="connsiteY0" fmla="*/ 2663 h 10000"/>
                  <a:gd name="connsiteX1" fmla="*/ 9768 w 10046"/>
                  <a:gd name="connsiteY1" fmla="*/ 2211 h 10000"/>
                  <a:gd name="connsiteX2" fmla="*/ 9213 w 10046"/>
                  <a:gd name="connsiteY2" fmla="*/ 1628 h 10000"/>
                  <a:gd name="connsiteX3" fmla="*/ 8518 w 10046"/>
                  <a:gd name="connsiteY3" fmla="*/ 732 h 10000"/>
                  <a:gd name="connsiteX4" fmla="*/ 6904 w 10046"/>
                  <a:gd name="connsiteY4" fmla="*/ 126 h 10000"/>
                  <a:gd name="connsiteX5" fmla="*/ 4543 w 10046"/>
                  <a:gd name="connsiteY5" fmla="*/ 26 h 10000"/>
                  <a:gd name="connsiteX6" fmla="*/ 1661 w 10046"/>
                  <a:gd name="connsiteY6" fmla="*/ 287 h 10000"/>
                  <a:gd name="connsiteX7" fmla="*/ 202 w 10046"/>
                  <a:gd name="connsiteY7" fmla="*/ 1161 h 10000"/>
                  <a:gd name="connsiteX8" fmla="*/ 254 w 10046"/>
                  <a:gd name="connsiteY8" fmla="*/ 2088 h 10000"/>
                  <a:gd name="connsiteX9" fmla="*/ 115 w 10046"/>
                  <a:gd name="connsiteY9" fmla="*/ 2725 h 10000"/>
                  <a:gd name="connsiteX10" fmla="*/ 46 w 10046"/>
                  <a:gd name="connsiteY10" fmla="*/ 2840 h 10000"/>
                  <a:gd name="connsiteX11" fmla="*/ 54 w 10046"/>
                  <a:gd name="connsiteY11" fmla="*/ 2889 h 10000"/>
                  <a:gd name="connsiteX12" fmla="*/ 4 w 10046"/>
                  <a:gd name="connsiteY12" fmla="*/ 3433 h 10000"/>
                  <a:gd name="connsiteX13" fmla="*/ 37 w 10046"/>
                  <a:gd name="connsiteY13" fmla="*/ 3638 h 10000"/>
                  <a:gd name="connsiteX14" fmla="*/ 193 w 10046"/>
                  <a:gd name="connsiteY14" fmla="*/ 3848 h 10000"/>
                  <a:gd name="connsiteX15" fmla="*/ 306 w 10046"/>
                  <a:gd name="connsiteY15" fmla="*/ 3967 h 10000"/>
                  <a:gd name="connsiteX16" fmla="*/ 324 w 10046"/>
                  <a:gd name="connsiteY16" fmla="*/ 4028 h 10000"/>
                  <a:gd name="connsiteX17" fmla="*/ 376 w 10046"/>
                  <a:gd name="connsiteY17" fmla="*/ 4089 h 10000"/>
                  <a:gd name="connsiteX18" fmla="*/ 949 w 10046"/>
                  <a:gd name="connsiteY18" fmla="*/ 5009 h 10000"/>
                  <a:gd name="connsiteX19" fmla="*/ 1174 w 10046"/>
                  <a:gd name="connsiteY19" fmla="*/ 5193 h 10000"/>
                  <a:gd name="connsiteX20" fmla="*/ 1365 w 10046"/>
                  <a:gd name="connsiteY20" fmla="*/ 5277 h 10000"/>
                  <a:gd name="connsiteX21" fmla="*/ 1556 w 10046"/>
                  <a:gd name="connsiteY21" fmla="*/ 5416 h 10000"/>
                  <a:gd name="connsiteX22" fmla="*/ 1591 w 10046"/>
                  <a:gd name="connsiteY22" fmla="*/ 5408 h 10000"/>
                  <a:gd name="connsiteX23" fmla="*/ 2320 w 10046"/>
                  <a:gd name="connsiteY23" fmla="*/ 5807 h 10000"/>
                  <a:gd name="connsiteX24" fmla="*/ 2407 w 10046"/>
                  <a:gd name="connsiteY24" fmla="*/ 6067 h 10000"/>
                  <a:gd name="connsiteX25" fmla="*/ 2268 w 10046"/>
                  <a:gd name="connsiteY25" fmla="*/ 6036 h 10000"/>
                  <a:gd name="connsiteX26" fmla="*/ 2008 w 10046"/>
                  <a:gd name="connsiteY26" fmla="*/ 6121 h 10000"/>
                  <a:gd name="connsiteX27" fmla="*/ 1834 w 10046"/>
                  <a:gd name="connsiteY27" fmla="*/ 6619 h 10000"/>
                  <a:gd name="connsiteX28" fmla="*/ 1435 w 10046"/>
                  <a:gd name="connsiteY28" fmla="*/ 7018 h 10000"/>
                  <a:gd name="connsiteX29" fmla="*/ 1504 w 10046"/>
                  <a:gd name="connsiteY29" fmla="*/ 7025 h 10000"/>
                  <a:gd name="connsiteX30" fmla="*/ 2477 w 10046"/>
                  <a:gd name="connsiteY30" fmla="*/ 7302 h 10000"/>
                  <a:gd name="connsiteX31" fmla="*/ 2060 w 10046"/>
                  <a:gd name="connsiteY31" fmla="*/ 7639 h 10000"/>
                  <a:gd name="connsiteX32" fmla="*/ 2077 w 10046"/>
                  <a:gd name="connsiteY32" fmla="*/ 7654 h 10000"/>
                  <a:gd name="connsiteX33" fmla="*/ 2112 w 10046"/>
                  <a:gd name="connsiteY33" fmla="*/ 7669 h 10000"/>
                  <a:gd name="connsiteX34" fmla="*/ 4230 w 10046"/>
                  <a:gd name="connsiteY34" fmla="*/ 9977 h 10000"/>
                  <a:gd name="connsiteX35" fmla="*/ 4438 w 10046"/>
                  <a:gd name="connsiteY35" fmla="*/ 10000 h 10000"/>
                  <a:gd name="connsiteX36" fmla="*/ 5168 w 10046"/>
                  <a:gd name="connsiteY36" fmla="*/ 9992 h 10000"/>
                  <a:gd name="connsiteX37" fmla="*/ 5949 w 10046"/>
                  <a:gd name="connsiteY37" fmla="*/ 9341 h 10000"/>
                  <a:gd name="connsiteX38" fmla="*/ 6070 w 10046"/>
                  <a:gd name="connsiteY38" fmla="*/ 9241 h 10000"/>
                  <a:gd name="connsiteX39" fmla="*/ 6973 w 10046"/>
                  <a:gd name="connsiteY39" fmla="*/ 8191 h 10000"/>
                  <a:gd name="connsiteX40" fmla="*/ 7008 w 10046"/>
                  <a:gd name="connsiteY40" fmla="*/ 8045 h 10000"/>
                  <a:gd name="connsiteX41" fmla="*/ 7043 w 10046"/>
                  <a:gd name="connsiteY41" fmla="*/ 7953 h 10000"/>
                  <a:gd name="connsiteX42" fmla="*/ 7077 w 10046"/>
                  <a:gd name="connsiteY42" fmla="*/ 7923 h 10000"/>
                  <a:gd name="connsiteX43" fmla="*/ 7095 w 10046"/>
                  <a:gd name="connsiteY43" fmla="*/ 7915 h 10000"/>
                  <a:gd name="connsiteX44" fmla="*/ 7095 w 10046"/>
                  <a:gd name="connsiteY44" fmla="*/ 7915 h 10000"/>
                  <a:gd name="connsiteX45" fmla="*/ 7181 w 10046"/>
                  <a:gd name="connsiteY45" fmla="*/ 7861 h 10000"/>
                  <a:gd name="connsiteX46" fmla="*/ 7181 w 10046"/>
                  <a:gd name="connsiteY46" fmla="*/ 7861 h 10000"/>
                  <a:gd name="connsiteX47" fmla="*/ 7199 w 10046"/>
                  <a:gd name="connsiteY47" fmla="*/ 7861 h 10000"/>
                  <a:gd name="connsiteX48" fmla="*/ 7338 w 10046"/>
                  <a:gd name="connsiteY48" fmla="*/ 7792 h 10000"/>
                  <a:gd name="connsiteX49" fmla="*/ 7494 w 10046"/>
                  <a:gd name="connsiteY49" fmla="*/ 7724 h 10000"/>
                  <a:gd name="connsiteX50" fmla="*/ 7720 w 10046"/>
                  <a:gd name="connsiteY50" fmla="*/ 7555 h 10000"/>
                  <a:gd name="connsiteX51" fmla="*/ 8414 w 10046"/>
                  <a:gd name="connsiteY51" fmla="*/ 7025 h 10000"/>
                  <a:gd name="connsiteX52" fmla="*/ 9352 w 10046"/>
                  <a:gd name="connsiteY52" fmla="*/ 6090 h 10000"/>
                  <a:gd name="connsiteX53" fmla="*/ 9508 w 10046"/>
                  <a:gd name="connsiteY53" fmla="*/ 5945 h 10000"/>
                  <a:gd name="connsiteX54" fmla="*/ 9508 w 10046"/>
                  <a:gd name="connsiteY54" fmla="*/ 5945 h 10000"/>
                  <a:gd name="connsiteX55" fmla="*/ 9525 w 10046"/>
                  <a:gd name="connsiteY55" fmla="*/ 5883 h 10000"/>
                  <a:gd name="connsiteX56" fmla="*/ 9525 w 10046"/>
                  <a:gd name="connsiteY56" fmla="*/ 5868 h 10000"/>
                  <a:gd name="connsiteX57" fmla="*/ 9525 w 10046"/>
                  <a:gd name="connsiteY57" fmla="*/ 5822 h 10000"/>
                  <a:gd name="connsiteX58" fmla="*/ 9525 w 10046"/>
                  <a:gd name="connsiteY58" fmla="*/ 5807 h 10000"/>
                  <a:gd name="connsiteX59" fmla="*/ 9543 w 10046"/>
                  <a:gd name="connsiteY59" fmla="*/ 5753 h 10000"/>
                  <a:gd name="connsiteX60" fmla="*/ 9543 w 10046"/>
                  <a:gd name="connsiteY60" fmla="*/ 5738 h 10000"/>
                  <a:gd name="connsiteX61" fmla="*/ 9543 w 10046"/>
                  <a:gd name="connsiteY61" fmla="*/ 5691 h 10000"/>
                  <a:gd name="connsiteX62" fmla="*/ 9543 w 10046"/>
                  <a:gd name="connsiteY62" fmla="*/ 5676 h 10000"/>
                  <a:gd name="connsiteX63" fmla="*/ 9560 w 10046"/>
                  <a:gd name="connsiteY63" fmla="*/ 5638 h 10000"/>
                  <a:gd name="connsiteX64" fmla="*/ 9560 w 10046"/>
                  <a:gd name="connsiteY64" fmla="*/ 5623 h 10000"/>
                  <a:gd name="connsiteX65" fmla="*/ 9560 w 10046"/>
                  <a:gd name="connsiteY65" fmla="*/ 5577 h 10000"/>
                  <a:gd name="connsiteX66" fmla="*/ 9560 w 10046"/>
                  <a:gd name="connsiteY66" fmla="*/ 5562 h 10000"/>
                  <a:gd name="connsiteX67" fmla="*/ 9560 w 10046"/>
                  <a:gd name="connsiteY67" fmla="*/ 5531 h 10000"/>
                  <a:gd name="connsiteX68" fmla="*/ 9560 w 10046"/>
                  <a:gd name="connsiteY68" fmla="*/ 5516 h 10000"/>
                  <a:gd name="connsiteX69" fmla="*/ 9577 w 10046"/>
                  <a:gd name="connsiteY69" fmla="*/ 5477 h 10000"/>
                  <a:gd name="connsiteX70" fmla="*/ 9369 w 10046"/>
                  <a:gd name="connsiteY70" fmla="*/ 5347 h 10000"/>
                  <a:gd name="connsiteX71" fmla="*/ 9369 w 10046"/>
                  <a:gd name="connsiteY71" fmla="*/ 4971 h 10000"/>
                  <a:gd name="connsiteX72" fmla="*/ 9664 w 10046"/>
                  <a:gd name="connsiteY72" fmla="*/ 4449 h 10000"/>
                  <a:gd name="connsiteX73" fmla="*/ 9317 w 10046"/>
                  <a:gd name="connsiteY73" fmla="*/ 4557 h 10000"/>
                  <a:gd name="connsiteX74" fmla="*/ 7876 w 10046"/>
                  <a:gd name="connsiteY74" fmla="*/ 4979 h 10000"/>
                  <a:gd name="connsiteX75" fmla="*/ 7893 w 10046"/>
                  <a:gd name="connsiteY75" fmla="*/ 5086 h 10000"/>
                  <a:gd name="connsiteX76" fmla="*/ 7060 w 10046"/>
                  <a:gd name="connsiteY76" fmla="*/ 5461 h 10000"/>
                  <a:gd name="connsiteX77" fmla="*/ 6070 w 10046"/>
                  <a:gd name="connsiteY77" fmla="*/ 5285 h 10000"/>
                  <a:gd name="connsiteX78" fmla="*/ 6348 w 10046"/>
                  <a:gd name="connsiteY78" fmla="*/ 4933 h 10000"/>
                  <a:gd name="connsiteX79" fmla="*/ 7338 w 10046"/>
                  <a:gd name="connsiteY79" fmla="*/ 4757 h 10000"/>
                  <a:gd name="connsiteX80" fmla="*/ 7615 w 10046"/>
                  <a:gd name="connsiteY80" fmla="*/ 4802 h 10000"/>
                  <a:gd name="connsiteX81" fmla="*/ 8553 w 10046"/>
                  <a:gd name="connsiteY81" fmla="*/ 4557 h 10000"/>
                  <a:gd name="connsiteX82" fmla="*/ 9768 w 10046"/>
                  <a:gd name="connsiteY82" fmla="*/ 4174 h 10000"/>
                  <a:gd name="connsiteX83" fmla="*/ 9838 w 10046"/>
                  <a:gd name="connsiteY83" fmla="*/ 3783 h 10000"/>
                  <a:gd name="connsiteX84" fmla="*/ 9855 w 10046"/>
                  <a:gd name="connsiteY84" fmla="*/ 3660 h 10000"/>
                  <a:gd name="connsiteX85" fmla="*/ 10029 w 10046"/>
                  <a:gd name="connsiteY85" fmla="*/ 2748 h 10000"/>
                  <a:gd name="connsiteX86" fmla="*/ 10046 w 10046"/>
                  <a:gd name="connsiteY86" fmla="*/ 2718 h 10000"/>
                  <a:gd name="connsiteX87" fmla="*/ 10011 w 10046"/>
                  <a:gd name="connsiteY87" fmla="*/ 266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0046" h="10000">
                    <a:moveTo>
                      <a:pt x="10011" y="2663"/>
                    </a:moveTo>
                    <a:cubicBezTo>
                      <a:pt x="9977" y="2579"/>
                      <a:pt x="9872" y="2403"/>
                      <a:pt x="9768" y="2211"/>
                    </a:cubicBezTo>
                    <a:cubicBezTo>
                      <a:pt x="9612" y="1936"/>
                      <a:pt x="9508" y="1974"/>
                      <a:pt x="9213" y="1628"/>
                    </a:cubicBezTo>
                    <a:cubicBezTo>
                      <a:pt x="8918" y="1283"/>
                      <a:pt x="8952" y="839"/>
                      <a:pt x="8518" y="732"/>
                    </a:cubicBezTo>
                    <a:cubicBezTo>
                      <a:pt x="8084" y="617"/>
                      <a:pt x="7598" y="187"/>
                      <a:pt x="6904" y="126"/>
                    </a:cubicBezTo>
                    <a:cubicBezTo>
                      <a:pt x="6209" y="64"/>
                      <a:pt x="5810" y="-50"/>
                      <a:pt x="4543" y="26"/>
                    </a:cubicBezTo>
                    <a:cubicBezTo>
                      <a:pt x="3258" y="95"/>
                      <a:pt x="1973" y="187"/>
                      <a:pt x="1661" y="287"/>
                    </a:cubicBezTo>
                    <a:cubicBezTo>
                      <a:pt x="1365" y="394"/>
                      <a:pt x="185" y="685"/>
                      <a:pt x="202" y="1161"/>
                    </a:cubicBezTo>
                    <a:cubicBezTo>
                      <a:pt x="237" y="1628"/>
                      <a:pt x="324" y="1928"/>
                      <a:pt x="254" y="2088"/>
                    </a:cubicBezTo>
                    <a:cubicBezTo>
                      <a:pt x="185" y="2249"/>
                      <a:pt x="133" y="2610"/>
                      <a:pt x="115" y="2725"/>
                    </a:cubicBezTo>
                    <a:cubicBezTo>
                      <a:pt x="98" y="2771"/>
                      <a:pt x="81" y="2809"/>
                      <a:pt x="46" y="2840"/>
                    </a:cubicBezTo>
                    <a:cubicBezTo>
                      <a:pt x="43" y="2864"/>
                      <a:pt x="61" y="2790"/>
                      <a:pt x="54" y="2889"/>
                    </a:cubicBezTo>
                    <a:cubicBezTo>
                      <a:pt x="47" y="2988"/>
                      <a:pt x="16" y="3254"/>
                      <a:pt x="4" y="3433"/>
                    </a:cubicBezTo>
                    <a:cubicBezTo>
                      <a:pt x="-13" y="3494"/>
                      <a:pt x="19" y="3577"/>
                      <a:pt x="37" y="3638"/>
                    </a:cubicBezTo>
                    <a:cubicBezTo>
                      <a:pt x="71" y="3706"/>
                      <a:pt x="124" y="3764"/>
                      <a:pt x="193" y="3848"/>
                    </a:cubicBezTo>
                    <a:cubicBezTo>
                      <a:pt x="231" y="3888"/>
                      <a:pt x="284" y="3937"/>
                      <a:pt x="306" y="3967"/>
                    </a:cubicBezTo>
                    <a:cubicBezTo>
                      <a:pt x="328" y="3997"/>
                      <a:pt x="306" y="3990"/>
                      <a:pt x="324" y="4028"/>
                    </a:cubicBezTo>
                    <a:cubicBezTo>
                      <a:pt x="376" y="4036"/>
                      <a:pt x="376" y="4089"/>
                      <a:pt x="376" y="4089"/>
                    </a:cubicBezTo>
                    <a:cubicBezTo>
                      <a:pt x="532" y="4641"/>
                      <a:pt x="879" y="4941"/>
                      <a:pt x="949" y="5009"/>
                    </a:cubicBezTo>
                    <a:cubicBezTo>
                      <a:pt x="984" y="5047"/>
                      <a:pt x="1088" y="5125"/>
                      <a:pt x="1174" y="5193"/>
                    </a:cubicBezTo>
                    <a:cubicBezTo>
                      <a:pt x="1244" y="5224"/>
                      <a:pt x="1296" y="5254"/>
                      <a:pt x="1365" y="5277"/>
                    </a:cubicBezTo>
                    <a:cubicBezTo>
                      <a:pt x="1365" y="5277"/>
                      <a:pt x="1470" y="5347"/>
                      <a:pt x="1556" y="5416"/>
                    </a:cubicBezTo>
                    <a:cubicBezTo>
                      <a:pt x="1568" y="5413"/>
                      <a:pt x="1579" y="5411"/>
                      <a:pt x="1591" y="5408"/>
                    </a:cubicBezTo>
                    <a:cubicBezTo>
                      <a:pt x="1695" y="5492"/>
                      <a:pt x="2320" y="5807"/>
                      <a:pt x="2320" y="5807"/>
                    </a:cubicBezTo>
                    <a:cubicBezTo>
                      <a:pt x="2286" y="5852"/>
                      <a:pt x="2407" y="6067"/>
                      <a:pt x="2407" y="6067"/>
                    </a:cubicBezTo>
                    <a:lnTo>
                      <a:pt x="2268" y="6036"/>
                    </a:lnTo>
                    <a:cubicBezTo>
                      <a:pt x="2164" y="6021"/>
                      <a:pt x="2060" y="6075"/>
                      <a:pt x="2008" y="6121"/>
                    </a:cubicBezTo>
                    <a:cubicBezTo>
                      <a:pt x="1973" y="6289"/>
                      <a:pt x="1904" y="6505"/>
                      <a:pt x="1834" y="6619"/>
                    </a:cubicBezTo>
                    <a:cubicBezTo>
                      <a:pt x="1747" y="6735"/>
                      <a:pt x="1556" y="6911"/>
                      <a:pt x="1435" y="7018"/>
                    </a:cubicBezTo>
                    <a:cubicBezTo>
                      <a:pt x="1470" y="7018"/>
                      <a:pt x="1487" y="7025"/>
                      <a:pt x="1504" y="7025"/>
                    </a:cubicBezTo>
                    <a:cubicBezTo>
                      <a:pt x="1799" y="7064"/>
                      <a:pt x="2459" y="7263"/>
                      <a:pt x="2477" y="7302"/>
                    </a:cubicBezTo>
                    <a:cubicBezTo>
                      <a:pt x="2494" y="7340"/>
                      <a:pt x="2060" y="7639"/>
                      <a:pt x="2060" y="7639"/>
                    </a:cubicBezTo>
                    <a:cubicBezTo>
                      <a:pt x="2060" y="7646"/>
                      <a:pt x="2077" y="7646"/>
                      <a:pt x="2077" y="7654"/>
                    </a:cubicBezTo>
                    <a:cubicBezTo>
                      <a:pt x="2095" y="7662"/>
                      <a:pt x="2112" y="7669"/>
                      <a:pt x="2112" y="7669"/>
                    </a:cubicBezTo>
                    <a:cubicBezTo>
                      <a:pt x="3136" y="8329"/>
                      <a:pt x="4126" y="9808"/>
                      <a:pt x="4230" y="9977"/>
                    </a:cubicBezTo>
                    <a:cubicBezTo>
                      <a:pt x="4299" y="9992"/>
                      <a:pt x="4369" y="10000"/>
                      <a:pt x="4438" y="10000"/>
                    </a:cubicBezTo>
                    <a:lnTo>
                      <a:pt x="5168" y="9992"/>
                    </a:lnTo>
                    <a:lnTo>
                      <a:pt x="5949" y="9341"/>
                    </a:lnTo>
                    <a:lnTo>
                      <a:pt x="6070" y="9241"/>
                    </a:lnTo>
                    <a:cubicBezTo>
                      <a:pt x="6400" y="8796"/>
                      <a:pt x="6713" y="8451"/>
                      <a:pt x="6973" y="8191"/>
                    </a:cubicBezTo>
                    <a:cubicBezTo>
                      <a:pt x="6990" y="8160"/>
                      <a:pt x="7008" y="8053"/>
                      <a:pt x="7008" y="8045"/>
                    </a:cubicBezTo>
                    <a:cubicBezTo>
                      <a:pt x="7008" y="8037"/>
                      <a:pt x="7043" y="7953"/>
                      <a:pt x="7043" y="7953"/>
                    </a:cubicBezTo>
                    <a:cubicBezTo>
                      <a:pt x="7054" y="7943"/>
                      <a:pt x="7066" y="7933"/>
                      <a:pt x="7077" y="7923"/>
                    </a:cubicBezTo>
                    <a:cubicBezTo>
                      <a:pt x="7095" y="7923"/>
                      <a:pt x="7095" y="7923"/>
                      <a:pt x="7095" y="7915"/>
                    </a:cubicBezTo>
                    <a:lnTo>
                      <a:pt x="7095" y="7915"/>
                    </a:lnTo>
                    <a:cubicBezTo>
                      <a:pt x="7095" y="7915"/>
                      <a:pt x="7164" y="7876"/>
                      <a:pt x="7181" y="7861"/>
                    </a:cubicBezTo>
                    <a:lnTo>
                      <a:pt x="7181" y="7861"/>
                    </a:lnTo>
                    <a:lnTo>
                      <a:pt x="7199" y="7861"/>
                    </a:lnTo>
                    <a:cubicBezTo>
                      <a:pt x="7199" y="7853"/>
                      <a:pt x="7338" y="7792"/>
                      <a:pt x="7338" y="7792"/>
                    </a:cubicBezTo>
                    <a:lnTo>
                      <a:pt x="7494" y="7724"/>
                    </a:lnTo>
                    <a:cubicBezTo>
                      <a:pt x="7633" y="7608"/>
                      <a:pt x="7720" y="7555"/>
                      <a:pt x="7720" y="7555"/>
                    </a:cubicBezTo>
                    <a:lnTo>
                      <a:pt x="8414" y="7025"/>
                    </a:lnTo>
                    <a:cubicBezTo>
                      <a:pt x="8987" y="6359"/>
                      <a:pt x="9352" y="6090"/>
                      <a:pt x="9352" y="6090"/>
                    </a:cubicBezTo>
                    <a:cubicBezTo>
                      <a:pt x="9386" y="6067"/>
                      <a:pt x="9438" y="6014"/>
                      <a:pt x="9508" y="5945"/>
                    </a:cubicBezTo>
                    <a:lnTo>
                      <a:pt x="9508" y="5945"/>
                    </a:lnTo>
                    <a:cubicBezTo>
                      <a:pt x="9508" y="5922"/>
                      <a:pt x="9525" y="5907"/>
                      <a:pt x="9525" y="5883"/>
                    </a:cubicBezTo>
                    <a:lnTo>
                      <a:pt x="9525" y="5868"/>
                    </a:lnTo>
                    <a:lnTo>
                      <a:pt x="9525" y="5822"/>
                    </a:lnTo>
                    <a:lnTo>
                      <a:pt x="9525" y="5807"/>
                    </a:lnTo>
                    <a:cubicBezTo>
                      <a:pt x="9543" y="5784"/>
                      <a:pt x="9543" y="5768"/>
                      <a:pt x="9543" y="5753"/>
                    </a:cubicBezTo>
                    <a:lnTo>
                      <a:pt x="9543" y="5738"/>
                    </a:lnTo>
                    <a:lnTo>
                      <a:pt x="9543" y="5691"/>
                    </a:lnTo>
                    <a:lnTo>
                      <a:pt x="9543" y="5676"/>
                    </a:lnTo>
                    <a:cubicBezTo>
                      <a:pt x="9543" y="5661"/>
                      <a:pt x="9543" y="5653"/>
                      <a:pt x="9560" y="5638"/>
                    </a:cubicBezTo>
                    <a:lnTo>
                      <a:pt x="9560" y="5623"/>
                    </a:lnTo>
                    <a:lnTo>
                      <a:pt x="9560" y="5577"/>
                    </a:lnTo>
                    <a:lnTo>
                      <a:pt x="9560" y="5562"/>
                    </a:lnTo>
                    <a:lnTo>
                      <a:pt x="9560" y="5531"/>
                    </a:lnTo>
                    <a:lnTo>
                      <a:pt x="9560" y="5516"/>
                    </a:lnTo>
                    <a:cubicBezTo>
                      <a:pt x="9560" y="5501"/>
                      <a:pt x="9577" y="5492"/>
                      <a:pt x="9577" y="5477"/>
                    </a:cubicBezTo>
                    <a:cubicBezTo>
                      <a:pt x="9473" y="5446"/>
                      <a:pt x="9404" y="5416"/>
                      <a:pt x="9369" y="5347"/>
                    </a:cubicBezTo>
                    <a:cubicBezTo>
                      <a:pt x="9334" y="5216"/>
                      <a:pt x="9282" y="5093"/>
                      <a:pt x="9369" y="4971"/>
                    </a:cubicBezTo>
                    <a:cubicBezTo>
                      <a:pt x="9421" y="4910"/>
                      <a:pt x="9560" y="4695"/>
                      <a:pt x="9664" y="4449"/>
                    </a:cubicBezTo>
                    <a:cubicBezTo>
                      <a:pt x="9560" y="4488"/>
                      <a:pt x="9438" y="4519"/>
                      <a:pt x="9317" y="4557"/>
                    </a:cubicBezTo>
                    <a:cubicBezTo>
                      <a:pt x="8674" y="4757"/>
                      <a:pt x="7876" y="4979"/>
                      <a:pt x="7876" y="4979"/>
                    </a:cubicBezTo>
                    <a:cubicBezTo>
                      <a:pt x="7876" y="4979"/>
                      <a:pt x="7876" y="5025"/>
                      <a:pt x="7893" y="5086"/>
                    </a:cubicBezTo>
                    <a:cubicBezTo>
                      <a:pt x="7911" y="5148"/>
                      <a:pt x="7494" y="5339"/>
                      <a:pt x="7060" y="5461"/>
                    </a:cubicBezTo>
                    <a:cubicBezTo>
                      <a:pt x="6626" y="5584"/>
                      <a:pt x="6227" y="5408"/>
                      <a:pt x="6070" y="5285"/>
                    </a:cubicBezTo>
                    <a:cubicBezTo>
                      <a:pt x="5914" y="5163"/>
                      <a:pt x="6174" y="5025"/>
                      <a:pt x="6348" y="4933"/>
                    </a:cubicBezTo>
                    <a:cubicBezTo>
                      <a:pt x="6522" y="4841"/>
                      <a:pt x="7181" y="4764"/>
                      <a:pt x="7338" y="4757"/>
                    </a:cubicBezTo>
                    <a:cubicBezTo>
                      <a:pt x="7494" y="4749"/>
                      <a:pt x="7615" y="4802"/>
                      <a:pt x="7615" y="4802"/>
                    </a:cubicBezTo>
                    <a:cubicBezTo>
                      <a:pt x="7702" y="4833"/>
                      <a:pt x="8206" y="4656"/>
                      <a:pt x="8553" y="4557"/>
                    </a:cubicBezTo>
                    <a:lnTo>
                      <a:pt x="9768" y="4174"/>
                    </a:lnTo>
                    <a:cubicBezTo>
                      <a:pt x="9820" y="4036"/>
                      <a:pt x="9838" y="3897"/>
                      <a:pt x="9838" y="3783"/>
                    </a:cubicBezTo>
                    <a:cubicBezTo>
                      <a:pt x="9838" y="3783"/>
                      <a:pt x="9838" y="3737"/>
                      <a:pt x="9855" y="3660"/>
                    </a:cubicBezTo>
                    <a:cubicBezTo>
                      <a:pt x="9890" y="3430"/>
                      <a:pt x="9959" y="2970"/>
                      <a:pt x="10029" y="2748"/>
                    </a:cubicBezTo>
                    <a:cubicBezTo>
                      <a:pt x="10029" y="2733"/>
                      <a:pt x="10029" y="2725"/>
                      <a:pt x="10046" y="2718"/>
                    </a:cubicBezTo>
                    <a:cubicBezTo>
                      <a:pt x="10046" y="2718"/>
                      <a:pt x="10029" y="2702"/>
                      <a:pt x="10011" y="2663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solidFill>
                  <a:srgbClr val="D2B48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96">
                <a:extLst>
                  <a:ext uri="{FF2B5EF4-FFF2-40B4-BE49-F238E27FC236}">
                    <a16:creationId xmlns:a16="http://schemas.microsoft.com/office/drawing/2014/main" id="{A61F7BDE-D168-46E6-B8DF-12227F03B0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288" y="5819776"/>
                <a:ext cx="539750" cy="390525"/>
              </a:xfrm>
              <a:custGeom>
                <a:avLst/>
                <a:gdLst>
                  <a:gd name="T0" fmla="*/ 66 w 144"/>
                  <a:gd name="T1" fmla="*/ 102 h 104"/>
                  <a:gd name="T2" fmla="*/ 45 w 144"/>
                  <a:gd name="T3" fmla="*/ 71 h 104"/>
                  <a:gd name="T4" fmla="*/ 3 w 144"/>
                  <a:gd name="T5" fmla="*/ 23 h 104"/>
                  <a:gd name="T6" fmla="*/ 17 w 144"/>
                  <a:gd name="T7" fmla="*/ 0 h 104"/>
                  <a:gd name="T8" fmla="*/ 144 w 144"/>
                  <a:gd name="T9" fmla="*/ 104 h 104"/>
                  <a:gd name="T10" fmla="*/ 66 w 144"/>
                  <a:gd name="T11" fmla="*/ 10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4" h="104">
                    <a:moveTo>
                      <a:pt x="66" y="102"/>
                    </a:moveTo>
                    <a:cubicBezTo>
                      <a:pt x="66" y="102"/>
                      <a:pt x="50" y="77"/>
                      <a:pt x="45" y="71"/>
                    </a:cubicBezTo>
                    <a:cubicBezTo>
                      <a:pt x="40" y="65"/>
                      <a:pt x="0" y="29"/>
                      <a:pt x="3" y="23"/>
                    </a:cubicBezTo>
                    <a:cubicBezTo>
                      <a:pt x="6" y="17"/>
                      <a:pt x="17" y="0"/>
                      <a:pt x="17" y="0"/>
                    </a:cubicBezTo>
                    <a:cubicBezTo>
                      <a:pt x="17" y="0"/>
                      <a:pt x="121" y="82"/>
                      <a:pt x="144" y="104"/>
                    </a:cubicBezTo>
                    <a:lnTo>
                      <a:pt x="66" y="102"/>
                    </a:ln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97">
                <a:extLst>
                  <a:ext uri="{FF2B5EF4-FFF2-40B4-BE49-F238E27FC236}">
                    <a16:creationId xmlns:a16="http://schemas.microsoft.com/office/drawing/2014/main" id="{3E8EC159-62EE-4E8B-88A0-9A12F2C288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2463" y="5965826"/>
                <a:ext cx="93663" cy="247650"/>
              </a:xfrm>
              <a:custGeom>
                <a:avLst/>
                <a:gdLst>
                  <a:gd name="T0" fmla="*/ 25 w 25"/>
                  <a:gd name="T1" fmla="*/ 2 h 66"/>
                  <a:gd name="T2" fmla="*/ 18 w 25"/>
                  <a:gd name="T3" fmla="*/ 23 h 66"/>
                  <a:gd name="T4" fmla="*/ 14 w 25"/>
                  <a:gd name="T5" fmla="*/ 51 h 66"/>
                  <a:gd name="T6" fmla="*/ 0 w 25"/>
                  <a:gd name="T7" fmla="*/ 66 h 66"/>
                  <a:gd name="T8" fmla="*/ 7 w 25"/>
                  <a:gd name="T9" fmla="*/ 46 h 66"/>
                  <a:gd name="T10" fmla="*/ 12 w 25"/>
                  <a:gd name="T11" fmla="*/ 17 h 66"/>
                  <a:gd name="T12" fmla="*/ 25 w 25"/>
                  <a:gd name="T13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66">
                    <a:moveTo>
                      <a:pt x="25" y="2"/>
                    </a:moveTo>
                    <a:cubicBezTo>
                      <a:pt x="25" y="2"/>
                      <a:pt x="15" y="12"/>
                      <a:pt x="18" y="23"/>
                    </a:cubicBezTo>
                    <a:cubicBezTo>
                      <a:pt x="21" y="34"/>
                      <a:pt x="18" y="50"/>
                      <a:pt x="14" y="51"/>
                    </a:cubicBezTo>
                    <a:cubicBezTo>
                      <a:pt x="10" y="52"/>
                      <a:pt x="0" y="66"/>
                      <a:pt x="0" y="66"/>
                    </a:cubicBezTo>
                    <a:cubicBezTo>
                      <a:pt x="0" y="66"/>
                      <a:pt x="6" y="57"/>
                      <a:pt x="7" y="46"/>
                    </a:cubicBezTo>
                    <a:cubicBezTo>
                      <a:pt x="8" y="35"/>
                      <a:pt x="4" y="29"/>
                      <a:pt x="12" y="17"/>
                    </a:cubicBezTo>
                    <a:cubicBezTo>
                      <a:pt x="20" y="5"/>
                      <a:pt x="18" y="0"/>
                      <a:pt x="25" y="2"/>
                    </a:cubicBezTo>
                    <a:close/>
                  </a:path>
                </a:pathLst>
              </a:custGeom>
              <a:solidFill>
                <a:srgbClr val="C3D3D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98">
                <a:extLst>
                  <a:ext uri="{FF2B5EF4-FFF2-40B4-BE49-F238E27FC236}">
                    <a16:creationId xmlns:a16="http://schemas.microsoft.com/office/drawing/2014/main" id="{64EF3A11-1FBF-4BCF-B330-C80BD7EBD2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3663" y="5715001"/>
                <a:ext cx="374650" cy="231775"/>
              </a:xfrm>
              <a:custGeom>
                <a:avLst/>
                <a:gdLst>
                  <a:gd name="T0" fmla="*/ 1 w 100"/>
                  <a:gd name="T1" fmla="*/ 41 h 62"/>
                  <a:gd name="T2" fmla="*/ 44 w 100"/>
                  <a:gd name="T3" fmla="*/ 38 h 62"/>
                  <a:gd name="T4" fmla="*/ 21 w 100"/>
                  <a:gd name="T5" fmla="*/ 15 h 62"/>
                  <a:gd name="T6" fmla="*/ 38 w 100"/>
                  <a:gd name="T7" fmla="*/ 19 h 62"/>
                  <a:gd name="T8" fmla="*/ 98 w 100"/>
                  <a:gd name="T9" fmla="*/ 45 h 62"/>
                  <a:gd name="T10" fmla="*/ 93 w 100"/>
                  <a:gd name="T11" fmla="*/ 53 h 62"/>
                  <a:gd name="T12" fmla="*/ 65 w 100"/>
                  <a:gd name="T13" fmla="*/ 41 h 62"/>
                  <a:gd name="T14" fmla="*/ 1 w 100"/>
                  <a:gd name="T15" fmla="*/ 4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62">
                    <a:moveTo>
                      <a:pt x="1" y="41"/>
                    </a:moveTo>
                    <a:cubicBezTo>
                      <a:pt x="1" y="41"/>
                      <a:pt x="37" y="41"/>
                      <a:pt x="44" y="38"/>
                    </a:cubicBezTo>
                    <a:cubicBezTo>
                      <a:pt x="51" y="35"/>
                      <a:pt x="35" y="30"/>
                      <a:pt x="21" y="15"/>
                    </a:cubicBezTo>
                    <a:cubicBezTo>
                      <a:pt x="7" y="0"/>
                      <a:pt x="0" y="0"/>
                      <a:pt x="38" y="19"/>
                    </a:cubicBezTo>
                    <a:cubicBezTo>
                      <a:pt x="76" y="38"/>
                      <a:pt x="98" y="45"/>
                      <a:pt x="98" y="45"/>
                    </a:cubicBezTo>
                    <a:cubicBezTo>
                      <a:pt x="98" y="45"/>
                      <a:pt x="100" y="54"/>
                      <a:pt x="93" y="53"/>
                    </a:cubicBezTo>
                    <a:cubicBezTo>
                      <a:pt x="86" y="52"/>
                      <a:pt x="72" y="41"/>
                      <a:pt x="65" y="41"/>
                    </a:cubicBezTo>
                    <a:cubicBezTo>
                      <a:pt x="58" y="41"/>
                      <a:pt x="0" y="62"/>
                      <a:pt x="1" y="41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99">
                <a:extLst>
                  <a:ext uri="{FF2B5EF4-FFF2-40B4-BE49-F238E27FC236}">
                    <a16:creationId xmlns:a16="http://schemas.microsoft.com/office/drawing/2014/main" id="{4289F19C-41F7-48CC-800E-4FA7E88066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78113" y="4732338"/>
                <a:ext cx="836613" cy="1481138"/>
              </a:xfrm>
              <a:custGeom>
                <a:avLst/>
                <a:gdLst>
                  <a:gd name="T0" fmla="*/ 0 w 223"/>
                  <a:gd name="T1" fmla="*/ 395 h 395"/>
                  <a:gd name="T2" fmla="*/ 72 w 223"/>
                  <a:gd name="T3" fmla="*/ 332 h 395"/>
                  <a:gd name="T4" fmla="*/ 164 w 223"/>
                  <a:gd name="T5" fmla="*/ 166 h 395"/>
                  <a:gd name="T6" fmla="*/ 223 w 223"/>
                  <a:gd name="T7" fmla="*/ 0 h 395"/>
                  <a:gd name="T8" fmla="*/ 155 w 223"/>
                  <a:gd name="T9" fmla="*/ 205 h 395"/>
                  <a:gd name="T10" fmla="*/ 90 w 223"/>
                  <a:gd name="T11" fmla="*/ 322 h 395"/>
                  <a:gd name="T12" fmla="*/ 0 w 223"/>
                  <a:gd name="T13" fmla="*/ 39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395">
                    <a:moveTo>
                      <a:pt x="0" y="395"/>
                    </a:moveTo>
                    <a:cubicBezTo>
                      <a:pt x="0" y="395"/>
                      <a:pt x="67" y="340"/>
                      <a:pt x="72" y="332"/>
                    </a:cubicBezTo>
                    <a:cubicBezTo>
                      <a:pt x="77" y="324"/>
                      <a:pt x="144" y="222"/>
                      <a:pt x="164" y="166"/>
                    </a:cubicBezTo>
                    <a:cubicBezTo>
                      <a:pt x="184" y="110"/>
                      <a:pt x="222" y="14"/>
                      <a:pt x="223" y="0"/>
                    </a:cubicBezTo>
                    <a:cubicBezTo>
                      <a:pt x="223" y="0"/>
                      <a:pt x="194" y="122"/>
                      <a:pt x="155" y="205"/>
                    </a:cubicBezTo>
                    <a:cubicBezTo>
                      <a:pt x="155" y="205"/>
                      <a:pt x="96" y="315"/>
                      <a:pt x="90" y="322"/>
                    </a:cubicBezTo>
                    <a:cubicBezTo>
                      <a:pt x="84" y="329"/>
                      <a:pt x="27" y="382"/>
                      <a:pt x="0" y="395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100">
                <a:extLst>
                  <a:ext uri="{FF2B5EF4-FFF2-40B4-BE49-F238E27FC236}">
                    <a16:creationId xmlns:a16="http://schemas.microsoft.com/office/drawing/2014/main" id="{934C22FE-20D0-4269-A1BE-7FDC4FB5BB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1488" y="6048376"/>
                <a:ext cx="247650" cy="134938"/>
              </a:xfrm>
              <a:custGeom>
                <a:avLst/>
                <a:gdLst>
                  <a:gd name="T0" fmla="*/ 52 w 66"/>
                  <a:gd name="T1" fmla="*/ 36 h 36"/>
                  <a:gd name="T2" fmla="*/ 13 w 66"/>
                  <a:gd name="T3" fmla="*/ 12 h 36"/>
                  <a:gd name="T4" fmla="*/ 24 w 66"/>
                  <a:gd name="T5" fmla="*/ 8 h 36"/>
                  <a:gd name="T6" fmla="*/ 56 w 66"/>
                  <a:gd name="T7" fmla="*/ 11 h 36"/>
                  <a:gd name="T8" fmla="*/ 52 w 6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36">
                    <a:moveTo>
                      <a:pt x="52" y="36"/>
                    </a:moveTo>
                    <a:cubicBezTo>
                      <a:pt x="52" y="36"/>
                      <a:pt x="26" y="17"/>
                      <a:pt x="13" y="12"/>
                    </a:cubicBezTo>
                    <a:cubicBezTo>
                      <a:pt x="0" y="7"/>
                      <a:pt x="3" y="0"/>
                      <a:pt x="24" y="8"/>
                    </a:cubicBezTo>
                    <a:cubicBezTo>
                      <a:pt x="45" y="16"/>
                      <a:pt x="51" y="11"/>
                      <a:pt x="56" y="11"/>
                    </a:cubicBezTo>
                    <a:cubicBezTo>
                      <a:pt x="61" y="11"/>
                      <a:pt x="66" y="28"/>
                      <a:pt x="52" y="36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101">
                <a:extLst>
                  <a:ext uri="{FF2B5EF4-FFF2-40B4-BE49-F238E27FC236}">
                    <a16:creationId xmlns:a16="http://schemas.microsoft.com/office/drawing/2014/main" id="{EE7BA859-D42A-48E9-92BD-907CB7E5BF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41563" y="4368801"/>
                <a:ext cx="438150" cy="847725"/>
              </a:xfrm>
              <a:custGeom>
                <a:avLst/>
                <a:gdLst>
                  <a:gd name="T0" fmla="*/ 2 w 117"/>
                  <a:gd name="T1" fmla="*/ 226 h 226"/>
                  <a:gd name="T2" fmla="*/ 33 w 117"/>
                  <a:gd name="T3" fmla="*/ 168 h 226"/>
                  <a:gd name="T4" fmla="*/ 72 w 117"/>
                  <a:gd name="T5" fmla="*/ 86 h 226"/>
                  <a:gd name="T6" fmla="*/ 87 w 117"/>
                  <a:gd name="T7" fmla="*/ 55 h 226"/>
                  <a:gd name="T8" fmla="*/ 117 w 117"/>
                  <a:gd name="T9" fmla="*/ 0 h 226"/>
                  <a:gd name="T10" fmla="*/ 76 w 117"/>
                  <a:gd name="T11" fmla="*/ 64 h 226"/>
                  <a:gd name="T12" fmla="*/ 46 w 117"/>
                  <a:gd name="T13" fmla="*/ 112 h 226"/>
                  <a:gd name="T14" fmla="*/ 8 w 117"/>
                  <a:gd name="T15" fmla="*/ 202 h 226"/>
                  <a:gd name="T16" fmla="*/ 2 w 117"/>
                  <a:gd name="T17" fmla="*/ 226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" h="226">
                    <a:moveTo>
                      <a:pt x="2" y="226"/>
                    </a:moveTo>
                    <a:cubicBezTo>
                      <a:pt x="2" y="226"/>
                      <a:pt x="29" y="177"/>
                      <a:pt x="33" y="168"/>
                    </a:cubicBezTo>
                    <a:cubicBezTo>
                      <a:pt x="37" y="159"/>
                      <a:pt x="64" y="95"/>
                      <a:pt x="72" y="86"/>
                    </a:cubicBezTo>
                    <a:cubicBezTo>
                      <a:pt x="80" y="77"/>
                      <a:pt x="85" y="70"/>
                      <a:pt x="87" y="55"/>
                    </a:cubicBezTo>
                    <a:cubicBezTo>
                      <a:pt x="89" y="40"/>
                      <a:pt x="117" y="0"/>
                      <a:pt x="117" y="0"/>
                    </a:cubicBezTo>
                    <a:cubicBezTo>
                      <a:pt x="117" y="0"/>
                      <a:pt x="90" y="13"/>
                      <a:pt x="76" y="64"/>
                    </a:cubicBezTo>
                    <a:cubicBezTo>
                      <a:pt x="76" y="64"/>
                      <a:pt x="52" y="98"/>
                      <a:pt x="46" y="112"/>
                    </a:cubicBezTo>
                    <a:cubicBezTo>
                      <a:pt x="40" y="126"/>
                      <a:pt x="16" y="194"/>
                      <a:pt x="8" y="202"/>
                    </a:cubicBezTo>
                    <a:cubicBezTo>
                      <a:pt x="0" y="210"/>
                      <a:pt x="2" y="226"/>
                      <a:pt x="2" y="226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102">
                <a:extLst>
                  <a:ext uri="{FF2B5EF4-FFF2-40B4-BE49-F238E27FC236}">
                    <a16:creationId xmlns:a16="http://schemas.microsoft.com/office/drawing/2014/main" id="{B473E8B4-11E7-4A40-9666-2F1F0B84E9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30576" y="4953001"/>
                <a:ext cx="479425" cy="930275"/>
              </a:xfrm>
              <a:custGeom>
                <a:avLst/>
                <a:gdLst>
                  <a:gd name="T0" fmla="*/ 128 w 128"/>
                  <a:gd name="T1" fmla="*/ 0 h 248"/>
                  <a:gd name="T2" fmla="*/ 71 w 128"/>
                  <a:gd name="T3" fmla="*/ 50 h 248"/>
                  <a:gd name="T4" fmla="*/ 24 w 128"/>
                  <a:gd name="T5" fmla="*/ 69 h 248"/>
                  <a:gd name="T6" fmla="*/ 67 w 128"/>
                  <a:gd name="T7" fmla="*/ 60 h 248"/>
                  <a:gd name="T8" fmla="*/ 73 w 128"/>
                  <a:gd name="T9" fmla="*/ 72 h 248"/>
                  <a:gd name="T10" fmla="*/ 31 w 128"/>
                  <a:gd name="T11" fmla="*/ 112 h 248"/>
                  <a:gd name="T12" fmla="*/ 2 w 128"/>
                  <a:gd name="T13" fmla="*/ 142 h 248"/>
                  <a:gd name="T14" fmla="*/ 60 w 128"/>
                  <a:gd name="T15" fmla="*/ 98 h 248"/>
                  <a:gd name="T16" fmla="*/ 22 w 128"/>
                  <a:gd name="T17" fmla="*/ 164 h 248"/>
                  <a:gd name="T18" fmla="*/ 2 w 128"/>
                  <a:gd name="T19" fmla="*/ 206 h 248"/>
                  <a:gd name="T20" fmla="*/ 0 w 128"/>
                  <a:gd name="T21" fmla="*/ 248 h 248"/>
                  <a:gd name="T22" fmla="*/ 128 w 128"/>
                  <a:gd name="T23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" h="248">
                    <a:moveTo>
                      <a:pt x="128" y="0"/>
                    </a:moveTo>
                    <a:cubicBezTo>
                      <a:pt x="128" y="0"/>
                      <a:pt x="91" y="44"/>
                      <a:pt x="71" y="50"/>
                    </a:cubicBezTo>
                    <a:cubicBezTo>
                      <a:pt x="51" y="56"/>
                      <a:pt x="27" y="63"/>
                      <a:pt x="24" y="69"/>
                    </a:cubicBezTo>
                    <a:cubicBezTo>
                      <a:pt x="21" y="75"/>
                      <a:pt x="47" y="66"/>
                      <a:pt x="67" y="60"/>
                    </a:cubicBezTo>
                    <a:cubicBezTo>
                      <a:pt x="87" y="54"/>
                      <a:pt x="73" y="72"/>
                      <a:pt x="73" y="72"/>
                    </a:cubicBezTo>
                    <a:cubicBezTo>
                      <a:pt x="73" y="72"/>
                      <a:pt x="51" y="95"/>
                      <a:pt x="31" y="112"/>
                    </a:cubicBezTo>
                    <a:cubicBezTo>
                      <a:pt x="11" y="129"/>
                      <a:pt x="2" y="142"/>
                      <a:pt x="2" y="142"/>
                    </a:cubicBezTo>
                    <a:cubicBezTo>
                      <a:pt x="2" y="142"/>
                      <a:pt x="49" y="106"/>
                      <a:pt x="60" y="98"/>
                    </a:cubicBezTo>
                    <a:cubicBezTo>
                      <a:pt x="71" y="90"/>
                      <a:pt x="28" y="150"/>
                      <a:pt x="22" y="164"/>
                    </a:cubicBezTo>
                    <a:cubicBezTo>
                      <a:pt x="16" y="178"/>
                      <a:pt x="2" y="192"/>
                      <a:pt x="2" y="206"/>
                    </a:cubicBezTo>
                    <a:cubicBezTo>
                      <a:pt x="2" y="220"/>
                      <a:pt x="0" y="248"/>
                      <a:pt x="0" y="248"/>
                    </a:cubicBezTo>
                    <a:cubicBezTo>
                      <a:pt x="0" y="248"/>
                      <a:pt x="120" y="10"/>
                      <a:pt x="128" y="0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103">
                <a:extLst>
                  <a:ext uri="{FF2B5EF4-FFF2-40B4-BE49-F238E27FC236}">
                    <a16:creationId xmlns:a16="http://schemas.microsoft.com/office/drawing/2014/main" id="{0B17B45E-6FFE-4493-A35E-78D1D8153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17901" y="5065713"/>
                <a:ext cx="461963" cy="473075"/>
              </a:xfrm>
              <a:custGeom>
                <a:avLst/>
                <a:gdLst>
                  <a:gd name="T0" fmla="*/ 102 w 123"/>
                  <a:gd name="T1" fmla="*/ 90 h 126"/>
                  <a:gd name="T2" fmla="*/ 65 w 123"/>
                  <a:gd name="T3" fmla="*/ 66 h 126"/>
                  <a:gd name="T4" fmla="*/ 43 w 123"/>
                  <a:gd name="T5" fmla="*/ 82 h 126"/>
                  <a:gd name="T6" fmla="*/ 19 w 123"/>
                  <a:gd name="T7" fmla="*/ 114 h 126"/>
                  <a:gd name="T8" fmla="*/ 0 w 123"/>
                  <a:gd name="T9" fmla="*/ 126 h 126"/>
                  <a:gd name="T10" fmla="*/ 64 w 123"/>
                  <a:gd name="T11" fmla="*/ 0 h 126"/>
                  <a:gd name="T12" fmla="*/ 102 w 123"/>
                  <a:gd name="T13" fmla="*/ 9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126">
                    <a:moveTo>
                      <a:pt x="102" y="90"/>
                    </a:moveTo>
                    <a:cubicBezTo>
                      <a:pt x="102" y="90"/>
                      <a:pt x="72" y="66"/>
                      <a:pt x="65" y="66"/>
                    </a:cubicBezTo>
                    <a:cubicBezTo>
                      <a:pt x="58" y="66"/>
                      <a:pt x="49" y="69"/>
                      <a:pt x="43" y="82"/>
                    </a:cubicBezTo>
                    <a:cubicBezTo>
                      <a:pt x="37" y="95"/>
                      <a:pt x="24" y="110"/>
                      <a:pt x="19" y="114"/>
                    </a:cubicBezTo>
                    <a:cubicBezTo>
                      <a:pt x="14" y="118"/>
                      <a:pt x="0" y="126"/>
                      <a:pt x="0" y="126"/>
                    </a:cubicBezTo>
                    <a:cubicBezTo>
                      <a:pt x="0" y="126"/>
                      <a:pt x="43" y="18"/>
                      <a:pt x="64" y="0"/>
                    </a:cubicBezTo>
                    <a:cubicBezTo>
                      <a:pt x="64" y="0"/>
                      <a:pt x="123" y="86"/>
                      <a:pt x="102" y="90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104">
                <a:extLst>
                  <a:ext uri="{FF2B5EF4-FFF2-40B4-BE49-F238E27FC236}">
                    <a16:creationId xmlns:a16="http://schemas.microsoft.com/office/drawing/2014/main" id="{67FB372B-FA1C-44A2-906D-282BF1F4BD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2851" y="3198813"/>
                <a:ext cx="547688" cy="1282700"/>
              </a:xfrm>
              <a:custGeom>
                <a:avLst/>
                <a:gdLst>
                  <a:gd name="T0" fmla="*/ 66 w 146"/>
                  <a:gd name="T1" fmla="*/ 18 h 342"/>
                  <a:gd name="T2" fmla="*/ 61 w 146"/>
                  <a:gd name="T3" fmla="*/ 87 h 342"/>
                  <a:gd name="T4" fmla="*/ 48 w 146"/>
                  <a:gd name="T5" fmla="*/ 168 h 342"/>
                  <a:gd name="T6" fmla="*/ 106 w 146"/>
                  <a:gd name="T7" fmla="*/ 288 h 342"/>
                  <a:gd name="T8" fmla="*/ 146 w 146"/>
                  <a:gd name="T9" fmla="*/ 342 h 342"/>
                  <a:gd name="T10" fmla="*/ 79 w 146"/>
                  <a:gd name="T11" fmla="*/ 312 h 342"/>
                  <a:gd name="T12" fmla="*/ 55 w 146"/>
                  <a:gd name="T13" fmla="*/ 256 h 342"/>
                  <a:gd name="T14" fmla="*/ 13 w 146"/>
                  <a:gd name="T15" fmla="*/ 163 h 342"/>
                  <a:gd name="T16" fmla="*/ 40 w 146"/>
                  <a:gd name="T17" fmla="*/ 121 h 342"/>
                  <a:gd name="T18" fmla="*/ 66 w 146"/>
                  <a:gd name="T19" fmla="*/ 18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6" h="342">
                    <a:moveTo>
                      <a:pt x="66" y="18"/>
                    </a:moveTo>
                    <a:cubicBezTo>
                      <a:pt x="66" y="18"/>
                      <a:pt x="64" y="80"/>
                      <a:pt x="61" y="87"/>
                    </a:cubicBezTo>
                    <a:cubicBezTo>
                      <a:pt x="58" y="94"/>
                      <a:pt x="38" y="160"/>
                      <a:pt x="48" y="168"/>
                    </a:cubicBezTo>
                    <a:cubicBezTo>
                      <a:pt x="58" y="176"/>
                      <a:pt x="101" y="274"/>
                      <a:pt x="106" y="288"/>
                    </a:cubicBezTo>
                    <a:cubicBezTo>
                      <a:pt x="111" y="302"/>
                      <a:pt x="146" y="342"/>
                      <a:pt x="146" y="342"/>
                    </a:cubicBezTo>
                    <a:cubicBezTo>
                      <a:pt x="79" y="312"/>
                      <a:pt x="79" y="312"/>
                      <a:pt x="79" y="312"/>
                    </a:cubicBezTo>
                    <a:cubicBezTo>
                      <a:pt x="79" y="312"/>
                      <a:pt x="81" y="297"/>
                      <a:pt x="55" y="256"/>
                    </a:cubicBezTo>
                    <a:cubicBezTo>
                      <a:pt x="55" y="256"/>
                      <a:pt x="0" y="182"/>
                      <a:pt x="13" y="163"/>
                    </a:cubicBezTo>
                    <a:cubicBezTo>
                      <a:pt x="13" y="163"/>
                      <a:pt x="33" y="131"/>
                      <a:pt x="40" y="121"/>
                    </a:cubicBezTo>
                    <a:cubicBezTo>
                      <a:pt x="48" y="111"/>
                      <a:pt x="60" y="0"/>
                      <a:pt x="66" y="18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105">
                <a:extLst>
                  <a:ext uri="{FF2B5EF4-FFF2-40B4-BE49-F238E27FC236}">
                    <a16:creationId xmlns:a16="http://schemas.microsoft.com/office/drawing/2014/main" id="{4970CB83-C64D-4744-8DFB-9956DA667A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9751" y="3870326"/>
                <a:ext cx="501650" cy="846138"/>
              </a:xfrm>
              <a:custGeom>
                <a:avLst/>
                <a:gdLst>
                  <a:gd name="T0" fmla="*/ 112 w 134"/>
                  <a:gd name="T1" fmla="*/ 222 h 226"/>
                  <a:gd name="T2" fmla="*/ 114 w 134"/>
                  <a:gd name="T3" fmla="*/ 132 h 226"/>
                  <a:gd name="T4" fmla="*/ 8 w 134"/>
                  <a:gd name="T5" fmla="*/ 14 h 226"/>
                  <a:gd name="T6" fmla="*/ 56 w 134"/>
                  <a:gd name="T7" fmla="*/ 58 h 226"/>
                  <a:gd name="T8" fmla="*/ 127 w 134"/>
                  <a:gd name="T9" fmla="*/ 146 h 226"/>
                  <a:gd name="T10" fmla="*/ 128 w 134"/>
                  <a:gd name="T11" fmla="*/ 226 h 226"/>
                  <a:gd name="T12" fmla="*/ 112 w 134"/>
                  <a:gd name="T13" fmla="*/ 222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4" h="226">
                    <a:moveTo>
                      <a:pt x="112" y="222"/>
                    </a:moveTo>
                    <a:cubicBezTo>
                      <a:pt x="112" y="222"/>
                      <a:pt x="134" y="158"/>
                      <a:pt x="114" y="132"/>
                    </a:cubicBezTo>
                    <a:cubicBezTo>
                      <a:pt x="94" y="106"/>
                      <a:pt x="16" y="28"/>
                      <a:pt x="8" y="14"/>
                    </a:cubicBezTo>
                    <a:cubicBezTo>
                      <a:pt x="0" y="0"/>
                      <a:pt x="38" y="40"/>
                      <a:pt x="56" y="58"/>
                    </a:cubicBezTo>
                    <a:cubicBezTo>
                      <a:pt x="74" y="76"/>
                      <a:pt x="127" y="120"/>
                      <a:pt x="127" y="146"/>
                    </a:cubicBezTo>
                    <a:cubicBezTo>
                      <a:pt x="127" y="172"/>
                      <a:pt x="128" y="226"/>
                      <a:pt x="128" y="226"/>
                    </a:cubicBezTo>
                    <a:lnTo>
                      <a:pt x="112" y="222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106">
                <a:extLst>
                  <a:ext uri="{FF2B5EF4-FFF2-40B4-BE49-F238E27FC236}">
                    <a16:creationId xmlns:a16="http://schemas.microsoft.com/office/drawing/2014/main" id="{9DFD77D0-741B-43CC-86A0-B5F699AD0F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62263" y="2857501"/>
                <a:ext cx="390525" cy="723900"/>
              </a:xfrm>
              <a:custGeom>
                <a:avLst/>
                <a:gdLst>
                  <a:gd name="T0" fmla="*/ 78 w 104"/>
                  <a:gd name="T1" fmla="*/ 2 h 193"/>
                  <a:gd name="T2" fmla="*/ 91 w 104"/>
                  <a:gd name="T3" fmla="*/ 42 h 193"/>
                  <a:gd name="T4" fmla="*/ 49 w 104"/>
                  <a:gd name="T5" fmla="*/ 80 h 193"/>
                  <a:gd name="T6" fmla="*/ 34 w 104"/>
                  <a:gd name="T7" fmla="*/ 104 h 193"/>
                  <a:gd name="T8" fmla="*/ 13 w 104"/>
                  <a:gd name="T9" fmla="*/ 134 h 193"/>
                  <a:gd name="T10" fmla="*/ 13 w 104"/>
                  <a:gd name="T11" fmla="*/ 154 h 193"/>
                  <a:gd name="T12" fmla="*/ 7 w 104"/>
                  <a:gd name="T13" fmla="*/ 182 h 193"/>
                  <a:gd name="T14" fmla="*/ 19 w 104"/>
                  <a:gd name="T15" fmla="*/ 138 h 193"/>
                  <a:gd name="T16" fmla="*/ 40 w 104"/>
                  <a:gd name="T17" fmla="*/ 106 h 193"/>
                  <a:gd name="T18" fmla="*/ 54 w 104"/>
                  <a:gd name="T19" fmla="*/ 87 h 193"/>
                  <a:gd name="T20" fmla="*/ 103 w 104"/>
                  <a:gd name="T21" fmla="*/ 30 h 193"/>
                  <a:gd name="T22" fmla="*/ 78 w 104"/>
                  <a:gd name="T23" fmla="*/ 2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4" h="193">
                    <a:moveTo>
                      <a:pt x="78" y="2"/>
                    </a:moveTo>
                    <a:cubicBezTo>
                      <a:pt x="78" y="2"/>
                      <a:pt x="104" y="13"/>
                      <a:pt x="91" y="42"/>
                    </a:cubicBezTo>
                    <a:cubicBezTo>
                      <a:pt x="78" y="71"/>
                      <a:pt x="57" y="73"/>
                      <a:pt x="49" y="80"/>
                    </a:cubicBezTo>
                    <a:cubicBezTo>
                      <a:pt x="41" y="87"/>
                      <a:pt x="43" y="88"/>
                      <a:pt x="34" y="104"/>
                    </a:cubicBezTo>
                    <a:cubicBezTo>
                      <a:pt x="25" y="120"/>
                      <a:pt x="13" y="134"/>
                      <a:pt x="13" y="134"/>
                    </a:cubicBezTo>
                    <a:cubicBezTo>
                      <a:pt x="13" y="134"/>
                      <a:pt x="12" y="140"/>
                      <a:pt x="13" y="154"/>
                    </a:cubicBezTo>
                    <a:cubicBezTo>
                      <a:pt x="14" y="168"/>
                      <a:pt x="14" y="171"/>
                      <a:pt x="7" y="182"/>
                    </a:cubicBezTo>
                    <a:cubicBezTo>
                      <a:pt x="0" y="193"/>
                      <a:pt x="28" y="179"/>
                      <a:pt x="19" y="138"/>
                    </a:cubicBezTo>
                    <a:cubicBezTo>
                      <a:pt x="19" y="138"/>
                      <a:pt x="24" y="125"/>
                      <a:pt x="40" y="106"/>
                    </a:cubicBezTo>
                    <a:cubicBezTo>
                      <a:pt x="40" y="106"/>
                      <a:pt x="42" y="95"/>
                      <a:pt x="54" y="87"/>
                    </a:cubicBezTo>
                    <a:cubicBezTo>
                      <a:pt x="66" y="79"/>
                      <a:pt x="103" y="58"/>
                      <a:pt x="103" y="30"/>
                    </a:cubicBezTo>
                    <a:cubicBezTo>
                      <a:pt x="103" y="2"/>
                      <a:pt x="85" y="0"/>
                      <a:pt x="78" y="2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107">
                <a:extLst>
                  <a:ext uri="{FF2B5EF4-FFF2-40B4-BE49-F238E27FC236}">
                    <a16:creationId xmlns:a16="http://schemas.microsoft.com/office/drawing/2014/main" id="{9A7AB649-754D-41CB-AFD3-F72AB4B17B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82526" y="3275953"/>
                <a:ext cx="238785" cy="699742"/>
              </a:xfrm>
              <a:custGeom>
                <a:avLst/>
                <a:gdLst>
                  <a:gd name="T0" fmla="*/ 121 w 131"/>
                  <a:gd name="T1" fmla="*/ 335 h 335"/>
                  <a:gd name="T2" fmla="*/ 96 w 131"/>
                  <a:gd name="T3" fmla="*/ 245 h 335"/>
                  <a:gd name="T4" fmla="*/ 51 w 131"/>
                  <a:gd name="T5" fmla="*/ 203 h 335"/>
                  <a:gd name="T6" fmla="*/ 20 w 131"/>
                  <a:gd name="T7" fmla="*/ 170 h 335"/>
                  <a:gd name="T8" fmla="*/ 19 w 131"/>
                  <a:gd name="T9" fmla="*/ 161 h 335"/>
                  <a:gd name="T10" fmla="*/ 6 w 131"/>
                  <a:gd name="T11" fmla="*/ 119 h 335"/>
                  <a:gd name="T12" fmla="*/ 9 w 131"/>
                  <a:gd name="T13" fmla="*/ 108 h 335"/>
                  <a:gd name="T14" fmla="*/ 33 w 131"/>
                  <a:gd name="T15" fmla="*/ 3 h 335"/>
                  <a:gd name="T16" fmla="*/ 61 w 131"/>
                  <a:gd name="T17" fmla="*/ 114 h 335"/>
                  <a:gd name="T18" fmla="*/ 102 w 131"/>
                  <a:gd name="T19" fmla="*/ 200 h 335"/>
                  <a:gd name="T20" fmla="*/ 102 w 131"/>
                  <a:gd name="T21" fmla="*/ 206 h 335"/>
                  <a:gd name="T22" fmla="*/ 112 w 131"/>
                  <a:gd name="T23" fmla="*/ 222 h 335"/>
                  <a:gd name="T24" fmla="*/ 130 w 131"/>
                  <a:gd name="T25" fmla="*/ 295 h 335"/>
                  <a:gd name="T26" fmla="*/ 121 w 131"/>
                  <a:gd name="T27" fmla="*/ 335 h 335"/>
                  <a:gd name="connsiteX0" fmla="*/ 8779 w 9468"/>
                  <a:gd name="connsiteY0" fmla="*/ 9912 h 9912"/>
                  <a:gd name="connsiteX1" fmla="*/ 6870 w 9468"/>
                  <a:gd name="connsiteY1" fmla="*/ 7225 h 9912"/>
                  <a:gd name="connsiteX2" fmla="*/ 3435 w 9468"/>
                  <a:gd name="connsiteY2" fmla="*/ 5972 h 9912"/>
                  <a:gd name="connsiteX3" fmla="*/ 1069 w 9468"/>
                  <a:gd name="connsiteY3" fmla="*/ 4987 h 9912"/>
                  <a:gd name="connsiteX4" fmla="*/ 992 w 9468"/>
                  <a:gd name="connsiteY4" fmla="*/ 4718 h 9912"/>
                  <a:gd name="connsiteX5" fmla="*/ 0 w 9468"/>
                  <a:gd name="connsiteY5" fmla="*/ 3464 h 9912"/>
                  <a:gd name="connsiteX6" fmla="*/ 229 w 9468"/>
                  <a:gd name="connsiteY6" fmla="*/ 3136 h 9912"/>
                  <a:gd name="connsiteX7" fmla="*/ 2061 w 9468"/>
                  <a:gd name="connsiteY7" fmla="*/ 2 h 9912"/>
                  <a:gd name="connsiteX8" fmla="*/ 4198 w 9468"/>
                  <a:gd name="connsiteY8" fmla="*/ 3315 h 9912"/>
                  <a:gd name="connsiteX9" fmla="*/ 7328 w 9468"/>
                  <a:gd name="connsiteY9" fmla="*/ 6061 h 9912"/>
                  <a:gd name="connsiteX10" fmla="*/ 8092 w 9468"/>
                  <a:gd name="connsiteY10" fmla="*/ 6539 h 9912"/>
                  <a:gd name="connsiteX11" fmla="*/ 9466 w 9468"/>
                  <a:gd name="connsiteY11" fmla="*/ 8718 h 9912"/>
                  <a:gd name="connsiteX12" fmla="*/ 8779 w 9468"/>
                  <a:gd name="connsiteY12" fmla="*/ 9912 h 9912"/>
                  <a:gd name="connsiteX0" fmla="*/ 9272 w 10001"/>
                  <a:gd name="connsiteY0" fmla="*/ 10000 h 10000"/>
                  <a:gd name="connsiteX1" fmla="*/ 7256 w 10001"/>
                  <a:gd name="connsiteY1" fmla="*/ 7289 h 10000"/>
                  <a:gd name="connsiteX2" fmla="*/ 3628 w 10001"/>
                  <a:gd name="connsiteY2" fmla="*/ 6025 h 10000"/>
                  <a:gd name="connsiteX3" fmla="*/ 1129 w 10001"/>
                  <a:gd name="connsiteY3" fmla="*/ 5031 h 10000"/>
                  <a:gd name="connsiteX4" fmla="*/ 1048 w 10001"/>
                  <a:gd name="connsiteY4" fmla="*/ 4760 h 10000"/>
                  <a:gd name="connsiteX5" fmla="*/ 0 w 10001"/>
                  <a:gd name="connsiteY5" fmla="*/ 3495 h 10000"/>
                  <a:gd name="connsiteX6" fmla="*/ 242 w 10001"/>
                  <a:gd name="connsiteY6" fmla="*/ 3164 h 10000"/>
                  <a:gd name="connsiteX7" fmla="*/ 2177 w 10001"/>
                  <a:gd name="connsiteY7" fmla="*/ 2 h 10000"/>
                  <a:gd name="connsiteX8" fmla="*/ 4434 w 10001"/>
                  <a:gd name="connsiteY8" fmla="*/ 3344 h 10000"/>
                  <a:gd name="connsiteX9" fmla="*/ 9654 w 10001"/>
                  <a:gd name="connsiteY9" fmla="*/ 4661 h 10000"/>
                  <a:gd name="connsiteX10" fmla="*/ 8547 w 10001"/>
                  <a:gd name="connsiteY10" fmla="*/ 6597 h 10000"/>
                  <a:gd name="connsiteX11" fmla="*/ 9998 w 10001"/>
                  <a:gd name="connsiteY11" fmla="*/ 8795 h 10000"/>
                  <a:gd name="connsiteX12" fmla="*/ 9272 w 10001"/>
                  <a:gd name="connsiteY12" fmla="*/ 10000 h 10000"/>
                  <a:gd name="connsiteX0" fmla="*/ 9272 w 10001"/>
                  <a:gd name="connsiteY0" fmla="*/ 10003 h 10003"/>
                  <a:gd name="connsiteX1" fmla="*/ 7256 w 10001"/>
                  <a:gd name="connsiteY1" fmla="*/ 7292 h 10003"/>
                  <a:gd name="connsiteX2" fmla="*/ 3628 w 10001"/>
                  <a:gd name="connsiteY2" fmla="*/ 6028 h 10003"/>
                  <a:gd name="connsiteX3" fmla="*/ 1129 w 10001"/>
                  <a:gd name="connsiteY3" fmla="*/ 5034 h 10003"/>
                  <a:gd name="connsiteX4" fmla="*/ 1048 w 10001"/>
                  <a:gd name="connsiteY4" fmla="*/ 4763 h 10003"/>
                  <a:gd name="connsiteX5" fmla="*/ 0 w 10001"/>
                  <a:gd name="connsiteY5" fmla="*/ 3498 h 10003"/>
                  <a:gd name="connsiteX6" fmla="*/ 242 w 10001"/>
                  <a:gd name="connsiteY6" fmla="*/ 3167 h 10003"/>
                  <a:gd name="connsiteX7" fmla="*/ 2177 w 10001"/>
                  <a:gd name="connsiteY7" fmla="*/ 5 h 10003"/>
                  <a:gd name="connsiteX8" fmla="*/ 4707 w 10001"/>
                  <a:gd name="connsiteY8" fmla="*/ 2480 h 10003"/>
                  <a:gd name="connsiteX9" fmla="*/ 9654 w 10001"/>
                  <a:gd name="connsiteY9" fmla="*/ 4664 h 10003"/>
                  <a:gd name="connsiteX10" fmla="*/ 8547 w 10001"/>
                  <a:gd name="connsiteY10" fmla="*/ 6600 h 10003"/>
                  <a:gd name="connsiteX11" fmla="*/ 9998 w 10001"/>
                  <a:gd name="connsiteY11" fmla="*/ 8798 h 10003"/>
                  <a:gd name="connsiteX12" fmla="*/ 9272 w 10001"/>
                  <a:gd name="connsiteY12" fmla="*/ 10003 h 10003"/>
                  <a:gd name="connsiteX0" fmla="*/ 9272 w 10182"/>
                  <a:gd name="connsiteY0" fmla="*/ 10003 h 10003"/>
                  <a:gd name="connsiteX1" fmla="*/ 7256 w 10182"/>
                  <a:gd name="connsiteY1" fmla="*/ 7292 h 10003"/>
                  <a:gd name="connsiteX2" fmla="*/ 3628 w 10182"/>
                  <a:gd name="connsiteY2" fmla="*/ 6028 h 10003"/>
                  <a:gd name="connsiteX3" fmla="*/ 1129 w 10182"/>
                  <a:gd name="connsiteY3" fmla="*/ 5034 h 10003"/>
                  <a:gd name="connsiteX4" fmla="*/ 1048 w 10182"/>
                  <a:gd name="connsiteY4" fmla="*/ 4763 h 10003"/>
                  <a:gd name="connsiteX5" fmla="*/ 0 w 10182"/>
                  <a:gd name="connsiteY5" fmla="*/ 3498 h 10003"/>
                  <a:gd name="connsiteX6" fmla="*/ 242 w 10182"/>
                  <a:gd name="connsiteY6" fmla="*/ 3167 h 10003"/>
                  <a:gd name="connsiteX7" fmla="*/ 2177 w 10182"/>
                  <a:gd name="connsiteY7" fmla="*/ 5 h 10003"/>
                  <a:gd name="connsiteX8" fmla="*/ 4707 w 10182"/>
                  <a:gd name="connsiteY8" fmla="*/ 2480 h 10003"/>
                  <a:gd name="connsiteX9" fmla="*/ 9654 w 10182"/>
                  <a:gd name="connsiteY9" fmla="*/ 4664 h 10003"/>
                  <a:gd name="connsiteX10" fmla="*/ 9998 w 10182"/>
                  <a:gd name="connsiteY10" fmla="*/ 8798 h 10003"/>
                  <a:gd name="connsiteX11" fmla="*/ 9272 w 10182"/>
                  <a:gd name="connsiteY11" fmla="*/ 10003 h 10003"/>
                  <a:gd name="connsiteX0" fmla="*/ 9272 w 9983"/>
                  <a:gd name="connsiteY0" fmla="*/ 10003 h 10049"/>
                  <a:gd name="connsiteX1" fmla="*/ 7256 w 9983"/>
                  <a:gd name="connsiteY1" fmla="*/ 7292 h 10049"/>
                  <a:gd name="connsiteX2" fmla="*/ 3628 w 9983"/>
                  <a:gd name="connsiteY2" fmla="*/ 6028 h 10049"/>
                  <a:gd name="connsiteX3" fmla="*/ 1129 w 9983"/>
                  <a:gd name="connsiteY3" fmla="*/ 5034 h 10049"/>
                  <a:gd name="connsiteX4" fmla="*/ 1048 w 9983"/>
                  <a:gd name="connsiteY4" fmla="*/ 4763 h 10049"/>
                  <a:gd name="connsiteX5" fmla="*/ 0 w 9983"/>
                  <a:gd name="connsiteY5" fmla="*/ 3498 h 10049"/>
                  <a:gd name="connsiteX6" fmla="*/ 242 w 9983"/>
                  <a:gd name="connsiteY6" fmla="*/ 3167 h 10049"/>
                  <a:gd name="connsiteX7" fmla="*/ 2177 w 9983"/>
                  <a:gd name="connsiteY7" fmla="*/ 5 h 10049"/>
                  <a:gd name="connsiteX8" fmla="*/ 4707 w 9983"/>
                  <a:gd name="connsiteY8" fmla="*/ 2480 h 10049"/>
                  <a:gd name="connsiteX9" fmla="*/ 9654 w 9983"/>
                  <a:gd name="connsiteY9" fmla="*/ 4664 h 10049"/>
                  <a:gd name="connsiteX10" fmla="*/ 9272 w 9983"/>
                  <a:gd name="connsiteY10" fmla="*/ 10003 h 10049"/>
                  <a:gd name="connsiteX0" fmla="*/ 9670 w 9733"/>
                  <a:gd name="connsiteY0" fmla="*/ 4641 h 7256"/>
                  <a:gd name="connsiteX1" fmla="*/ 7268 w 9733"/>
                  <a:gd name="connsiteY1" fmla="*/ 7256 h 7256"/>
                  <a:gd name="connsiteX2" fmla="*/ 3634 w 9733"/>
                  <a:gd name="connsiteY2" fmla="*/ 5999 h 7256"/>
                  <a:gd name="connsiteX3" fmla="*/ 1131 w 9733"/>
                  <a:gd name="connsiteY3" fmla="*/ 5009 h 7256"/>
                  <a:gd name="connsiteX4" fmla="*/ 1050 w 9733"/>
                  <a:gd name="connsiteY4" fmla="*/ 4740 h 7256"/>
                  <a:gd name="connsiteX5" fmla="*/ 0 w 9733"/>
                  <a:gd name="connsiteY5" fmla="*/ 3481 h 7256"/>
                  <a:gd name="connsiteX6" fmla="*/ 242 w 9733"/>
                  <a:gd name="connsiteY6" fmla="*/ 3152 h 7256"/>
                  <a:gd name="connsiteX7" fmla="*/ 2181 w 9733"/>
                  <a:gd name="connsiteY7" fmla="*/ 5 h 7256"/>
                  <a:gd name="connsiteX8" fmla="*/ 4715 w 9733"/>
                  <a:gd name="connsiteY8" fmla="*/ 2468 h 7256"/>
                  <a:gd name="connsiteX9" fmla="*/ 9670 w 9733"/>
                  <a:gd name="connsiteY9" fmla="*/ 4641 h 7256"/>
                  <a:gd name="connsiteX0" fmla="*/ 9935 w 12398"/>
                  <a:gd name="connsiteY0" fmla="*/ 6396 h 8498"/>
                  <a:gd name="connsiteX1" fmla="*/ 12111 w 12398"/>
                  <a:gd name="connsiteY1" fmla="*/ 7691 h 8498"/>
                  <a:gd name="connsiteX2" fmla="*/ 3734 w 12398"/>
                  <a:gd name="connsiteY2" fmla="*/ 8268 h 8498"/>
                  <a:gd name="connsiteX3" fmla="*/ 1162 w 12398"/>
                  <a:gd name="connsiteY3" fmla="*/ 6903 h 8498"/>
                  <a:gd name="connsiteX4" fmla="*/ 1079 w 12398"/>
                  <a:gd name="connsiteY4" fmla="*/ 6533 h 8498"/>
                  <a:gd name="connsiteX5" fmla="*/ 0 w 12398"/>
                  <a:gd name="connsiteY5" fmla="*/ 4797 h 8498"/>
                  <a:gd name="connsiteX6" fmla="*/ 249 w 12398"/>
                  <a:gd name="connsiteY6" fmla="*/ 4344 h 8498"/>
                  <a:gd name="connsiteX7" fmla="*/ 2241 w 12398"/>
                  <a:gd name="connsiteY7" fmla="*/ 7 h 8498"/>
                  <a:gd name="connsiteX8" fmla="*/ 4844 w 12398"/>
                  <a:gd name="connsiteY8" fmla="*/ 3401 h 8498"/>
                  <a:gd name="connsiteX9" fmla="*/ 9935 w 12398"/>
                  <a:gd name="connsiteY9" fmla="*/ 6396 h 8498"/>
                  <a:gd name="connsiteX0" fmla="*/ 8013 w 9821"/>
                  <a:gd name="connsiteY0" fmla="*/ 7526 h 9056"/>
                  <a:gd name="connsiteX1" fmla="*/ 9769 w 9821"/>
                  <a:gd name="connsiteY1" fmla="*/ 9050 h 9056"/>
                  <a:gd name="connsiteX2" fmla="*/ 6190 w 9821"/>
                  <a:gd name="connsiteY2" fmla="*/ 7012 h 9056"/>
                  <a:gd name="connsiteX3" fmla="*/ 937 w 9821"/>
                  <a:gd name="connsiteY3" fmla="*/ 8123 h 9056"/>
                  <a:gd name="connsiteX4" fmla="*/ 870 w 9821"/>
                  <a:gd name="connsiteY4" fmla="*/ 7688 h 9056"/>
                  <a:gd name="connsiteX5" fmla="*/ 0 w 9821"/>
                  <a:gd name="connsiteY5" fmla="*/ 5645 h 9056"/>
                  <a:gd name="connsiteX6" fmla="*/ 201 w 9821"/>
                  <a:gd name="connsiteY6" fmla="*/ 5112 h 9056"/>
                  <a:gd name="connsiteX7" fmla="*/ 1808 w 9821"/>
                  <a:gd name="connsiteY7" fmla="*/ 8 h 9056"/>
                  <a:gd name="connsiteX8" fmla="*/ 3907 w 9821"/>
                  <a:gd name="connsiteY8" fmla="*/ 4002 h 9056"/>
                  <a:gd name="connsiteX9" fmla="*/ 8013 w 9821"/>
                  <a:gd name="connsiteY9" fmla="*/ 7526 h 9056"/>
                  <a:gd name="connsiteX0" fmla="*/ 8159 w 10000"/>
                  <a:gd name="connsiteY0" fmla="*/ 8311 h 10000"/>
                  <a:gd name="connsiteX1" fmla="*/ 9947 w 10000"/>
                  <a:gd name="connsiteY1" fmla="*/ 9993 h 10000"/>
                  <a:gd name="connsiteX2" fmla="*/ 6303 w 10000"/>
                  <a:gd name="connsiteY2" fmla="*/ 7743 h 10000"/>
                  <a:gd name="connsiteX3" fmla="*/ 886 w 10000"/>
                  <a:gd name="connsiteY3" fmla="*/ 8489 h 10000"/>
                  <a:gd name="connsiteX4" fmla="*/ 0 w 10000"/>
                  <a:gd name="connsiteY4" fmla="*/ 6233 h 10000"/>
                  <a:gd name="connsiteX5" fmla="*/ 205 w 10000"/>
                  <a:gd name="connsiteY5" fmla="*/ 5645 h 10000"/>
                  <a:gd name="connsiteX6" fmla="*/ 1841 w 10000"/>
                  <a:gd name="connsiteY6" fmla="*/ 9 h 10000"/>
                  <a:gd name="connsiteX7" fmla="*/ 3978 w 10000"/>
                  <a:gd name="connsiteY7" fmla="*/ 4419 h 10000"/>
                  <a:gd name="connsiteX8" fmla="*/ 8159 w 10000"/>
                  <a:gd name="connsiteY8" fmla="*/ 8311 h 10000"/>
                  <a:gd name="connsiteX0" fmla="*/ 8077 w 9918"/>
                  <a:gd name="connsiteY0" fmla="*/ 8311 h 10000"/>
                  <a:gd name="connsiteX1" fmla="*/ 9865 w 9918"/>
                  <a:gd name="connsiteY1" fmla="*/ 9993 h 10000"/>
                  <a:gd name="connsiteX2" fmla="*/ 6221 w 9918"/>
                  <a:gd name="connsiteY2" fmla="*/ 7743 h 10000"/>
                  <a:gd name="connsiteX3" fmla="*/ 804 w 9918"/>
                  <a:gd name="connsiteY3" fmla="*/ 8489 h 10000"/>
                  <a:gd name="connsiteX4" fmla="*/ 123 w 9918"/>
                  <a:gd name="connsiteY4" fmla="*/ 5645 h 10000"/>
                  <a:gd name="connsiteX5" fmla="*/ 1759 w 9918"/>
                  <a:gd name="connsiteY5" fmla="*/ 9 h 10000"/>
                  <a:gd name="connsiteX6" fmla="*/ 3896 w 9918"/>
                  <a:gd name="connsiteY6" fmla="*/ 4419 h 10000"/>
                  <a:gd name="connsiteX7" fmla="*/ 8077 w 9918"/>
                  <a:gd name="connsiteY7" fmla="*/ 8311 h 10000"/>
                  <a:gd name="connsiteX0" fmla="*/ 7661 w 9517"/>
                  <a:gd name="connsiteY0" fmla="*/ 8475 h 10164"/>
                  <a:gd name="connsiteX1" fmla="*/ 9464 w 9517"/>
                  <a:gd name="connsiteY1" fmla="*/ 10157 h 10164"/>
                  <a:gd name="connsiteX2" fmla="*/ 5789 w 9517"/>
                  <a:gd name="connsiteY2" fmla="*/ 7907 h 10164"/>
                  <a:gd name="connsiteX3" fmla="*/ 328 w 9517"/>
                  <a:gd name="connsiteY3" fmla="*/ 8653 h 10164"/>
                  <a:gd name="connsiteX4" fmla="*/ 1156 w 9517"/>
                  <a:gd name="connsiteY4" fmla="*/ 945 h 10164"/>
                  <a:gd name="connsiteX5" fmla="*/ 1291 w 9517"/>
                  <a:gd name="connsiteY5" fmla="*/ 173 h 10164"/>
                  <a:gd name="connsiteX6" fmla="*/ 3445 w 9517"/>
                  <a:gd name="connsiteY6" fmla="*/ 4583 h 10164"/>
                  <a:gd name="connsiteX7" fmla="*/ 7661 w 9517"/>
                  <a:gd name="connsiteY7" fmla="*/ 8475 h 10164"/>
                  <a:gd name="connsiteX0" fmla="*/ 6959 w 8909"/>
                  <a:gd name="connsiteY0" fmla="*/ 8399 h 10061"/>
                  <a:gd name="connsiteX1" fmla="*/ 8853 w 8909"/>
                  <a:gd name="connsiteY1" fmla="*/ 10054 h 10061"/>
                  <a:gd name="connsiteX2" fmla="*/ 4992 w 8909"/>
                  <a:gd name="connsiteY2" fmla="*/ 7840 h 10061"/>
                  <a:gd name="connsiteX3" fmla="*/ 968 w 8909"/>
                  <a:gd name="connsiteY3" fmla="*/ 4370 h 10061"/>
                  <a:gd name="connsiteX4" fmla="*/ 124 w 8909"/>
                  <a:gd name="connsiteY4" fmla="*/ 991 h 10061"/>
                  <a:gd name="connsiteX5" fmla="*/ 266 w 8909"/>
                  <a:gd name="connsiteY5" fmla="*/ 231 h 10061"/>
                  <a:gd name="connsiteX6" fmla="*/ 2529 w 8909"/>
                  <a:gd name="connsiteY6" fmla="*/ 4570 h 10061"/>
                  <a:gd name="connsiteX7" fmla="*/ 6959 w 8909"/>
                  <a:gd name="connsiteY7" fmla="*/ 8399 h 10061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03 w 9991"/>
                  <a:gd name="connsiteY0" fmla="*/ 8330 h 9982"/>
                  <a:gd name="connsiteX1" fmla="*/ 9929 w 9991"/>
                  <a:gd name="connsiteY1" fmla="*/ 9975 h 9982"/>
                  <a:gd name="connsiteX2" fmla="*/ 5595 w 9991"/>
                  <a:gd name="connsiteY2" fmla="*/ 7774 h 9982"/>
                  <a:gd name="connsiteX3" fmla="*/ 804 w 9991"/>
                  <a:gd name="connsiteY3" fmla="*/ 3481 h 9982"/>
                  <a:gd name="connsiteX4" fmla="*/ 131 w 9991"/>
                  <a:gd name="connsiteY4" fmla="*/ 967 h 9982"/>
                  <a:gd name="connsiteX5" fmla="*/ 291 w 9991"/>
                  <a:gd name="connsiteY5" fmla="*/ 212 h 9982"/>
                  <a:gd name="connsiteX6" fmla="*/ 2968 w 9991"/>
                  <a:gd name="connsiteY6" fmla="*/ 4568 h 9982"/>
                  <a:gd name="connsiteX7" fmla="*/ 7803 w 9991"/>
                  <a:gd name="connsiteY7" fmla="*/ 8330 h 9982"/>
                  <a:gd name="connsiteX0" fmla="*/ 7810 w 10054"/>
                  <a:gd name="connsiteY0" fmla="*/ 8345 h 10037"/>
                  <a:gd name="connsiteX1" fmla="*/ 9938 w 10054"/>
                  <a:gd name="connsiteY1" fmla="*/ 9993 h 10037"/>
                  <a:gd name="connsiteX2" fmla="*/ 4500 w 10054"/>
                  <a:gd name="connsiteY2" fmla="*/ 6719 h 10037"/>
                  <a:gd name="connsiteX3" fmla="*/ 805 w 10054"/>
                  <a:gd name="connsiteY3" fmla="*/ 3487 h 10037"/>
                  <a:gd name="connsiteX4" fmla="*/ 131 w 10054"/>
                  <a:gd name="connsiteY4" fmla="*/ 969 h 10037"/>
                  <a:gd name="connsiteX5" fmla="*/ 291 w 10054"/>
                  <a:gd name="connsiteY5" fmla="*/ 212 h 10037"/>
                  <a:gd name="connsiteX6" fmla="*/ 2971 w 10054"/>
                  <a:gd name="connsiteY6" fmla="*/ 4576 h 10037"/>
                  <a:gd name="connsiteX7" fmla="*/ 7810 w 10054"/>
                  <a:gd name="connsiteY7" fmla="*/ 8345 h 10037"/>
                  <a:gd name="connsiteX0" fmla="*/ 7810 w 10054"/>
                  <a:gd name="connsiteY0" fmla="*/ 8345 h 10037"/>
                  <a:gd name="connsiteX1" fmla="*/ 9938 w 10054"/>
                  <a:gd name="connsiteY1" fmla="*/ 9993 h 10037"/>
                  <a:gd name="connsiteX2" fmla="*/ 4500 w 10054"/>
                  <a:gd name="connsiteY2" fmla="*/ 6719 h 10037"/>
                  <a:gd name="connsiteX3" fmla="*/ 805 w 10054"/>
                  <a:gd name="connsiteY3" fmla="*/ 3487 h 10037"/>
                  <a:gd name="connsiteX4" fmla="*/ 131 w 10054"/>
                  <a:gd name="connsiteY4" fmla="*/ 969 h 10037"/>
                  <a:gd name="connsiteX5" fmla="*/ 291 w 10054"/>
                  <a:gd name="connsiteY5" fmla="*/ 212 h 10037"/>
                  <a:gd name="connsiteX6" fmla="*/ 2971 w 10054"/>
                  <a:gd name="connsiteY6" fmla="*/ 4576 h 10037"/>
                  <a:gd name="connsiteX7" fmla="*/ 7810 w 10054"/>
                  <a:gd name="connsiteY7" fmla="*/ 8345 h 10037"/>
                  <a:gd name="connsiteX0" fmla="*/ 7810 w 10084"/>
                  <a:gd name="connsiteY0" fmla="*/ 8345 h 10031"/>
                  <a:gd name="connsiteX1" fmla="*/ 9938 w 10084"/>
                  <a:gd name="connsiteY1" fmla="*/ 9993 h 10031"/>
                  <a:gd name="connsiteX2" fmla="*/ 3950 w 10084"/>
                  <a:gd name="connsiteY2" fmla="*/ 6853 h 10031"/>
                  <a:gd name="connsiteX3" fmla="*/ 805 w 10084"/>
                  <a:gd name="connsiteY3" fmla="*/ 3487 h 10031"/>
                  <a:gd name="connsiteX4" fmla="*/ 131 w 10084"/>
                  <a:gd name="connsiteY4" fmla="*/ 969 h 10031"/>
                  <a:gd name="connsiteX5" fmla="*/ 291 w 10084"/>
                  <a:gd name="connsiteY5" fmla="*/ 212 h 10031"/>
                  <a:gd name="connsiteX6" fmla="*/ 2971 w 10084"/>
                  <a:gd name="connsiteY6" fmla="*/ 4576 h 10031"/>
                  <a:gd name="connsiteX7" fmla="*/ 7810 w 10084"/>
                  <a:gd name="connsiteY7" fmla="*/ 8345 h 10031"/>
                  <a:gd name="connsiteX0" fmla="*/ 7810 w 10345"/>
                  <a:gd name="connsiteY0" fmla="*/ 8345 h 9815"/>
                  <a:gd name="connsiteX1" fmla="*/ 10213 w 10345"/>
                  <a:gd name="connsiteY1" fmla="*/ 9770 h 9815"/>
                  <a:gd name="connsiteX2" fmla="*/ 3950 w 10345"/>
                  <a:gd name="connsiteY2" fmla="*/ 6853 h 9815"/>
                  <a:gd name="connsiteX3" fmla="*/ 805 w 10345"/>
                  <a:gd name="connsiteY3" fmla="*/ 3487 h 9815"/>
                  <a:gd name="connsiteX4" fmla="*/ 131 w 10345"/>
                  <a:gd name="connsiteY4" fmla="*/ 969 h 9815"/>
                  <a:gd name="connsiteX5" fmla="*/ 291 w 10345"/>
                  <a:gd name="connsiteY5" fmla="*/ 212 h 9815"/>
                  <a:gd name="connsiteX6" fmla="*/ 2971 w 10345"/>
                  <a:gd name="connsiteY6" fmla="*/ 4576 h 9815"/>
                  <a:gd name="connsiteX7" fmla="*/ 7810 w 10345"/>
                  <a:gd name="connsiteY7" fmla="*/ 8345 h 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45" h="9815">
                    <a:moveTo>
                      <a:pt x="7810" y="8345"/>
                    </a:moveTo>
                    <a:cubicBezTo>
                      <a:pt x="9017" y="9211"/>
                      <a:pt x="10856" y="10019"/>
                      <a:pt x="10213" y="9770"/>
                    </a:cubicBezTo>
                    <a:cubicBezTo>
                      <a:pt x="9570" y="9521"/>
                      <a:pt x="5574" y="7959"/>
                      <a:pt x="3950" y="6853"/>
                    </a:cubicBezTo>
                    <a:cubicBezTo>
                      <a:pt x="2429" y="5717"/>
                      <a:pt x="1503" y="4090"/>
                      <a:pt x="805" y="3487"/>
                    </a:cubicBezTo>
                    <a:cubicBezTo>
                      <a:pt x="282" y="2566"/>
                      <a:pt x="216" y="1515"/>
                      <a:pt x="131" y="969"/>
                    </a:cubicBezTo>
                    <a:cubicBezTo>
                      <a:pt x="46" y="423"/>
                      <a:pt x="-182" y="-389"/>
                      <a:pt x="291" y="212"/>
                    </a:cubicBezTo>
                    <a:cubicBezTo>
                      <a:pt x="765" y="813"/>
                      <a:pt x="1718" y="3223"/>
                      <a:pt x="2971" y="4576"/>
                    </a:cubicBezTo>
                    <a:cubicBezTo>
                      <a:pt x="4225" y="5935"/>
                      <a:pt x="6603" y="7479"/>
                      <a:pt x="7810" y="834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108">
                <a:extLst>
                  <a:ext uri="{FF2B5EF4-FFF2-40B4-BE49-F238E27FC236}">
                    <a16:creationId xmlns:a16="http://schemas.microsoft.com/office/drawing/2014/main" id="{E055505D-072E-4E56-B359-0B7B046332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9463" y="3873501"/>
                <a:ext cx="250825" cy="77788"/>
              </a:xfrm>
              <a:custGeom>
                <a:avLst/>
                <a:gdLst>
                  <a:gd name="T0" fmla="*/ 35 w 67"/>
                  <a:gd name="T1" fmla="*/ 10 h 21"/>
                  <a:gd name="T2" fmla="*/ 59 w 67"/>
                  <a:gd name="T3" fmla="*/ 15 h 21"/>
                  <a:gd name="T4" fmla="*/ 34 w 67"/>
                  <a:gd name="T5" fmla="*/ 3 h 21"/>
                  <a:gd name="T6" fmla="*/ 1 w 67"/>
                  <a:gd name="T7" fmla="*/ 0 h 21"/>
                  <a:gd name="T8" fmla="*/ 0 w 67"/>
                  <a:gd name="T9" fmla="*/ 8 h 21"/>
                  <a:gd name="T10" fmla="*/ 35 w 67"/>
                  <a:gd name="T11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21">
                    <a:moveTo>
                      <a:pt x="35" y="10"/>
                    </a:moveTo>
                    <a:cubicBezTo>
                      <a:pt x="40" y="21"/>
                      <a:pt x="56" y="16"/>
                      <a:pt x="59" y="15"/>
                    </a:cubicBezTo>
                    <a:cubicBezTo>
                      <a:pt x="62" y="14"/>
                      <a:pt x="67" y="6"/>
                      <a:pt x="34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33" y="6"/>
                      <a:pt x="35" y="1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109">
                <a:extLst>
                  <a:ext uri="{FF2B5EF4-FFF2-40B4-BE49-F238E27FC236}">
                    <a16:creationId xmlns:a16="http://schemas.microsoft.com/office/drawing/2014/main" id="{0750605B-BF26-41E7-A3DE-091ED250D7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7713" y="3652839"/>
                <a:ext cx="100807" cy="45719"/>
              </a:xfrm>
              <a:custGeom>
                <a:avLst/>
                <a:gdLst>
                  <a:gd name="T0" fmla="*/ 3 w 59"/>
                  <a:gd name="T1" fmla="*/ 0 h 18"/>
                  <a:gd name="T2" fmla="*/ 26 w 59"/>
                  <a:gd name="T3" fmla="*/ 2 h 18"/>
                  <a:gd name="T4" fmla="*/ 55 w 59"/>
                  <a:gd name="T5" fmla="*/ 6 h 18"/>
                  <a:gd name="T6" fmla="*/ 51 w 59"/>
                  <a:gd name="T7" fmla="*/ 15 h 18"/>
                  <a:gd name="T8" fmla="*/ 17 w 59"/>
                  <a:gd name="T9" fmla="*/ 12 h 18"/>
                  <a:gd name="T10" fmla="*/ 0 w 59"/>
                  <a:gd name="T11" fmla="*/ 11 h 18"/>
                  <a:gd name="T12" fmla="*/ 3 w 5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18">
                    <a:moveTo>
                      <a:pt x="3" y="0"/>
                    </a:moveTo>
                    <a:cubicBezTo>
                      <a:pt x="3" y="0"/>
                      <a:pt x="17" y="0"/>
                      <a:pt x="26" y="2"/>
                    </a:cubicBezTo>
                    <a:cubicBezTo>
                      <a:pt x="35" y="4"/>
                      <a:pt x="55" y="6"/>
                      <a:pt x="55" y="6"/>
                    </a:cubicBezTo>
                    <a:cubicBezTo>
                      <a:pt x="55" y="6"/>
                      <a:pt x="59" y="18"/>
                      <a:pt x="51" y="15"/>
                    </a:cubicBezTo>
                    <a:cubicBezTo>
                      <a:pt x="43" y="12"/>
                      <a:pt x="25" y="12"/>
                      <a:pt x="17" y="12"/>
                    </a:cubicBezTo>
                    <a:cubicBezTo>
                      <a:pt x="9" y="12"/>
                      <a:pt x="0" y="11"/>
                      <a:pt x="0" y="11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110">
                <a:extLst>
                  <a:ext uri="{FF2B5EF4-FFF2-40B4-BE49-F238E27FC236}">
                    <a16:creationId xmlns:a16="http://schemas.microsoft.com/office/drawing/2014/main" id="{622FBF93-4D81-4A4F-83BA-41700E803B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8151" y="3270251"/>
                <a:ext cx="214313" cy="311150"/>
              </a:xfrm>
              <a:custGeom>
                <a:avLst/>
                <a:gdLst>
                  <a:gd name="T0" fmla="*/ 57 w 57"/>
                  <a:gd name="T1" fmla="*/ 0 h 83"/>
                  <a:gd name="T2" fmla="*/ 33 w 57"/>
                  <a:gd name="T3" fmla="*/ 13 h 83"/>
                  <a:gd name="T4" fmla="*/ 18 w 57"/>
                  <a:gd name="T5" fmla="*/ 48 h 83"/>
                  <a:gd name="T6" fmla="*/ 1 w 57"/>
                  <a:gd name="T7" fmla="*/ 76 h 83"/>
                  <a:gd name="T8" fmla="*/ 18 w 57"/>
                  <a:gd name="T9" fmla="*/ 60 h 83"/>
                  <a:gd name="T10" fmla="*/ 35 w 57"/>
                  <a:gd name="T11" fmla="*/ 18 h 83"/>
                  <a:gd name="T12" fmla="*/ 57 w 57"/>
                  <a:gd name="T1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83">
                    <a:moveTo>
                      <a:pt x="57" y="0"/>
                    </a:moveTo>
                    <a:cubicBezTo>
                      <a:pt x="57" y="0"/>
                      <a:pt x="37" y="8"/>
                      <a:pt x="33" y="13"/>
                    </a:cubicBezTo>
                    <a:cubicBezTo>
                      <a:pt x="29" y="18"/>
                      <a:pt x="21" y="41"/>
                      <a:pt x="18" y="48"/>
                    </a:cubicBezTo>
                    <a:cubicBezTo>
                      <a:pt x="15" y="55"/>
                      <a:pt x="2" y="69"/>
                      <a:pt x="1" y="76"/>
                    </a:cubicBezTo>
                    <a:cubicBezTo>
                      <a:pt x="0" y="83"/>
                      <a:pt x="13" y="69"/>
                      <a:pt x="18" y="60"/>
                    </a:cubicBezTo>
                    <a:cubicBezTo>
                      <a:pt x="23" y="51"/>
                      <a:pt x="33" y="21"/>
                      <a:pt x="35" y="18"/>
                    </a:cubicBezTo>
                    <a:cubicBezTo>
                      <a:pt x="37" y="15"/>
                      <a:pt x="57" y="0"/>
                      <a:pt x="57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111">
                <a:extLst>
                  <a:ext uri="{FF2B5EF4-FFF2-40B4-BE49-F238E27FC236}">
                    <a16:creationId xmlns:a16="http://schemas.microsoft.com/office/drawing/2014/main" id="{69B75D60-D721-4624-9D19-FA28F80C8C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67038" y="3603626"/>
                <a:ext cx="142875" cy="288925"/>
              </a:xfrm>
              <a:custGeom>
                <a:avLst/>
                <a:gdLst>
                  <a:gd name="T0" fmla="*/ 33 w 38"/>
                  <a:gd name="T1" fmla="*/ 77 h 77"/>
                  <a:gd name="T2" fmla="*/ 4 w 38"/>
                  <a:gd name="T3" fmla="*/ 55 h 77"/>
                  <a:gd name="T4" fmla="*/ 10 w 38"/>
                  <a:gd name="T5" fmla="*/ 38 h 77"/>
                  <a:gd name="T6" fmla="*/ 15 w 38"/>
                  <a:gd name="T7" fmla="*/ 3 h 77"/>
                  <a:gd name="T8" fmla="*/ 18 w 38"/>
                  <a:gd name="T9" fmla="*/ 34 h 77"/>
                  <a:gd name="T10" fmla="*/ 19 w 38"/>
                  <a:gd name="T11" fmla="*/ 54 h 77"/>
                  <a:gd name="T12" fmla="*/ 33 w 38"/>
                  <a:gd name="T13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77">
                    <a:moveTo>
                      <a:pt x="33" y="77"/>
                    </a:moveTo>
                    <a:cubicBezTo>
                      <a:pt x="33" y="77"/>
                      <a:pt x="8" y="55"/>
                      <a:pt x="4" y="55"/>
                    </a:cubicBezTo>
                    <a:cubicBezTo>
                      <a:pt x="0" y="55"/>
                      <a:pt x="12" y="55"/>
                      <a:pt x="10" y="38"/>
                    </a:cubicBezTo>
                    <a:cubicBezTo>
                      <a:pt x="8" y="21"/>
                      <a:pt x="16" y="6"/>
                      <a:pt x="15" y="3"/>
                    </a:cubicBezTo>
                    <a:cubicBezTo>
                      <a:pt x="14" y="0"/>
                      <a:pt x="21" y="25"/>
                      <a:pt x="18" y="34"/>
                    </a:cubicBezTo>
                    <a:cubicBezTo>
                      <a:pt x="18" y="34"/>
                      <a:pt x="14" y="47"/>
                      <a:pt x="19" y="54"/>
                    </a:cubicBezTo>
                    <a:cubicBezTo>
                      <a:pt x="24" y="61"/>
                      <a:pt x="38" y="68"/>
                      <a:pt x="33" y="77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112">
                <a:extLst>
                  <a:ext uri="{FF2B5EF4-FFF2-40B4-BE49-F238E27FC236}">
                    <a16:creationId xmlns:a16="http://schemas.microsoft.com/office/drawing/2014/main" id="{7B27E311-6EB1-40D5-9CA0-377F40E11B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8151" y="2838451"/>
                <a:ext cx="349250" cy="630238"/>
              </a:xfrm>
              <a:custGeom>
                <a:avLst/>
                <a:gdLst>
                  <a:gd name="T0" fmla="*/ 0 w 93"/>
                  <a:gd name="T1" fmla="*/ 168 h 168"/>
                  <a:gd name="T2" fmla="*/ 18 w 93"/>
                  <a:gd name="T3" fmla="*/ 117 h 168"/>
                  <a:gd name="T4" fmla="*/ 77 w 93"/>
                  <a:gd name="T5" fmla="*/ 53 h 168"/>
                  <a:gd name="T6" fmla="*/ 92 w 93"/>
                  <a:gd name="T7" fmla="*/ 0 h 168"/>
                  <a:gd name="T8" fmla="*/ 92 w 93"/>
                  <a:gd name="T9" fmla="*/ 40 h 168"/>
                  <a:gd name="T10" fmla="*/ 93 w 93"/>
                  <a:gd name="T11" fmla="*/ 61 h 168"/>
                  <a:gd name="T12" fmla="*/ 79 w 93"/>
                  <a:gd name="T13" fmla="*/ 67 h 168"/>
                  <a:gd name="T14" fmla="*/ 32 w 93"/>
                  <a:gd name="T15" fmla="*/ 111 h 168"/>
                  <a:gd name="T16" fmla="*/ 0 w 93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168">
                    <a:moveTo>
                      <a:pt x="0" y="168"/>
                    </a:moveTo>
                    <a:cubicBezTo>
                      <a:pt x="0" y="168"/>
                      <a:pt x="8" y="128"/>
                      <a:pt x="18" y="117"/>
                    </a:cubicBezTo>
                    <a:cubicBezTo>
                      <a:pt x="28" y="106"/>
                      <a:pt x="70" y="67"/>
                      <a:pt x="77" y="53"/>
                    </a:cubicBezTo>
                    <a:cubicBezTo>
                      <a:pt x="84" y="39"/>
                      <a:pt x="76" y="7"/>
                      <a:pt x="92" y="0"/>
                    </a:cubicBezTo>
                    <a:cubicBezTo>
                      <a:pt x="92" y="0"/>
                      <a:pt x="93" y="37"/>
                      <a:pt x="92" y="40"/>
                    </a:cubicBezTo>
                    <a:cubicBezTo>
                      <a:pt x="92" y="43"/>
                      <a:pt x="93" y="61"/>
                      <a:pt x="93" y="61"/>
                    </a:cubicBezTo>
                    <a:cubicBezTo>
                      <a:pt x="93" y="61"/>
                      <a:pt x="91" y="56"/>
                      <a:pt x="79" y="67"/>
                    </a:cubicBezTo>
                    <a:cubicBezTo>
                      <a:pt x="67" y="78"/>
                      <a:pt x="41" y="101"/>
                      <a:pt x="32" y="111"/>
                    </a:cubicBezTo>
                    <a:cubicBezTo>
                      <a:pt x="23" y="121"/>
                      <a:pt x="8" y="155"/>
                      <a:pt x="0" y="168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113">
                <a:extLst>
                  <a:ext uri="{FF2B5EF4-FFF2-40B4-BE49-F238E27FC236}">
                    <a16:creationId xmlns:a16="http://schemas.microsoft.com/office/drawing/2014/main" id="{FE2FEADE-5976-4572-BE83-7E7BC7CCDD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04261" y="4240213"/>
                <a:ext cx="319088" cy="998538"/>
              </a:xfrm>
              <a:custGeom>
                <a:avLst/>
                <a:gdLst>
                  <a:gd name="T0" fmla="*/ 56 w 85"/>
                  <a:gd name="T1" fmla="*/ 13 h 266"/>
                  <a:gd name="T2" fmla="*/ 83 w 85"/>
                  <a:gd name="T3" fmla="*/ 120 h 266"/>
                  <a:gd name="T4" fmla="*/ 73 w 85"/>
                  <a:gd name="T5" fmla="*/ 136 h 266"/>
                  <a:gd name="T6" fmla="*/ 68 w 85"/>
                  <a:gd name="T7" fmla="*/ 266 h 266"/>
                  <a:gd name="T8" fmla="*/ 36 w 85"/>
                  <a:gd name="T9" fmla="*/ 218 h 266"/>
                  <a:gd name="T10" fmla="*/ 60 w 85"/>
                  <a:gd name="T11" fmla="*/ 174 h 266"/>
                  <a:gd name="T12" fmla="*/ 0 w 85"/>
                  <a:gd name="T13" fmla="*/ 137 h 266"/>
                  <a:gd name="T14" fmla="*/ 33 w 85"/>
                  <a:gd name="T15" fmla="*/ 20 h 266"/>
                  <a:gd name="T16" fmla="*/ 56 w 85"/>
                  <a:gd name="T17" fmla="*/ 1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266">
                    <a:moveTo>
                      <a:pt x="56" y="13"/>
                    </a:moveTo>
                    <a:cubicBezTo>
                      <a:pt x="56" y="13"/>
                      <a:pt x="81" y="113"/>
                      <a:pt x="83" y="120"/>
                    </a:cubicBezTo>
                    <a:cubicBezTo>
                      <a:pt x="85" y="127"/>
                      <a:pt x="77" y="125"/>
                      <a:pt x="73" y="136"/>
                    </a:cubicBezTo>
                    <a:cubicBezTo>
                      <a:pt x="69" y="147"/>
                      <a:pt x="66" y="251"/>
                      <a:pt x="68" y="266"/>
                    </a:cubicBezTo>
                    <a:cubicBezTo>
                      <a:pt x="36" y="218"/>
                      <a:pt x="36" y="218"/>
                      <a:pt x="36" y="218"/>
                    </a:cubicBezTo>
                    <a:cubicBezTo>
                      <a:pt x="36" y="218"/>
                      <a:pt x="62" y="177"/>
                      <a:pt x="60" y="174"/>
                    </a:cubicBezTo>
                    <a:cubicBezTo>
                      <a:pt x="58" y="171"/>
                      <a:pt x="57" y="160"/>
                      <a:pt x="0" y="137"/>
                    </a:cubicBezTo>
                    <a:cubicBezTo>
                      <a:pt x="0" y="137"/>
                      <a:pt x="39" y="60"/>
                      <a:pt x="33" y="20"/>
                    </a:cubicBezTo>
                    <a:cubicBezTo>
                      <a:pt x="33" y="20"/>
                      <a:pt x="40" y="0"/>
                      <a:pt x="56" y="13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114">
                <a:extLst>
                  <a:ext uri="{FF2B5EF4-FFF2-40B4-BE49-F238E27FC236}">
                    <a16:creationId xmlns:a16="http://schemas.microsoft.com/office/drawing/2014/main" id="{CA6AC655-4CB9-4004-A9E2-A702340004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87801" y="4803776"/>
                <a:ext cx="257175" cy="809625"/>
              </a:xfrm>
              <a:custGeom>
                <a:avLst/>
                <a:gdLst>
                  <a:gd name="T0" fmla="*/ 69 w 69"/>
                  <a:gd name="T1" fmla="*/ 216 h 216"/>
                  <a:gd name="T2" fmla="*/ 50 w 69"/>
                  <a:gd name="T3" fmla="*/ 123 h 216"/>
                  <a:gd name="T4" fmla="*/ 12 w 69"/>
                  <a:gd name="T5" fmla="*/ 47 h 216"/>
                  <a:gd name="T6" fmla="*/ 35 w 69"/>
                  <a:gd name="T7" fmla="*/ 126 h 216"/>
                  <a:gd name="T8" fmla="*/ 69 w 69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216">
                    <a:moveTo>
                      <a:pt x="69" y="216"/>
                    </a:moveTo>
                    <a:cubicBezTo>
                      <a:pt x="69" y="216"/>
                      <a:pt x="58" y="144"/>
                      <a:pt x="50" y="123"/>
                    </a:cubicBezTo>
                    <a:cubicBezTo>
                      <a:pt x="42" y="102"/>
                      <a:pt x="24" y="94"/>
                      <a:pt x="12" y="47"/>
                    </a:cubicBezTo>
                    <a:cubicBezTo>
                      <a:pt x="0" y="0"/>
                      <a:pt x="13" y="75"/>
                      <a:pt x="35" y="126"/>
                    </a:cubicBezTo>
                    <a:cubicBezTo>
                      <a:pt x="57" y="177"/>
                      <a:pt x="44" y="181"/>
                      <a:pt x="69" y="216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115">
                <a:extLst>
                  <a:ext uri="{FF2B5EF4-FFF2-40B4-BE49-F238E27FC236}">
                    <a16:creationId xmlns:a16="http://schemas.microsoft.com/office/drawing/2014/main" id="{27FCB995-A39E-4331-858B-E3DFB1527E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0001" y="3843338"/>
                <a:ext cx="1458913" cy="630238"/>
              </a:xfrm>
              <a:custGeom>
                <a:avLst/>
                <a:gdLst>
                  <a:gd name="T0" fmla="*/ 0 w 389"/>
                  <a:gd name="T1" fmla="*/ 85 h 168"/>
                  <a:gd name="T2" fmla="*/ 105 w 389"/>
                  <a:gd name="T3" fmla="*/ 137 h 168"/>
                  <a:gd name="T4" fmla="*/ 286 w 389"/>
                  <a:gd name="T5" fmla="*/ 99 h 168"/>
                  <a:gd name="T6" fmla="*/ 389 w 389"/>
                  <a:gd name="T7" fmla="*/ 0 h 168"/>
                  <a:gd name="T8" fmla="*/ 326 w 389"/>
                  <a:gd name="T9" fmla="*/ 89 h 168"/>
                  <a:gd name="T10" fmla="*/ 145 w 389"/>
                  <a:gd name="T11" fmla="*/ 163 h 168"/>
                  <a:gd name="T12" fmla="*/ 0 w 389"/>
                  <a:gd name="T13" fmla="*/ 8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168">
                    <a:moveTo>
                      <a:pt x="0" y="85"/>
                    </a:moveTo>
                    <a:cubicBezTo>
                      <a:pt x="0" y="85"/>
                      <a:pt x="47" y="134"/>
                      <a:pt x="105" y="137"/>
                    </a:cubicBezTo>
                    <a:cubicBezTo>
                      <a:pt x="163" y="140"/>
                      <a:pt x="229" y="139"/>
                      <a:pt x="286" y="99"/>
                    </a:cubicBezTo>
                    <a:cubicBezTo>
                      <a:pt x="343" y="59"/>
                      <a:pt x="389" y="0"/>
                      <a:pt x="389" y="0"/>
                    </a:cubicBezTo>
                    <a:cubicBezTo>
                      <a:pt x="389" y="0"/>
                      <a:pt x="339" y="81"/>
                      <a:pt x="326" y="89"/>
                    </a:cubicBezTo>
                    <a:cubicBezTo>
                      <a:pt x="326" y="89"/>
                      <a:pt x="264" y="168"/>
                      <a:pt x="145" y="163"/>
                    </a:cubicBezTo>
                    <a:cubicBezTo>
                      <a:pt x="145" y="163"/>
                      <a:pt x="49" y="167"/>
                      <a:pt x="0" y="8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116">
                <a:extLst>
                  <a:ext uri="{FF2B5EF4-FFF2-40B4-BE49-F238E27FC236}">
                    <a16:creationId xmlns:a16="http://schemas.microsoft.com/office/drawing/2014/main" id="{5937A2B5-5AC5-4040-B433-F82CCFD2AA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27638" y="4338638"/>
                <a:ext cx="139700" cy="509588"/>
              </a:xfrm>
              <a:custGeom>
                <a:avLst/>
                <a:gdLst>
                  <a:gd name="T0" fmla="*/ 24 w 37"/>
                  <a:gd name="T1" fmla="*/ 18 h 136"/>
                  <a:gd name="T2" fmla="*/ 17 w 37"/>
                  <a:gd name="T3" fmla="*/ 67 h 136"/>
                  <a:gd name="T4" fmla="*/ 4 w 37"/>
                  <a:gd name="T5" fmla="*/ 114 h 136"/>
                  <a:gd name="T6" fmla="*/ 0 w 37"/>
                  <a:gd name="T7" fmla="*/ 136 h 136"/>
                  <a:gd name="T8" fmla="*/ 26 w 37"/>
                  <a:gd name="T9" fmla="*/ 119 h 136"/>
                  <a:gd name="T10" fmla="*/ 27 w 37"/>
                  <a:gd name="T11" fmla="*/ 77 h 136"/>
                  <a:gd name="T12" fmla="*/ 34 w 37"/>
                  <a:gd name="T13" fmla="*/ 0 h 136"/>
                  <a:gd name="T14" fmla="*/ 24 w 37"/>
                  <a:gd name="T15" fmla="*/ 1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136">
                    <a:moveTo>
                      <a:pt x="24" y="18"/>
                    </a:moveTo>
                    <a:cubicBezTo>
                      <a:pt x="24" y="18"/>
                      <a:pt x="19" y="55"/>
                      <a:pt x="17" y="67"/>
                    </a:cubicBezTo>
                    <a:cubicBezTo>
                      <a:pt x="15" y="79"/>
                      <a:pt x="4" y="100"/>
                      <a:pt x="4" y="114"/>
                    </a:cubicBezTo>
                    <a:cubicBezTo>
                      <a:pt x="4" y="128"/>
                      <a:pt x="0" y="136"/>
                      <a:pt x="0" y="136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6" y="119"/>
                      <a:pt x="22" y="89"/>
                      <a:pt x="27" y="77"/>
                    </a:cubicBezTo>
                    <a:cubicBezTo>
                      <a:pt x="27" y="77"/>
                      <a:pt x="37" y="7"/>
                      <a:pt x="34" y="0"/>
                    </a:cubicBezTo>
                    <a:lnTo>
                      <a:pt x="24" y="18"/>
                    </a:ln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117">
                <a:extLst>
                  <a:ext uri="{FF2B5EF4-FFF2-40B4-BE49-F238E27FC236}">
                    <a16:creationId xmlns:a16="http://schemas.microsoft.com/office/drawing/2014/main" id="{ECB6137B-C004-43BE-BB61-CA45496F4A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46688" y="3840163"/>
                <a:ext cx="131763" cy="438150"/>
              </a:xfrm>
              <a:custGeom>
                <a:avLst/>
                <a:gdLst>
                  <a:gd name="T0" fmla="*/ 19 w 35"/>
                  <a:gd name="T1" fmla="*/ 0 h 117"/>
                  <a:gd name="T2" fmla="*/ 15 w 35"/>
                  <a:gd name="T3" fmla="*/ 60 h 117"/>
                  <a:gd name="T4" fmla="*/ 0 w 35"/>
                  <a:gd name="T5" fmla="*/ 107 h 117"/>
                  <a:gd name="T6" fmla="*/ 25 w 35"/>
                  <a:gd name="T7" fmla="*/ 53 h 117"/>
                  <a:gd name="T8" fmla="*/ 20 w 35"/>
                  <a:gd name="T9" fmla="*/ 117 h 117"/>
                  <a:gd name="T10" fmla="*/ 31 w 35"/>
                  <a:gd name="T11" fmla="*/ 104 h 117"/>
                  <a:gd name="T12" fmla="*/ 35 w 35"/>
                  <a:gd name="T13" fmla="*/ 43 h 117"/>
                  <a:gd name="T14" fmla="*/ 19 w 35"/>
                  <a:gd name="T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17">
                    <a:moveTo>
                      <a:pt x="19" y="0"/>
                    </a:moveTo>
                    <a:cubicBezTo>
                      <a:pt x="19" y="0"/>
                      <a:pt x="21" y="31"/>
                      <a:pt x="15" y="60"/>
                    </a:cubicBezTo>
                    <a:cubicBezTo>
                      <a:pt x="9" y="89"/>
                      <a:pt x="0" y="107"/>
                      <a:pt x="0" y="107"/>
                    </a:cubicBezTo>
                    <a:cubicBezTo>
                      <a:pt x="0" y="107"/>
                      <a:pt x="26" y="60"/>
                      <a:pt x="25" y="53"/>
                    </a:cubicBezTo>
                    <a:cubicBezTo>
                      <a:pt x="24" y="46"/>
                      <a:pt x="20" y="117"/>
                      <a:pt x="20" y="117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5" y="43"/>
                      <a:pt x="18" y="34"/>
                      <a:pt x="19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118">
                <a:extLst>
                  <a:ext uri="{FF2B5EF4-FFF2-40B4-BE49-F238E27FC236}">
                    <a16:creationId xmlns:a16="http://schemas.microsoft.com/office/drawing/2014/main" id="{B9EE00F5-F846-48AF-8D7C-4D418CD6BD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14988" y="2282826"/>
                <a:ext cx="134938" cy="131763"/>
              </a:xfrm>
              <a:custGeom>
                <a:avLst/>
                <a:gdLst>
                  <a:gd name="T0" fmla="*/ 0 w 36"/>
                  <a:gd name="T1" fmla="*/ 25 h 35"/>
                  <a:gd name="T2" fmla="*/ 21 w 36"/>
                  <a:gd name="T3" fmla="*/ 4 h 35"/>
                  <a:gd name="T4" fmla="*/ 35 w 36"/>
                  <a:gd name="T5" fmla="*/ 29 h 35"/>
                  <a:gd name="T6" fmla="*/ 0 w 36"/>
                  <a:gd name="T7" fmla="*/ 2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5">
                    <a:moveTo>
                      <a:pt x="0" y="25"/>
                    </a:moveTo>
                    <a:cubicBezTo>
                      <a:pt x="0" y="25"/>
                      <a:pt x="14" y="0"/>
                      <a:pt x="21" y="4"/>
                    </a:cubicBezTo>
                    <a:cubicBezTo>
                      <a:pt x="28" y="8"/>
                      <a:pt x="35" y="23"/>
                      <a:pt x="35" y="29"/>
                    </a:cubicBezTo>
                    <a:cubicBezTo>
                      <a:pt x="35" y="35"/>
                      <a:pt x="36" y="20"/>
                      <a:pt x="0" y="2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119">
                <a:extLst>
                  <a:ext uri="{FF2B5EF4-FFF2-40B4-BE49-F238E27FC236}">
                    <a16:creationId xmlns:a16="http://schemas.microsoft.com/office/drawing/2014/main" id="{AF7C1968-9422-4AFE-93B5-582B3A9691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75176" y="3884613"/>
                <a:ext cx="360363" cy="214313"/>
              </a:xfrm>
              <a:custGeom>
                <a:avLst/>
                <a:gdLst>
                  <a:gd name="T0" fmla="*/ 8 w 96"/>
                  <a:gd name="T1" fmla="*/ 0 h 57"/>
                  <a:gd name="T2" fmla="*/ 27 w 96"/>
                  <a:gd name="T3" fmla="*/ 46 h 57"/>
                  <a:gd name="T4" fmla="*/ 86 w 96"/>
                  <a:gd name="T5" fmla="*/ 24 h 57"/>
                  <a:gd name="T6" fmla="*/ 96 w 96"/>
                  <a:gd name="T7" fmla="*/ 7 h 57"/>
                  <a:gd name="T8" fmla="*/ 51 w 96"/>
                  <a:gd name="T9" fmla="*/ 34 h 57"/>
                  <a:gd name="T10" fmla="*/ 8 w 96"/>
                  <a:gd name="T1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57">
                    <a:moveTo>
                      <a:pt x="8" y="0"/>
                    </a:moveTo>
                    <a:cubicBezTo>
                      <a:pt x="8" y="0"/>
                      <a:pt x="0" y="35"/>
                      <a:pt x="27" y="46"/>
                    </a:cubicBezTo>
                    <a:cubicBezTo>
                      <a:pt x="54" y="57"/>
                      <a:pt x="81" y="37"/>
                      <a:pt x="86" y="24"/>
                    </a:cubicBezTo>
                    <a:cubicBezTo>
                      <a:pt x="91" y="11"/>
                      <a:pt x="96" y="7"/>
                      <a:pt x="96" y="7"/>
                    </a:cubicBezTo>
                    <a:cubicBezTo>
                      <a:pt x="96" y="7"/>
                      <a:pt x="70" y="34"/>
                      <a:pt x="51" y="34"/>
                    </a:cubicBezTo>
                    <a:cubicBezTo>
                      <a:pt x="32" y="34"/>
                      <a:pt x="10" y="8"/>
                      <a:pt x="8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120">
                <a:extLst>
                  <a:ext uri="{FF2B5EF4-FFF2-40B4-BE49-F238E27FC236}">
                    <a16:creationId xmlns:a16="http://schemas.microsoft.com/office/drawing/2014/main" id="{C7BA16B4-6E06-470C-B5CC-5994B25F55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10151" y="3551238"/>
                <a:ext cx="311150" cy="258763"/>
              </a:xfrm>
              <a:custGeom>
                <a:avLst/>
                <a:gdLst>
                  <a:gd name="T0" fmla="*/ 1 w 83"/>
                  <a:gd name="T1" fmla="*/ 69 h 69"/>
                  <a:gd name="T2" fmla="*/ 35 w 83"/>
                  <a:gd name="T3" fmla="*/ 47 h 69"/>
                  <a:gd name="T4" fmla="*/ 83 w 83"/>
                  <a:gd name="T5" fmla="*/ 0 h 69"/>
                  <a:gd name="T6" fmla="*/ 0 w 83"/>
                  <a:gd name="T7" fmla="*/ 55 h 69"/>
                  <a:gd name="T8" fmla="*/ 1 w 83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69">
                    <a:moveTo>
                      <a:pt x="1" y="69"/>
                    </a:moveTo>
                    <a:cubicBezTo>
                      <a:pt x="1" y="69"/>
                      <a:pt x="22" y="58"/>
                      <a:pt x="35" y="47"/>
                    </a:cubicBezTo>
                    <a:cubicBezTo>
                      <a:pt x="48" y="36"/>
                      <a:pt x="81" y="13"/>
                      <a:pt x="83" y="0"/>
                    </a:cubicBezTo>
                    <a:cubicBezTo>
                      <a:pt x="0" y="55"/>
                      <a:pt x="0" y="55"/>
                      <a:pt x="0" y="55"/>
                    </a:cubicBezTo>
                    <a:lnTo>
                      <a:pt x="1" y="69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121">
                <a:extLst>
                  <a:ext uri="{FF2B5EF4-FFF2-40B4-BE49-F238E27FC236}">
                    <a16:creationId xmlns:a16="http://schemas.microsoft.com/office/drawing/2014/main" id="{A1FB5150-DA2D-4893-BC15-B8EC9F6E3B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51501" y="2805113"/>
                <a:ext cx="206375" cy="288925"/>
              </a:xfrm>
              <a:custGeom>
                <a:avLst/>
                <a:gdLst>
                  <a:gd name="T0" fmla="*/ 8 w 55"/>
                  <a:gd name="T1" fmla="*/ 65 h 77"/>
                  <a:gd name="T2" fmla="*/ 47 w 55"/>
                  <a:gd name="T3" fmla="*/ 16 h 77"/>
                  <a:gd name="T4" fmla="*/ 38 w 55"/>
                  <a:gd name="T5" fmla="*/ 44 h 77"/>
                  <a:gd name="T6" fmla="*/ 9 w 55"/>
                  <a:gd name="T7" fmla="*/ 77 h 77"/>
                  <a:gd name="T8" fmla="*/ 6 w 55"/>
                  <a:gd name="T9" fmla="*/ 70 h 77"/>
                  <a:gd name="T10" fmla="*/ 8 w 55"/>
                  <a:gd name="T11" fmla="*/ 6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77">
                    <a:moveTo>
                      <a:pt x="8" y="65"/>
                    </a:moveTo>
                    <a:cubicBezTo>
                      <a:pt x="8" y="65"/>
                      <a:pt x="39" y="32"/>
                      <a:pt x="47" y="16"/>
                    </a:cubicBezTo>
                    <a:cubicBezTo>
                      <a:pt x="55" y="0"/>
                      <a:pt x="53" y="30"/>
                      <a:pt x="38" y="44"/>
                    </a:cubicBezTo>
                    <a:cubicBezTo>
                      <a:pt x="23" y="58"/>
                      <a:pt x="9" y="77"/>
                      <a:pt x="9" y="77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6" y="70"/>
                      <a:pt x="0" y="68"/>
                      <a:pt x="8" y="6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122">
                <a:extLst>
                  <a:ext uri="{FF2B5EF4-FFF2-40B4-BE49-F238E27FC236}">
                    <a16:creationId xmlns:a16="http://schemas.microsoft.com/office/drawing/2014/main" id="{C9B1AFCE-D379-4365-852D-E702094663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36395" y="2618582"/>
                <a:ext cx="206375" cy="633413"/>
              </a:xfrm>
              <a:custGeom>
                <a:avLst/>
                <a:gdLst>
                  <a:gd name="T0" fmla="*/ 19 w 55"/>
                  <a:gd name="T1" fmla="*/ 8 h 169"/>
                  <a:gd name="T2" fmla="*/ 17 w 55"/>
                  <a:gd name="T3" fmla="*/ 61 h 169"/>
                  <a:gd name="T4" fmla="*/ 18 w 55"/>
                  <a:gd name="T5" fmla="*/ 124 h 169"/>
                  <a:gd name="T6" fmla="*/ 49 w 55"/>
                  <a:gd name="T7" fmla="*/ 138 h 169"/>
                  <a:gd name="T8" fmla="*/ 42 w 55"/>
                  <a:gd name="T9" fmla="*/ 156 h 169"/>
                  <a:gd name="T10" fmla="*/ 0 w 55"/>
                  <a:gd name="T11" fmla="*/ 131 h 169"/>
                  <a:gd name="T12" fmla="*/ 10 w 55"/>
                  <a:gd name="T13" fmla="*/ 12 h 169"/>
                  <a:gd name="T14" fmla="*/ 19 w 55"/>
                  <a:gd name="T15" fmla="*/ 8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169">
                    <a:moveTo>
                      <a:pt x="19" y="8"/>
                    </a:moveTo>
                    <a:cubicBezTo>
                      <a:pt x="19" y="8"/>
                      <a:pt x="22" y="37"/>
                      <a:pt x="17" y="61"/>
                    </a:cubicBezTo>
                    <a:cubicBezTo>
                      <a:pt x="12" y="85"/>
                      <a:pt x="7" y="113"/>
                      <a:pt x="18" y="124"/>
                    </a:cubicBezTo>
                    <a:cubicBezTo>
                      <a:pt x="29" y="135"/>
                      <a:pt x="43" y="143"/>
                      <a:pt x="49" y="138"/>
                    </a:cubicBezTo>
                    <a:cubicBezTo>
                      <a:pt x="55" y="133"/>
                      <a:pt x="38" y="150"/>
                      <a:pt x="42" y="156"/>
                    </a:cubicBezTo>
                    <a:cubicBezTo>
                      <a:pt x="42" y="156"/>
                      <a:pt x="20" y="169"/>
                      <a:pt x="0" y="131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18" y="0"/>
                      <a:pt x="19" y="8"/>
                    </a:cubicBez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123">
                <a:extLst>
                  <a:ext uri="{FF2B5EF4-FFF2-40B4-BE49-F238E27FC236}">
                    <a16:creationId xmlns:a16="http://schemas.microsoft.com/office/drawing/2014/main" id="{B791688D-9D6A-41F9-BD86-8E4B11D921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8926" y="760413"/>
                <a:ext cx="1189038" cy="641350"/>
              </a:xfrm>
              <a:custGeom>
                <a:avLst/>
                <a:gdLst>
                  <a:gd name="T0" fmla="*/ 268 w 317"/>
                  <a:gd name="T1" fmla="*/ 165 h 171"/>
                  <a:gd name="T2" fmla="*/ 297 w 317"/>
                  <a:gd name="T3" fmla="*/ 160 h 171"/>
                  <a:gd name="T4" fmla="*/ 261 w 317"/>
                  <a:gd name="T5" fmla="*/ 131 h 171"/>
                  <a:gd name="T6" fmla="*/ 287 w 317"/>
                  <a:gd name="T7" fmla="*/ 123 h 171"/>
                  <a:gd name="T8" fmla="*/ 269 w 317"/>
                  <a:gd name="T9" fmla="*/ 108 h 171"/>
                  <a:gd name="T10" fmla="*/ 249 w 317"/>
                  <a:gd name="T11" fmla="*/ 69 h 171"/>
                  <a:gd name="T12" fmla="*/ 215 w 317"/>
                  <a:gd name="T13" fmla="*/ 38 h 171"/>
                  <a:gd name="T14" fmla="*/ 134 w 317"/>
                  <a:gd name="T15" fmla="*/ 0 h 171"/>
                  <a:gd name="T16" fmla="*/ 154 w 317"/>
                  <a:gd name="T17" fmla="*/ 28 h 171"/>
                  <a:gd name="T18" fmla="*/ 73 w 317"/>
                  <a:gd name="T19" fmla="*/ 28 h 171"/>
                  <a:gd name="T20" fmla="*/ 37 w 317"/>
                  <a:gd name="T21" fmla="*/ 53 h 171"/>
                  <a:gd name="T22" fmla="*/ 92 w 317"/>
                  <a:gd name="T23" fmla="*/ 36 h 171"/>
                  <a:gd name="T24" fmla="*/ 30 w 317"/>
                  <a:gd name="T25" fmla="*/ 68 h 171"/>
                  <a:gd name="T26" fmla="*/ 102 w 317"/>
                  <a:gd name="T27" fmla="*/ 67 h 171"/>
                  <a:gd name="T28" fmla="*/ 21 w 317"/>
                  <a:gd name="T29" fmla="*/ 101 h 171"/>
                  <a:gd name="T30" fmla="*/ 106 w 317"/>
                  <a:gd name="T31" fmla="*/ 105 h 171"/>
                  <a:gd name="T32" fmla="*/ 186 w 317"/>
                  <a:gd name="T33" fmla="*/ 132 h 171"/>
                  <a:gd name="T34" fmla="*/ 268 w 317"/>
                  <a:gd name="T35" fmla="*/ 165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7" h="171">
                    <a:moveTo>
                      <a:pt x="268" y="165"/>
                    </a:moveTo>
                    <a:cubicBezTo>
                      <a:pt x="268" y="165"/>
                      <a:pt x="317" y="171"/>
                      <a:pt x="297" y="160"/>
                    </a:cubicBezTo>
                    <a:cubicBezTo>
                      <a:pt x="277" y="149"/>
                      <a:pt x="267" y="133"/>
                      <a:pt x="261" y="131"/>
                    </a:cubicBezTo>
                    <a:cubicBezTo>
                      <a:pt x="255" y="129"/>
                      <a:pt x="277" y="121"/>
                      <a:pt x="287" y="123"/>
                    </a:cubicBezTo>
                    <a:cubicBezTo>
                      <a:pt x="287" y="123"/>
                      <a:pt x="297" y="121"/>
                      <a:pt x="269" y="108"/>
                    </a:cubicBezTo>
                    <a:cubicBezTo>
                      <a:pt x="241" y="95"/>
                      <a:pt x="252" y="78"/>
                      <a:pt x="249" y="69"/>
                    </a:cubicBezTo>
                    <a:cubicBezTo>
                      <a:pt x="246" y="60"/>
                      <a:pt x="236" y="58"/>
                      <a:pt x="215" y="38"/>
                    </a:cubicBezTo>
                    <a:cubicBezTo>
                      <a:pt x="194" y="18"/>
                      <a:pt x="148" y="0"/>
                      <a:pt x="134" y="0"/>
                    </a:cubicBezTo>
                    <a:cubicBezTo>
                      <a:pt x="120" y="0"/>
                      <a:pt x="145" y="14"/>
                      <a:pt x="154" y="28"/>
                    </a:cubicBezTo>
                    <a:cubicBezTo>
                      <a:pt x="163" y="42"/>
                      <a:pt x="110" y="19"/>
                      <a:pt x="73" y="28"/>
                    </a:cubicBezTo>
                    <a:cubicBezTo>
                      <a:pt x="36" y="37"/>
                      <a:pt x="37" y="53"/>
                      <a:pt x="37" y="53"/>
                    </a:cubicBezTo>
                    <a:cubicBezTo>
                      <a:pt x="37" y="53"/>
                      <a:pt x="60" y="27"/>
                      <a:pt x="92" y="36"/>
                    </a:cubicBezTo>
                    <a:cubicBezTo>
                      <a:pt x="124" y="45"/>
                      <a:pt x="60" y="40"/>
                      <a:pt x="30" y="68"/>
                    </a:cubicBezTo>
                    <a:cubicBezTo>
                      <a:pt x="0" y="96"/>
                      <a:pt x="52" y="53"/>
                      <a:pt x="102" y="67"/>
                    </a:cubicBezTo>
                    <a:cubicBezTo>
                      <a:pt x="102" y="67"/>
                      <a:pt x="32" y="89"/>
                      <a:pt x="21" y="101"/>
                    </a:cubicBezTo>
                    <a:cubicBezTo>
                      <a:pt x="10" y="113"/>
                      <a:pt x="78" y="102"/>
                      <a:pt x="106" y="105"/>
                    </a:cubicBezTo>
                    <a:cubicBezTo>
                      <a:pt x="135" y="108"/>
                      <a:pt x="144" y="112"/>
                      <a:pt x="186" y="132"/>
                    </a:cubicBezTo>
                    <a:cubicBezTo>
                      <a:pt x="228" y="152"/>
                      <a:pt x="263" y="158"/>
                      <a:pt x="268" y="165"/>
                    </a:cubicBezTo>
                    <a:close/>
                  </a:path>
                </a:pathLst>
              </a:custGeom>
              <a:solidFill>
                <a:srgbClr val="998675">
                  <a:alpha val="20000"/>
                </a:srgb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124">
                <a:extLst>
                  <a:ext uri="{FF2B5EF4-FFF2-40B4-BE49-F238E27FC236}">
                    <a16:creationId xmlns:a16="http://schemas.microsoft.com/office/drawing/2014/main" id="{EE392078-EC49-4F83-A655-49C62A0EDF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313" y="4735513"/>
                <a:ext cx="117475" cy="461963"/>
              </a:xfrm>
              <a:custGeom>
                <a:avLst/>
                <a:gdLst>
                  <a:gd name="T0" fmla="*/ 12 w 31"/>
                  <a:gd name="T1" fmla="*/ 6 h 123"/>
                  <a:gd name="T2" fmla="*/ 14 w 31"/>
                  <a:gd name="T3" fmla="*/ 60 h 123"/>
                  <a:gd name="T4" fmla="*/ 2 w 31"/>
                  <a:gd name="T5" fmla="*/ 114 h 123"/>
                  <a:gd name="T6" fmla="*/ 20 w 31"/>
                  <a:gd name="T7" fmla="*/ 68 h 123"/>
                  <a:gd name="T8" fmla="*/ 28 w 31"/>
                  <a:gd name="T9" fmla="*/ 12 h 123"/>
                  <a:gd name="T10" fmla="*/ 17 w 31"/>
                  <a:gd name="T11" fmla="*/ 0 h 123"/>
                  <a:gd name="T12" fmla="*/ 12 w 31"/>
                  <a:gd name="T13" fmla="*/ 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23">
                    <a:moveTo>
                      <a:pt x="12" y="6"/>
                    </a:moveTo>
                    <a:cubicBezTo>
                      <a:pt x="12" y="6"/>
                      <a:pt x="22" y="44"/>
                      <a:pt x="14" y="60"/>
                    </a:cubicBezTo>
                    <a:cubicBezTo>
                      <a:pt x="6" y="76"/>
                      <a:pt x="0" y="105"/>
                      <a:pt x="2" y="114"/>
                    </a:cubicBezTo>
                    <a:cubicBezTo>
                      <a:pt x="4" y="123"/>
                      <a:pt x="10" y="91"/>
                      <a:pt x="20" y="68"/>
                    </a:cubicBezTo>
                    <a:cubicBezTo>
                      <a:pt x="30" y="45"/>
                      <a:pt x="31" y="22"/>
                      <a:pt x="28" y="12"/>
                    </a:cubicBezTo>
                    <a:cubicBezTo>
                      <a:pt x="25" y="2"/>
                      <a:pt x="17" y="0"/>
                      <a:pt x="17" y="0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25">
                <a:extLst>
                  <a:ext uri="{FF2B5EF4-FFF2-40B4-BE49-F238E27FC236}">
                    <a16:creationId xmlns:a16="http://schemas.microsoft.com/office/drawing/2014/main" id="{6BC57940-14FF-4C3A-81D3-6F3FEB2549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38401" y="4233863"/>
                <a:ext cx="341313" cy="273050"/>
              </a:xfrm>
              <a:custGeom>
                <a:avLst/>
                <a:gdLst>
                  <a:gd name="T0" fmla="*/ 0 w 91"/>
                  <a:gd name="T1" fmla="*/ 73 h 73"/>
                  <a:gd name="T2" fmla="*/ 40 w 91"/>
                  <a:gd name="T3" fmla="*/ 40 h 73"/>
                  <a:gd name="T4" fmla="*/ 74 w 91"/>
                  <a:gd name="T5" fmla="*/ 32 h 73"/>
                  <a:gd name="T6" fmla="*/ 91 w 91"/>
                  <a:gd name="T7" fmla="*/ 36 h 73"/>
                  <a:gd name="T8" fmla="*/ 86 w 91"/>
                  <a:gd name="T9" fmla="*/ 15 h 73"/>
                  <a:gd name="T10" fmla="*/ 39 w 91"/>
                  <a:gd name="T11" fmla="*/ 24 h 73"/>
                  <a:gd name="T12" fmla="*/ 0 w 91"/>
                  <a:gd name="T13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73">
                    <a:moveTo>
                      <a:pt x="0" y="73"/>
                    </a:moveTo>
                    <a:cubicBezTo>
                      <a:pt x="0" y="73"/>
                      <a:pt x="35" y="47"/>
                      <a:pt x="40" y="40"/>
                    </a:cubicBezTo>
                    <a:cubicBezTo>
                      <a:pt x="45" y="33"/>
                      <a:pt x="74" y="24"/>
                      <a:pt x="74" y="32"/>
                    </a:cubicBezTo>
                    <a:cubicBezTo>
                      <a:pt x="74" y="40"/>
                      <a:pt x="84" y="42"/>
                      <a:pt x="91" y="36"/>
                    </a:cubicBezTo>
                    <a:cubicBezTo>
                      <a:pt x="91" y="36"/>
                      <a:pt x="88" y="21"/>
                      <a:pt x="86" y="15"/>
                    </a:cubicBezTo>
                    <a:cubicBezTo>
                      <a:pt x="83" y="9"/>
                      <a:pt x="83" y="0"/>
                      <a:pt x="39" y="24"/>
                    </a:cubicBezTo>
                    <a:cubicBezTo>
                      <a:pt x="39" y="24"/>
                      <a:pt x="15" y="57"/>
                      <a:pt x="0" y="73"/>
                    </a:cubicBezTo>
                    <a:close/>
                  </a:path>
                </a:pathLst>
              </a:custGeom>
              <a:solidFill>
                <a:srgbClr val="C3D3D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126">
                <a:extLst>
                  <a:ext uri="{FF2B5EF4-FFF2-40B4-BE49-F238E27FC236}">
                    <a16:creationId xmlns:a16="http://schemas.microsoft.com/office/drawing/2014/main" id="{A387C66F-AA1D-40C9-8BD0-0EE7382F66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738" y="5156201"/>
                <a:ext cx="1938338" cy="377825"/>
              </a:xfrm>
              <a:custGeom>
                <a:avLst/>
                <a:gdLst>
                  <a:gd name="T0" fmla="*/ 0 w 517"/>
                  <a:gd name="T1" fmla="*/ 24 h 101"/>
                  <a:gd name="T2" fmla="*/ 475 w 517"/>
                  <a:gd name="T3" fmla="*/ 53 h 101"/>
                  <a:gd name="T4" fmla="*/ 504 w 517"/>
                  <a:gd name="T5" fmla="*/ 93 h 101"/>
                  <a:gd name="T6" fmla="*/ 478 w 517"/>
                  <a:gd name="T7" fmla="*/ 33 h 101"/>
                  <a:gd name="T8" fmla="*/ 0 w 517"/>
                  <a:gd name="T9" fmla="*/ 0 h 101"/>
                  <a:gd name="T10" fmla="*/ 0 w 517"/>
                  <a:gd name="T11" fmla="*/ 2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7" h="101">
                    <a:moveTo>
                      <a:pt x="0" y="24"/>
                    </a:moveTo>
                    <a:cubicBezTo>
                      <a:pt x="0" y="24"/>
                      <a:pt x="458" y="49"/>
                      <a:pt x="475" y="53"/>
                    </a:cubicBezTo>
                    <a:cubicBezTo>
                      <a:pt x="492" y="57"/>
                      <a:pt x="503" y="85"/>
                      <a:pt x="504" y="93"/>
                    </a:cubicBezTo>
                    <a:cubicBezTo>
                      <a:pt x="505" y="101"/>
                      <a:pt x="517" y="36"/>
                      <a:pt x="478" y="33"/>
                    </a:cubicBezTo>
                    <a:cubicBezTo>
                      <a:pt x="439" y="30"/>
                      <a:pt x="12" y="0"/>
                      <a:pt x="0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DDDDDD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127">
                <a:extLst>
                  <a:ext uri="{FF2B5EF4-FFF2-40B4-BE49-F238E27FC236}">
                    <a16:creationId xmlns:a16="http://schemas.microsoft.com/office/drawing/2014/main" id="{C8BF9A95-299C-4A04-B92B-8F092F0C36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514" y="5357812"/>
                <a:ext cx="138114" cy="852489"/>
              </a:xfrm>
              <a:custGeom>
                <a:avLst/>
                <a:gdLst>
                  <a:gd name="T0" fmla="*/ 37 w 37"/>
                  <a:gd name="T1" fmla="*/ 226 h 227"/>
                  <a:gd name="T2" fmla="*/ 9 w 37"/>
                  <a:gd name="T3" fmla="*/ 9 h 227"/>
                  <a:gd name="T4" fmla="*/ 0 w 37"/>
                  <a:gd name="T5" fmla="*/ 25 h 227"/>
                  <a:gd name="T6" fmla="*/ 28 w 37"/>
                  <a:gd name="T7" fmla="*/ 227 h 227"/>
                  <a:gd name="T8" fmla="*/ 37 w 37"/>
                  <a:gd name="T9" fmla="*/ 226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7">
                    <a:moveTo>
                      <a:pt x="37" y="226"/>
                    </a:moveTo>
                    <a:cubicBezTo>
                      <a:pt x="37" y="226"/>
                      <a:pt x="11" y="18"/>
                      <a:pt x="9" y="9"/>
                    </a:cubicBezTo>
                    <a:cubicBezTo>
                      <a:pt x="7" y="0"/>
                      <a:pt x="5" y="12"/>
                      <a:pt x="0" y="25"/>
                    </a:cubicBezTo>
                    <a:cubicBezTo>
                      <a:pt x="28" y="227"/>
                      <a:pt x="28" y="227"/>
                      <a:pt x="28" y="227"/>
                    </a:cubicBezTo>
                    <a:lnTo>
                      <a:pt x="37" y="226"/>
                    </a:ln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Freeform 126">
              <a:extLst>
                <a:ext uri="{FF2B5EF4-FFF2-40B4-BE49-F238E27FC236}">
                  <a16:creationId xmlns:a16="http://schemas.microsoft.com/office/drawing/2014/main" id="{44A7D9D0-C06A-421E-BF67-5F8EDE162DF4}"/>
                </a:ext>
              </a:extLst>
            </p:cNvPr>
            <p:cNvSpPr>
              <a:spLocks/>
            </p:cNvSpPr>
            <p:nvPr/>
          </p:nvSpPr>
          <p:spPr bwMode="gray">
            <a:xfrm rot="466888" flipH="1">
              <a:off x="4486688" y="3457474"/>
              <a:ext cx="734216" cy="131439"/>
            </a:xfrm>
            <a:custGeom>
              <a:avLst/>
              <a:gdLst>
                <a:gd name="T0" fmla="*/ 0 w 517"/>
                <a:gd name="T1" fmla="*/ 24 h 101"/>
                <a:gd name="T2" fmla="*/ 475 w 517"/>
                <a:gd name="T3" fmla="*/ 53 h 101"/>
                <a:gd name="T4" fmla="*/ 504 w 517"/>
                <a:gd name="T5" fmla="*/ 93 h 101"/>
                <a:gd name="T6" fmla="*/ 478 w 517"/>
                <a:gd name="T7" fmla="*/ 33 h 101"/>
                <a:gd name="T8" fmla="*/ 0 w 517"/>
                <a:gd name="T9" fmla="*/ 0 h 101"/>
                <a:gd name="T10" fmla="*/ 0 w 517"/>
                <a:gd name="T11" fmla="*/ 24 h 101"/>
                <a:gd name="connsiteX0" fmla="*/ 0 w 9794"/>
                <a:gd name="connsiteY0" fmla="*/ 2376 h 9246"/>
                <a:gd name="connsiteX1" fmla="*/ 9171 w 9794"/>
                <a:gd name="connsiteY1" fmla="*/ 5867 h 9246"/>
                <a:gd name="connsiteX2" fmla="*/ 9749 w 9794"/>
                <a:gd name="connsiteY2" fmla="*/ 9208 h 9246"/>
                <a:gd name="connsiteX3" fmla="*/ 9246 w 9794"/>
                <a:gd name="connsiteY3" fmla="*/ 3267 h 9246"/>
                <a:gd name="connsiteX4" fmla="*/ 0 w 9794"/>
                <a:gd name="connsiteY4" fmla="*/ 0 h 9246"/>
                <a:gd name="connsiteX5" fmla="*/ 0 w 9794"/>
                <a:gd name="connsiteY5" fmla="*/ 2376 h 9246"/>
                <a:gd name="connsiteX0" fmla="*/ 18 w 10018"/>
                <a:gd name="connsiteY0" fmla="*/ 1900 h 9330"/>
                <a:gd name="connsiteX1" fmla="*/ 9382 w 10018"/>
                <a:gd name="connsiteY1" fmla="*/ 5675 h 9330"/>
                <a:gd name="connsiteX2" fmla="*/ 9972 w 10018"/>
                <a:gd name="connsiteY2" fmla="*/ 9289 h 9330"/>
                <a:gd name="connsiteX3" fmla="*/ 9458 w 10018"/>
                <a:gd name="connsiteY3" fmla="*/ 2863 h 9330"/>
                <a:gd name="connsiteX4" fmla="*/ 0 w 10018"/>
                <a:gd name="connsiteY4" fmla="*/ 0 h 9330"/>
                <a:gd name="connsiteX5" fmla="*/ 18 w 10018"/>
                <a:gd name="connsiteY5" fmla="*/ 1900 h 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18" h="9330">
                  <a:moveTo>
                    <a:pt x="18" y="1900"/>
                  </a:moveTo>
                  <a:cubicBezTo>
                    <a:pt x="18" y="1900"/>
                    <a:pt x="9046" y="5246"/>
                    <a:pt x="9382" y="5675"/>
                  </a:cubicBezTo>
                  <a:cubicBezTo>
                    <a:pt x="9717" y="6104"/>
                    <a:pt x="9960" y="9757"/>
                    <a:pt x="9972" y="9289"/>
                  </a:cubicBezTo>
                  <a:cubicBezTo>
                    <a:pt x="9984" y="8821"/>
                    <a:pt x="10228" y="3185"/>
                    <a:pt x="9458" y="2863"/>
                  </a:cubicBezTo>
                  <a:cubicBezTo>
                    <a:pt x="8688" y="2542"/>
                    <a:pt x="237" y="0"/>
                    <a:pt x="0" y="0"/>
                  </a:cubicBezTo>
                  <a:cubicBezTo>
                    <a:pt x="6" y="633"/>
                    <a:pt x="12" y="1267"/>
                    <a:pt x="18" y="1900"/>
                  </a:cubicBezTo>
                  <a:close/>
                </a:path>
              </a:pathLst>
            </a:custGeom>
            <a:solidFill>
              <a:srgbClr val="DDDDDD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8" name="Textplatzhalter 174">
            <a:extLst>
              <a:ext uri="{FF2B5EF4-FFF2-40B4-BE49-F238E27FC236}">
                <a16:creationId xmlns:a16="http://schemas.microsoft.com/office/drawing/2014/main" id="{2332F609-3A95-457B-9E32-A0AF8E22AE89}"/>
              </a:ext>
            </a:extLst>
          </p:cNvPr>
          <p:cNvSpPr txBox="1">
            <a:spLocks/>
          </p:cNvSpPr>
          <p:nvPr/>
        </p:nvSpPr>
        <p:spPr bwMode="gray">
          <a:xfrm>
            <a:off x="160149" y="898444"/>
            <a:ext cx="2565334" cy="360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ASK 1</a:t>
            </a:r>
          </a:p>
        </p:txBody>
      </p:sp>
      <p:sp>
        <p:nvSpPr>
          <p:cNvPr id="130" name="Inhaltsplatzhalter 163">
            <a:extLst>
              <a:ext uri="{FF2B5EF4-FFF2-40B4-BE49-F238E27FC236}">
                <a16:creationId xmlns:a16="http://schemas.microsoft.com/office/drawing/2014/main" id="{0F13805F-3C80-4137-AA09-006E784B6C54}"/>
              </a:ext>
            </a:extLst>
          </p:cNvPr>
          <p:cNvSpPr txBox="1">
            <a:spLocks/>
          </p:cNvSpPr>
          <p:nvPr/>
        </p:nvSpPr>
        <p:spPr bwMode="gray">
          <a:xfrm>
            <a:off x="160149" y="12584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is text can be replaced with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your own text.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2" name="Textplatzhalter 6">
            <a:extLst>
              <a:ext uri="{FF2B5EF4-FFF2-40B4-BE49-F238E27FC236}">
                <a16:creationId xmlns:a16="http://schemas.microsoft.com/office/drawing/2014/main" id="{E2F40CFA-893A-4AB1-8A37-4AA392F88B43}"/>
              </a:ext>
            </a:extLst>
          </p:cNvPr>
          <p:cNvSpPr txBox="1">
            <a:spLocks/>
          </p:cNvSpPr>
          <p:nvPr/>
        </p:nvSpPr>
        <p:spPr bwMode="gray">
          <a:xfrm>
            <a:off x="5946815" y="898444"/>
            <a:ext cx="2565334" cy="360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2</a:t>
            </a:r>
            <a:endParaRPr lang="en-US" sz="1600" dirty="0"/>
          </a:p>
        </p:txBody>
      </p:sp>
      <p:sp>
        <p:nvSpPr>
          <p:cNvPr id="134" name="Inhaltsplatzhalter 5">
            <a:extLst>
              <a:ext uri="{FF2B5EF4-FFF2-40B4-BE49-F238E27FC236}">
                <a16:creationId xmlns:a16="http://schemas.microsoft.com/office/drawing/2014/main" id="{1F0CA54D-6690-49FB-B4DC-EA69993C1D7C}"/>
              </a:ext>
            </a:extLst>
          </p:cNvPr>
          <p:cNvSpPr txBox="1">
            <a:spLocks/>
          </p:cNvSpPr>
          <p:nvPr/>
        </p:nvSpPr>
        <p:spPr bwMode="gray">
          <a:xfrm>
            <a:off x="5946815" y="12584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6" name="Textplatzhalter 166">
            <a:extLst>
              <a:ext uri="{FF2B5EF4-FFF2-40B4-BE49-F238E27FC236}">
                <a16:creationId xmlns:a16="http://schemas.microsoft.com/office/drawing/2014/main" id="{245D2824-F95E-4088-AC16-DA0C4430772F}"/>
              </a:ext>
            </a:extLst>
          </p:cNvPr>
          <p:cNvSpPr txBox="1">
            <a:spLocks/>
          </p:cNvSpPr>
          <p:nvPr/>
        </p:nvSpPr>
        <p:spPr bwMode="gray">
          <a:xfrm>
            <a:off x="160149" y="3213244"/>
            <a:ext cx="2565334" cy="36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3</a:t>
            </a:r>
            <a:endParaRPr lang="en-US" sz="1600" dirty="0"/>
          </a:p>
        </p:txBody>
      </p:sp>
      <p:sp>
        <p:nvSpPr>
          <p:cNvPr id="138" name="Inhaltsplatzhalter 173">
            <a:extLst>
              <a:ext uri="{FF2B5EF4-FFF2-40B4-BE49-F238E27FC236}">
                <a16:creationId xmlns:a16="http://schemas.microsoft.com/office/drawing/2014/main" id="{88851B19-D5F6-4D00-9CE6-438EFEEA347D}"/>
              </a:ext>
            </a:extLst>
          </p:cNvPr>
          <p:cNvSpPr txBox="1">
            <a:spLocks/>
          </p:cNvSpPr>
          <p:nvPr/>
        </p:nvSpPr>
        <p:spPr bwMode="gray">
          <a:xfrm>
            <a:off x="160149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0" name="Textplatzhalter 172">
            <a:extLst>
              <a:ext uri="{FF2B5EF4-FFF2-40B4-BE49-F238E27FC236}">
                <a16:creationId xmlns:a16="http://schemas.microsoft.com/office/drawing/2014/main" id="{97315221-902F-4346-9562-45AE9BA9651A}"/>
              </a:ext>
            </a:extLst>
          </p:cNvPr>
          <p:cNvSpPr txBox="1">
            <a:spLocks/>
          </p:cNvSpPr>
          <p:nvPr/>
        </p:nvSpPr>
        <p:spPr bwMode="gray">
          <a:xfrm>
            <a:off x="3084709" y="3213244"/>
            <a:ext cx="2565334" cy="36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4</a:t>
            </a:r>
            <a:endParaRPr lang="en-US" sz="1600" dirty="0"/>
          </a:p>
        </p:txBody>
      </p:sp>
      <p:sp>
        <p:nvSpPr>
          <p:cNvPr id="142" name="Inhaltsplatzhalter 165">
            <a:extLst>
              <a:ext uri="{FF2B5EF4-FFF2-40B4-BE49-F238E27FC236}">
                <a16:creationId xmlns:a16="http://schemas.microsoft.com/office/drawing/2014/main" id="{F98959BE-A286-41A4-9567-F3C0AD9A9047}"/>
              </a:ext>
            </a:extLst>
          </p:cNvPr>
          <p:cNvSpPr txBox="1">
            <a:spLocks/>
          </p:cNvSpPr>
          <p:nvPr/>
        </p:nvSpPr>
        <p:spPr bwMode="gray">
          <a:xfrm>
            <a:off x="3084709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4" name="_h2">
            <a:extLst>
              <a:ext uri="{FF2B5EF4-FFF2-40B4-BE49-F238E27FC236}">
                <a16:creationId xmlns:a16="http://schemas.microsoft.com/office/drawing/2014/main" id="{51CA924B-A5DD-4A3D-BF1F-E92A2CF2863A}"/>
              </a:ext>
            </a:extLst>
          </p:cNvPr>
          <p:cNvSpPr txBox="1">
            <a:spLocks/>
          </p:cNvSpPr>
          <p:nvPr/>
        </p:nvSpPr>
        <p:spPr bwMode="gray">
          <a:xfrm>
            <a:off x="5978347" y="3213244"/>
            <a:ext cx="2565334" cy="36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5</a:t>
            </a:r>
            <a:endParaRPr lang="en-US" sz="1600" dirty="0"/>
          </a:p>
        </p:txBody>
      </p:sp>
      <p:sp>
        <p:nvSpPr>
          <p:cNvPr id="146" name="Inhaltsplatzhalter 1">
            <a:extLst>
              <a:ext uri="{FF2B5EF4-FFF2-40B4-BE49-F238E27FC236}">
                <a16:creationId xmlns:a16="http://schemas.microsoft.com/office/drawing/2014/main" id="{62897539-AD29-483D-B113-43D0FFACE5B6}"/>
              </a:ext>
            </a:extLst>
          </p:cNvPr>
          <p:cNvSpPr txBox="1">
            <a:spLocks/>
          </p:cNvSpPr>
          <p:nvPr/>
        </p:nvSpPr>
        <p:spPr bwMode="gray">
          <a:xfrm>
            <a:off x="5978347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</a:p>
          <a:p>
            <a:endParaRPr lang="en-US" sz="1600" dirty="0"/>
          </a:p>
        </p:txBody>
      </p:sp>
      <p:grpSp>
        <p:nvGrpSpPr>
          <p:cNvPr id="226" name="Gruppieren 197">
            <a:extLst>
              <a:ext uri="{FF2B5EF4-FFF2-40B4-BE49-F238E27FC236}">
                <a16:creationId xmlns:a16="http://schemas.microsoft.com/office/drawing/2014/main" id="{25AFEBFC-B129-4C3F-A183-FF47630638F4}"/>
              </a:ext>
            </a:extLst>
          </p:cNvPr>
          <p:cNvGrpSpPr/>
          <p:nvPr/>
        </p:nvGrpSpPr>
        <p:grpSpPr bwMode="gray">
          <a:xfrm>
            <a:off x="9044640" y="1023045"/>
            <a:ext cx="2152952" cy="4740397"/>
            <a:chOff x="5617703" y="615283"/>
            <a:chExt cx="2779657" cy="6120293"/>
          </a:xfrm>
        </p:grpSpPr>
        <p:sp>
          <p:nvSpPr>
            <p:cNvPr id="148" name="Ellipse 30">
              <a:extLst>
                <a:ext uri="{FF2B5EF4-FFF2-40B4-BE49-F238E27FC236}">
                  <a16:creationId xmlns:a16="http://schemas.microsoft.com/office/drawing/2014/main" id="{498C7F03-C583-43A9-8E7A-FBFBDD012D9D}"/>
                </a:ext>
              </a:extLst>
            </p:cNvPr>
            <p:cNvSpPr/>
            <p:nvPr/>
          </p:nvSpPr>
          <p:spPr bwMode="gray">
            <a:xfrm>
              <a:off x="5716008" y="6026766"/>
              <a:ext cx="2389066" cy="70881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9" name="Gruppieren 199">
              <a:extLst>
                <a:ext uri="{FF2B5EF4-FFF2-40B4-BE49-F238E27FC236}">
                  <a16:creationId xmlns:a16="http://schemas.microsoft.com/office/drawing/2014/main" id="{B7E99975-4C3E-4071-8A10-A01CDDEB277D}"/>
                </a:ext>
              </a:extLst>
            </p:cNvPr>
            <p:cNvGrpSpPr/>
            <p:nvPr/>
          </p:nvGrpSpPr>
          <p:grpSpPr bwMode="gray">
            <a:xfrm>
              <a:off x="5617703" y="615283"/>
              <a:ext cx="2779657" cy="5922325"/>
              <a:chOff x="531421" y="666985"/>
              <a:chExt cx="2779657" cy="5922325"/>
            </a:xfrm>
          </p:grpSpPr>
          <p:sp>
            <p:nvSpPr>
              <p:cNvPr id="150" name="Freeform 11">
                <a:extLst>
                  <a:ext uri="{FF2B5EF4-FFF2-40B4-BE49-F238E27FC236}">
                    <a16:creationId xmlns:a16="http://schemas.microsoft.com/office/drawing/2014/main" id="{1D557FAC-63D5-4611-9408-B08432E4F3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87436" y="674778"/>
                <a:ext cx="629636" cy="510089"/>
              </a:xfrm>
              <a:custGeom>
                <a:avLst/>
                <a:gdLst>
                  <a:gd name="T0" fmla="*/ 56 w 198"/>
                  <a:gd name="T1" fmla="*/ 19 h 153"/>
                  <a:gd name="T2" fmla="*/ 103 w 198"/>
                  <a:gd name="T3" fmla="*/ 27 h 153"/>
                  <a:gd name="T4" fmla="*/ 114 w 198"/>
                  <a:gd name="T5" fmla="*/ 58 h 153"/>
                  <a:gd name="T6" fmla="*/ 117 w 198"/>
                  <a:gd name="T7" fmla="*/ 87 h 153"/>
                  <a:gd name="T8" fmla="*/ 122 w 198"/>
                  <a:gd name="T9" fmla="*/ 121 h 153"/>
                  <a:gd name="T10" fmla="*/ 138 w 198"/>
                  <a:gd name="T11" fmla="*/ 125 h 153"/>
                  <a:gd name="T12" fmla="*/ 163 w 198"/>
                  <a:gd name="T13" fmla="*/ 102 h 153"/>
                  <a:gd name="T14" fmla="*/ 167 w 198"/>
                  <a:gd name="T15" fmla="*/ 151 h 153"/>
                  <a:gd name="T16" fmla="*/ 166 w 198"/>
                  <a:gd name="T17" fmla="*/ 152 h 153"/>
                  <a:gd name="T18" fmla="*/ 184 w 198"/>
                  <a:gd name="T19" fmla="*/ 130 h 153"/>
                  <a:gd name="T20" fmla="*/ 189 w 198"/>
                  <a:gd name="T21" fmla="*/ 74 h 153"/>
                  <a:gd name="T22" fmla="*/ 160 w 198"/>
                  <a:gd name="T23" fmla="*/ 35 h 153"/>
                  <a:gd name="T24" fmla="*/ 118 w 198"/>
                  <a:gd name="T25" fmla="*/ 5 h 153"/>
                  <a:gd name="T26" fmla="*/ 32 w 198"/>
                  <a:gd name="T27" fmla="*/ 11 h 153"/>
                  <a:gd name="T28" fmla="*/ 6 w 198"/>
                  <a:gd name="T29" fmla="*/ 34 h 153"/>
                  <a:gd name="T30" fmla="*/ 19 w 198"/>
                  <a:gd name="T31" fmla="*/ 31 h 153"/>
                  <a:gd name="T32" fmla="*/ 21 w 198"/>
                  <a:gd name="T33" fmla="*/ 42 h 153"/>
                  <a:gd name="T34" fmla="*/ 34 w 198"/>
                  <a:gd name="T35" fmla="*/ 25 h 153"/>
                  <a:gd name="T36" fmla="*/ 56 w 198"/>
                  <a:gd name="T37" fmla="*/ 19 h 153"/>
                  <a:gd name="connsiteX0" fmla="*/ 2603 w 9498"/>
                  <a:gd name="connsiteY0" fmla="*/ 1091 h 9794"/>
                  <a:gd name="connsiteX1" fmla="*/ 4977 w 9498"/>
                  <a:gd name="connsiteY1" fmla="*/ 1614 h 9794"/>
                  <a:gd name="connsiteX2" fmla="*/ 5533 w 9498"/>
                  <a:gd name="connsiteY2" fmla="*/ 3640 h 9794"/>
                  <a:gd name="connsiteX3" fmla="*/ 5684 w 9498"/>
                  <a:gd name="connsiteY3" fmla="*/ 5535 h 9794"/>
                  <a:gd name="connsiteX4" fmla="*/ 5937 w 9498"/>
                  <a:gd name="connsiteY4" fmla="*/ 7757 h 9794"/>
                  <a:gd name="connsiteX5" fmla="*/ 6745 w 9498"/>
                  <a:gd name="connsiteY5" fmla="*/ 8019 h 9794"/>
                  <a:gd name="connsiteX6" fmla="*/ 8007 w 9498"/>
                  <a:gd name="connsiteY6" fmla="*/ 6516 h 9794"/>
                  <a:gd name="connsiteX7" fmla="*/ 8209 w 9498"/>
                  <a:gd name="connsiteY7" fmla="*/ 9718 h 9794"/>
                  <a:gd name="connsiteX8" fmla="*/ 8159 w 9498"/>
                  <a:gd name="connsiteY8" fmla="*/ 9784 h 9794"/>
                  <a:gd name="connsiteX9" fmla="*/ 9068 w 9498"/>
                  <a:gd name="connsiteY9" fmla="*/ 8346 h 9794"/>
                  <a:gd name="connsiteX10" fmla="*/ 9320 w 9498"/>
                  <a:gd name="connsiteY10" fmla="*/ 4686 h 9794"/>
                  <a:gd name="connsiteX11" fmla="*/ 7856 w 9498"/>
                  <a:gd name="connsiteY11" fmla="*/ 2137 h 9794"/>
                  <a:gd name="connsiteX12" fmla="*/ 5735 w 9498"/>
                  <a:gd name="connsiteY12" fmla="*/ 176 h 9794"/>
                  <a:gd name="connsiteX13" fmla="*/ 1391 w 9498"/>
                  <a:gd name="connsiteY13" fmla="*/ 568 h 9794"/>
                  <a:gd name="connsiteX14" fmla="*/ 78 w 9498"/>
                  <a:gd name="connsiteY14" fmla="*/ 2071 h 9794"/>
                  <a:gd name="connsiteX15" fmla="*/ 735 w 9498"/>
                  <a:gd name="connsiteY15" fmla="*/ 1875 h 9794"/>
                  <a:gd name="connsiteX16" fmla="*/ 836 w 9498"/>
                  <a:gd name="connsiteY16" fmla="*/ 2594 h 9794"/>
                  <a:gd name="connsiteX17" fmla="*/ 1564 w 9498"/>
                  <a:gd name="connsiteY17" fmla="*/ 1622 h 9794"/>
                  <a:gd name="connsiteX18" fmla="*/ 2603 w 9498"/>
                  <a:gd name="connsiteY18" fmla="*/ 1091 h 9794"/>
                  <a:gd name="connsiteX0" fmla="*/ 2665 w 10000"/>
                  <a:gd name="connsiteY0" fmla="*/ 1303 h 9999"/>
                  <a:gd name="connsiteX1" fmla="*/ 5240 w 10000"/>
                  <a:gd name="connsiteY1" fmla="*/ 1647 h 9999"/>
                  <a:gd name="connsiteX2" fmla="*/ 5825 w 10000"/>
                  <a:gd name="connsiteY2" fmla="*/ 3716 h 9999"/>
                  <a:gd name="connsiteX3" fmla="*/ 5984 w 10000"/>
                  <a:gd name="connsiteY3" fmla="*/ 5650 h 9999"/>
                  <a:gd name="connsiteX4" fmla="*/ 6251 w 10000"/>
                  <a:gd name="connsiteY4" fmla="*/ 7919 h 9999"/>
                  <a:gd name="connsiteX5" fmla="*/ 7101 w 10000"/>
                  <a:gd name="connsiteY5" fmla="*/ 8187 h 9999"/>
                  <a:gd name="connsiteX6" fmla="*/ 8430 w 10000"/>
                  <a:gd name="connsiteY6" fmla="*/ 6652 h 9999"/>
                  <a:gd name="connsiteX7" fmla="*/ 8643 w 10000"/>
                  <a:gd name="connsiteY7" fmla="*/ 9921 h 9999"/>
                  <a:gd name="connsiteX8" fmla="*/ 8590 w 10000"/>
                  <a:gd name="connsiteY8" fmla="*/ 9989 h 9999"/>
                  <a:gd name="connsiteX9" fmla="*/ 9547 w 10000"/>
                  <a:gd name="connsiteY9" fmla="*/ 8521 h 9999"/>
                  <a:gd name="connsiteX10" fmla="*/ 9813 w 10000"/>
                  <a:gd name="connsiteY10" fmla="*/ 4784 h 9999"/>
                  <a:gd name="connsiteX11" fmla="*/ 8271 w 10000"/>
                  <a:gd name="connsiteY11" fmla="*/ 2181 h 9999"/>
                  <a:gd name="connsiteX12" fmla="*/ 6038 w 10000"/>
                  <a:gd name="connsiteY12" fmla="*/ 179 h 9999"/>
                  <a:gd name="connsiteX13" fmla="*/ 1465 w 10000"/>
                  <a:gd name="connsiteY13" fmla="*/ 579 h 9999"/>
                  <a:gd name="connsiteX14" fmla="*/ 82 w 10000"/>
                  <a:gd name="connsiteY14" fmla="*/ 2114 h 9999"/>
                  <a:gd name="connsiteX15" fmla="*/ 774 w 10000"/>
                  <a:gd name="connsiteY15" fmla="*/ 1913 h 9999"/>
                  <a:gd name="connsiteX16" fmla="*/ 880 w 10000"/>
                  <a:gd name="connsiteY16" fmla="*/ 2648 h 9999"/>
                  <a:gd name="connsiteX17" fmla="*/ 1647 w 10000"/>
                  <a:gd name="connsiteY17" fmla="*/ 1655 h 9999"/>
                  <a:gd name="connsiteX18" fmla="*/ 2665 w 10000"/>
                  <a:gd name="connsiteY18" fmla="*/ 1303 h 9999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825 w 10000"/>
                  <a:gd name="connsiteY2" fmla="*/ 3716 h 10000"/>
                  <a:gd name="connsiteX3" fmla="*/ 5984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984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402 w 10000"/>
                  <a:gd name="connsiteY4" fmla="*/ 8584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402 w 10000"/>
                  <a:gd name="connsiteY4" fmla="*/ 8584 h 10000"/>
                  <a:gd name="connsiteX5" fmla="*/ 7252 w 10000"/>
                  <a:gd name="connsiteY5" fmla="*/ 8283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168"/>
                  <a:gd name="connsiteX1" fmla="*/ 5013 w 10000"/>
                  <a:gd name="connsiteY1" fmla="*/ 1789 h 10168"/>
                  <a:gd name="connsiteX2" fmla="*/ 5598 w 10000"/>
                  <a:gd name="connsiteY2" fmla="*/ 3669 h 10168"/>
                  <a:gd name="connsiteX3" fmla="*/ 5795 w 10000"/>
                  <a:gd name="connsiteY3" fmla="*/ 5651 h 10168"/>
                  <a:gd name="connsiteX4" fmla="*/ 6402 w 10000"/>
                  <a:gd name="connsiteY4" fmla="*/ 8584 h 10168"/>
                  <a:gd name="connsiteX5" fmla="*/ 7252 w 10000"/>
                  <a:gd name="connsiteY5" fmla="*/ 8283 h 10168"/>
                  <a:gd name="connsiteX6" fmla="*/ 8468 w 10000"/>
                  <a:gd name="connsiteY6" fmla="*/ 6843 h 10168"/>
                  <a:gd name="connsiteX7" fmla="*/ 8643 w 10000"/>
                  <a:gd name="connsiteY7" fmla="*/ 9922 h 10168"/>
                  <a:gd name="connsiteX8" fmla="*/ 8590 w 10000"/>
                  <a:gd name="connsiteY8" fmla="*/ 9990 h 10168"/>
                  <a:gd name="connsiteX9" fmla="*/ 9547 w 10000"/>
                  <a:gd name="connsiteY9" fmla="*/ 8522 h 10168"/>
                  <a:gd name="connsiteX10" fmla="*/ 9813 w 10000"/>
                  <a:gd name="connsiteY10" fmla="*/ 4784 h 10168"/>
                  <a:gd name="connsiteX11" fmla="*/ 8271 w 10000"/>
                  <a:gd name="connsiteY11" fmla="*/ 2181 h 10168"/>
                  <a:gd name="connsiteX12" fmla="*/ 6038 w 10000"/>
                  <a:gd name="connsiteY12" fmla="*/ 179 h 10168"/>
                  <a:gd name="connsiteX13" fmla="*/ 1465 w 10000"/>
                  <a:gd name="connsiteY13" fmla="*/ 579 h 10168"/>
                  <a:gd name="connsiteX14" fmla="*/ 82 w 10000"/>
                  <a:gd name="connsiteY14" fmla="*/ 2114 h 10168"/>
                  <a:gd name="connsiteX15" fmla="*/ 774 w 10000"/>
                  <a:gd name="connsiteY15" fmla="*/ 1913 h 10168"/>
                  <a:gd name="connsiteX16" fmla="*/ 880 w 10000"/>
                  <a:gd name="connsiteY16" fmla="*/ 2648 h 10168"/>
                  <a:gd name="connsiteX17" fmla="*/ 1647 w 10000"/>
                  <a:gd name="connsiteY17" fmla="*/ 1655 h 10168"/>
                  <a:gd name="connsiteX18" fmla="*/ 2665 w 10000"/>
                  <a:gd name="connsiteY18" fmla="*/ 1303 h 10168"/>
                  <a:gd name="connsiteX0" fmla="*/ 2665 w 10000"/>
                  <a:gd name="connsiteY0" fmla="*/ 1303 h 10158"/>
                  <a:gd name="connsiteX1" fmla="*/ 5013 w 10000"/>
                  <a:gd name="connsiteY1" fmla="*/ 1789 h 10158"/>
                  <a:gd name="connsiteX2" fmla="*/ 5598 w 10000"/>
                  <a:gd name="connsiteY2" fmla="*/ 3669 h 10158"/>
                  <a:gd name="connsiteX3" fmla="*/ 5795 w 10000"/>
                  <a:gd name="connsiteY3" fmla="*/ 5651 h 10158"/>
                  <a:gd name="connsiteX4" fmla="*/ 6402 w 10000"/>
                  <a:gd name="connsiteY4" fmla="*/ 8584 h 10158"/>
                  <a:gd name="connsiteX5" fmla="*/ 7252 w 10000"/>
                  <a:gd name="connsiteY5" fmla="*/ 8283 h 10158"/>
                  <a:gd name="connsiteX6" fmla="*/ 8544 w 10000"/>
                  <a:gd name="connsiteY6" fmla="*/ 6985 h 10158"/>
                  <a:gd name="connsiteX7" fmla="*/ 8643 w 10000"/>
                  <a:gd name="connsiteY7" fmla="*/ 9922 h 10158"/>
                  <a:gd name="connsiteX8" fmla="*/ 8590 w 10000"/>
                  <a:gd name="connsiteY8" fmla="*/ 9990 h 10158"/>
                  <a:gd name="connsiteX9" fmla="*/ 9547 w 10000"/>
                  <a:gd name="connsiteY9" fmla="*/ 8522 h 10158"/>
                  <a:gd name="connsiteX10" fmla="*/ 9813 w 10000"/>
                  <a:gd name="connsiteY10" fmla="*/ 4784 h 10158"/>
                  <a:gd name="connsiteX11" fmla="*/ 8271 w 10000"/>
                  <a:gd name="connsiteY11" fmla="*/ 2181 h 10158"/>
                  <a:gd name="connsiteX12" fmla="*/ 6038 w 10000"/>
                  <a:gd name="connsiteY12" fmla="*/ 179 h 10158"/>
                  <a:gd name="connsiteX13" fmla="*/ 1465 w 10000"/>
                  <a:gd name="connsiteY13" fmla="*/ 579 h 10158"/>
                  <a:gd name="connsiteX14" fmla="*/ 82 w 10000"/>
                  <a:gd name="connsiteY14" fmla="*/ 2114 h 10158"/>
                  <a:gd name="connsiteX15" fmla="*/ 774 w 10000"/>
                  <a:gd name="connsiteY15" fmla="*/ 1913 h 10158"/>
                  <a:gd name="connsiteX16" fmla="*/ 880 w 10000"/>
                  <a:gd name="connsiteY16" fmla="*/ 2648 h 10158"/>
                  <a:gd name="connsiteX17" fmla="*/ 1647 w 10000"/>
                  <a:gd name="connsiteY17" fmla="*/ 1655 h 10158"/>
                  <a:gd name="connsiteX18" fmla="*/ 2665 w 10000"/>
                  <a:gd name="connsiteY18" fmla="*/ 1303 h 1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00" h="10158">
                    <a:moveTo>
                      <a:pt x="2665" y="1303"/>
                    </a:moveTo>
                    <a:cubicBezTo>
                      <a:pt x="3196" y="903"/>
                      <a:pt x="4524" y="1395"/>
                      <a:pt x="5013" y="1789"/>
                    </a:cubicBezTo>
                    <a:cubicBezTo>
                      <a:pt x="5502" y="2183"/>
                      <a:pt x="5468" y="3025"/>
                      <a:pt x="5598" y="3669"/>
                    </a:cubicBezTo>
                    <a:cubicBezTo>
                      <a:pt x="5728" y="4313"/>
                      <a:pt x="5661" y="4832"/>
                      <a:pt x="5795" y="5651"/>
                    </a:cubicBezTo>
                    <a:cubicBezTo>
                      <a:pt x="5929" y="6470"/>
                      <a:pt x="6159" y="8145"/>
                      <a:pt x="6402" y="8584"/>
                    </a:cubicBezTo>
                    <a:cubicBezTo>
                      <a:pt x="6645" y="9023"/>
                      <a:pt x="6895" y="8549"/>
                      <a:pt x="7252" y="8283"/>
                    </a:cubicBezTo>
                    <a:cubicBezTo>
                      <a:pt x="7609" y="8017"/>
                      <a:pt x="8312" y="6712"/>
                      <a:pt x="8544" y="6985"/>
                    </a:cubicBezTo>
                    <a:cubicBezTo>
                      <a:pt x="8776" y="7258"/>
                      <a:pt x="8635" y="9421"/>
                      <a:pt x="8643" y="9922"/>
                    </a:cubicBezTo>
                    <a:cubicBezTo>
                      <a:pt x="8651" y="10423"/>
                      <a:pt x="8608" y="9967"/>
                      <a:pt x="8590" y="9990"/>
                    </a:cubicBezTo>
                    <a:cubicBezTo>
                      <a:pt x="8856" y="10056"/>
                      <a:pt x="9175" y="9856"/>
                      <a:pt x="9547" y="8522"/>
                    </a:cubicBezTo>
                    <a:cubicBezTo>
                      <a:pt x="10292" y="5785"/>
                      <a:pt x="9919" y="5251"/>
                      <a:pt x="9813" y="4784"/>
                    </a:cubicBezTo>
                    <a:cubicBezTo>
                      <a:pt x="9706" y="4316"/>
                      <a:pt x="8590" y="2848"/>
                      <a:pt x="8271" y="2181"/>
                    </a:cubicBezTo>
                    <a:cubicBezTo>
                      <a:pt x="7952" y="1513"/>
                      <a:pt x="7048" y="513"/>
                      <a:pt x="6038" y="179"/>
                    </a:cubicBezTo>
                    <a:cubicBezTo>
                      <a:pt x="5027" y="-155"/>
                      <a:pt x="2050" y="-21"/>
                      <a:pt x="1465" y="579"/>
                    </a:cubicBezTo>
                    <a:cubicBezTo>
                      <a:pt x="880" y="1179"/>
                      <a:pt x="401" y="1447"/>
                      <a:pt x="82" y="2114"/>
                    </a:cubicBezTo>
                    <a:cubicBezTo>
                      <a:pt x="-237" y="2781"/>
                      <a:pt x="455" y="2047"/>
                      <a:pt x="774" y="1913"/>
                    </a:cubicBezTo>
                    <a:cubicBezTo>
                      <a:pt x="933" y="1847"/>
                      <a:pt x="880" y="2247"/>
                      <a:pt x="880" y="2648"/>
                    </a:cubicBezTo>
                    <a:cubicBezTo>
                      <a:pt x="1093" y="2181"/>
                      <a:pt x="1434" y="1855"/>
                      <a:pt x="1647" y="1655"/>
                    </a:cubicBezTo>
                    <a:cubicBezTo>
                      <a:pt x="2019" y="1187"/>
                      <a:pt x="2665" y="1303"/>
                      <a:pt x="2665" y="130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2">
                <a:extLst>
                  <a:ext uri="{FF2B5EF4-FFF2-40B4-BE49-F238E27FC236}">
                    <a16:creationId xmlns:a16="http://schemas.microsoft.com/office/drawing/2014/main" id="{7EF6A593-A3C5-41C4-B32E-92F805E199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6769" y="710896"/>
                <a:ext cx="602007" cy="879638"/>
              </a:xfrm>
              <a:custGeom>
                <a:avLst/>
                <a:gdLst>
                  <a:gd name="T0" fmla="*/ 162 w 180"/>
                  <a:gd name="T1" fmla="*/ 89 h 263"/>
                  <a:gd name="T2" fmla="*/ 137 w 180"/>
                  <a:gd name="T3" fmla="*/ 112 h 263"/>
                  <a:gd name="T4" fmla="*/ 121 w 180"/>
                  <a:gd name="T5" fmla="*/ 108 h 263"/>
                  <a:gd name="T6" fmla="*/ 116 w 180"/>
                  <a:gd name="T7" fmla="*/ 74 h 263"/>
                  <a:gd name="T8" fmla="*/ 113 w 180"/>
                  <a:gd name="T9" fmla="*/ 45 h 263"/>
                  <a:gd name="T10" fmla="*/ 102 w 180"/>
                  <a:gd name="T11" fmla="*/ 14 h 263"/>
                  <a:gd name="T12" fmla="*/ 55 w 180"/>
                  <a:gd name="T13" fmla="*/ 6 h 263"/>
                  <a:gd name="T14" fmla="*/ 33 w 180"/>
                  <a:gd name="T15" fmla="*/ 12 h 263"/>
                  <a:gd name="T16" fmla="*/ 20 w 180"/>
                  <a:gd name="T17" fmla="*/ 29 h 263"/>
                  <a:gd name="T18" fmla="*/ 8 w 180"/>
                  <a:gd name="T19" fmla="*/ 56 h 263"/>
                  <a:gd name="T20" fmla="*/ 5 w 180"/>
                  <a:gd name="T21" fmla="*/ 97 h 263"/>
                  <a:gd name="T22" fmla="*/ 1 w 180"/>
                  <a:gd name="T23" fmla="*/ 135 h 263"/>
                  <a:gd name="T24" fmla="*/ 7 w 180"/>
                  <a:gd name="T25" fmla="*/ 188 h 263"/>
                  <a:gd name="T26" fmla="*/ 25 w 180"/>
                  <a:gd name="T27" fmla="*/ 218 h 263"/>
                  <a:gd name="T28" fmla="*/ 48 w 180"/>
                  <a:gd name="T29" fmla="*/ 223 h 263"/>
                  <a:gd name="T30" fmla="*/ 47 w 180"/>
                  <a:gd name="T31" fmla="*/ 238 h 263"/>
                  <a:gd name="T32" fmla="*/ 54 w 180"/>
                  <a:gd name="T33" fmla="*/ 253 h 263"/>
                  <a:gd name="T34" fmla="*/ 72 w 180"/>
                  <a:gd name="T35" fmla="*/ 263 h 263"/>
                  <a:gd name="T36" fmla="*/ 141 w 180"/>
                  <a:gd name="T37" fmla="*/ 210 h 263"/>
                  <a:gd name="T38" fmla="*/ 155 w 180"/>
                  <a:gd name="T39" fmla="*/ 198 h 263"/>
                  <a:gd name="T40" fmla="*/ 153 w 180"/>
                  <a:gd name="T41" fmla="*/ 167 h 263"/>
                  <a:gd name="T42" fmla="*/ 165 w 180"/>
                  <a:gd name="T43" fmla="*/ 139 h 263"/>
                  <a:gd name="T44" fmla="*/ 166 w 180"/>
                  <a:gd name="T45" fmla="*/ 138 h 263"/>
                  <a:gd name="T46" fmla="*/ 162 w 180"/>
                  <a:gd name="T47" fmla="*/ 89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0" h="263">
                    <a:moveTo>
                      <a:pt x="162" y="89"/>
                    </a:moveTo>
                    <a:cubicBezTo>
                      <a:pt x="162" y="89"/>
                      <a:pt x="142" y="102"/>
                      <a:pt x="137" y="112"/>
                    </a:cubicBezTo>
                    <a:cubicBezTo>
                      <a:pt x="132" y="122"/>
                      <a:pt x="121" y="114"/>
                      <a:pt x="121" y="108"/>
                    </a:cubicBezTo>
                    <a:cubicBezTo>
                      <a:pt x="121" y="102"/>
                      <a:pt x="119" y="79"/>
                      <a:pt x="116" y="74"/>
                    </a:cubicBezTo>
                    <a:cubicBezTo>
                      <a:pt x="113" y="69"/>
                      <a:pt x="112" y="56"/>
                      <a:pt x="113" y="45"/>
                    </a:cubicBezTo>
                    <a:cubicBezTo>
                      <a:pt x="114" y="34"/>
                      <a:pt x="108" y="18"/>
                      <a:pt x="102" y="14"/>
                    </a:cubicBezTo>
                    <a:cubicBezTo>
                      <a:pt x="96" y="10"/>
                      <a:pt x="65" y="0"/>
                      <a:pt x="55" y="6"/>
                    </a:cubicBezTo>
                    <a:cubicBezTo>
                      <a:pt x="55" y="6"/>
                      <a:pt x="40" y="5"/>
                      <a:pt x="33" y="12"/>
                    </a:cubicBezTo>
                    <a:cubicBezTo>
                      <a:pt x="29" y="15"/>
                      <a:pt x="24" y="22"/>
                      <a:pt x="20" y="29"/>
                    </a:cubicBezTo>
                    <a:cubicBezTo>
                      <a:pt x="15" y="37"/>
                      <a:pt x="10" y="47"/>
                      <a:pt x="8" y="56"/>
                    </a:cubicBezTo>
                    <a:cubicBezTo>
                      <a:pt x="4" y="73"/>
                      <a:pt x="3" y="83"/>
                      <a:pt x="5" y="97"/>
                    </a:cubicBezTo>
                    <a:cubicBezTo>
                      <a:pt x="5" y="97"/>
                      <a:pt x="2" y="125"/>
                      <a:pt x="1" y="135"/>
                    </a:cubicBezTo>
                    <a:cubicBezTo>
                      <a:pt x="0" y="145"/>
                      <a:pt x="0" y="169"/>
                      <a:pt x="7" y="188"/>
                    </a:cubicBezTo>
                    <a:cubicBezTo>
                      <a:pt x="14" y="207"/>
                      <a:pt x="11" y="220"/>
                      <a:pt x="25" y="218"/>
                    </a:cubicBezTo>
                    <a:cubicBezTo>
                      <a:pt x="39" y="216"/>
                      <a:pt x="44" y="218"/>
                      <a:pt x="48" y="223"/>
                    </a:cubicBezTo>
                    <a:cubicBezTo>
                      <a:pt x="49" y="226"/>
                      <a:pt x="49" y="232"/>
                      <a:pt x="47" y="238"/>
                    </a:cubicBezTo>
                    <a:cubicBezTo>
                      <a:pt x="49" y="242"/>
                      <a:pt x="51" y="248"/>
                      <a:pt x="54" y="253"/>
                    </a:cubicBezTo>
                    <a:cubicBezTo>
                      <a:pt x="58" y="260"/>
                      <a:pt x="72" y="263"/>
                      <a:pt x="72" y="263"/>
                    </a:cubicBezTo>
                    <a:cubicBezTo>
                      <a:pt x="83" y="257"/>
                      <a:pt x="120" y="227"/>
                      <a:pt x="141" y="210"/>
                    </a:cubicBezTo>
                    <a:cubicBezTo>
                      <a:pt x="147" y="205"/>
                      <a:pt x="152" y="201"/>
                      <a:pt x="155" y="198"/>
                    </a:cubicBezTo>
                    <a:cubicBezTo>
                      <a:pt x="154" y="187"/>
                      <a:pt x="153" y="172"/>
                      <a:pt x="153" y="167"/>
                    </a:cubicBezTo>
                    <a:cubicBezTo>
                      <a:pt x="152" y="158"/>
                      <a:pt x="163" y="148"/>
                      <a:pt x="165" y="139"/>
                    </a:cubicBezTo>
                    <a:cubicBezTo>
                      <a:pt x="165" y="139"/>
                      <a:pt x="166" y="138"/>
                      <a:pt x="166" y="138"/>
                    </a:cubicBezTo>
                    <a:cubicBezTo>
                      <a:pt x="168" y="129"/>
                      <a:pt x="180" y="84"/>
                      <a:pt x="162" y="89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70">
                <a:extLst>
                  <a:ext uri="{FF2B5EF4-FFF2-40B4-BE49-F238E27FC236}">
                    <a16:creationId xmlns:a16="http://schemas.microsoft.com/office/drawing/2014/main" id="{14A16DA1-AD34-4553-90F3-25C94C19BB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3238" y="666985"/>
                <a:ext cx="247885" cy="211057"/>
              </a:xfrm>
              <a:custGeom>
                <a:avLst/>
                <a:gdLst>
                  <a:gd name="T0" fmla="*/ 8 w 74"/>
                  <a:gd name="T1" fmla="*/ 11 h 63"/>
                  <a:gd name="T2" fmla="*/ 41 w 74"/>
                  <a:gd name="T3" fmla="*/ 39 h 63"/>
                  <a:gd name="T4" fmla="*/ 56 w 74"/>
                  <a:gd name="T5" fmla="*/ 48 h 63"/>
                  <a:gd name="T6" fmla="*/ 68 w 74"/>
                  <a:gd name="T7" fmla="*/ 40 h 63"/>
                  <a:gd name="T8" fmla="*/ 59 w 74"/>
                  <a:gd name="T9" fmla="*/ 21 h 63"/>
                  <a:gd name="T10" fmla="*/ 8 w 74"/>
                  <a:gd name="T1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63">
                    <a:moveTo>
                      <a:pt x="8" y="11"/>
                    </a:moveTo>
                    <a:cubicBezTo>
                      <a:pt x="8" y="11"/>
                      <a:pt x="38" y="16"/>
                      <a:pt x="41" y="39"/>
                    </a:cubicBezTo>
                    <a:cubicBezTo>
                      <a:pt x="44" y="63"/>
                      <a:pt x="50" y="55"/>
                      <a:pt x="56" y="48"/>
                    </a:cubicBezTo>
                    <a:cubicBezTo>
                      <a:pt x="62" y="41"/>
                      <a:pt x="62" y="41"/>
                      <a:pt x="68" y="40"/>
                    </a:cubicBezTo>
                    <a:cubicBezTo>
                      <a:pt x="74" y="39"/>
                      <a:pt x="68" y="21"/>
                      <a:pt x="59" y="21"/>
                    </a:cubicBezTo>
                    <a:cubicBezTo>
                      <a:pt x="50" y="20"/>
                      <a:pt x="0" y="0"/>
                      <a:pt x="8" y="11"/>
                    </a:cubicBezTo>
                    <a:close/>
                  </a:path>
                </a:pathLst>
              </a:custGeom>
              <a:solidFill>
                <a:srgbClr val="38291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A07E1A93-838F-4F02-A07C-A13FD30757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6201" y="1342650"/>
                <a:ext cx="2004877" cy="1952620"/>
              </a:xfrm>
              <a:custGeom>
                <a:avLst/>
                <a:gdLst>
                  <a:gd name="T0" fmla="*/ 598 w 606"/>
                  <a:gd name="T1" fmla="*/ 396 h 564"/>
                  <a:gd name="T2" fmla="*/ 571 w 606"/>
                  <a:gd name="T3" fmla="*/ 355 h 564"/>
                  <a:gd name="T4" fmla="*/ 564 w 606"/>
                  <a:gd name="T5" fmla="*/ 324 h 564"/>
                  <a:gd name="T6" fmla="*/ 535 w 606"/>
                  <a:gd name="T7" fmla="*/ 181 h 564"/>
                  <a:gd name="T8" fmla="*/ 529 w 606"/>
                  <a:gd name="T9" fmla="*/ 140 h 564"/>
                  <a:gd name="T10" fmla="*/ 412 w 606"/>
                  <a:gd name="T11" fmla="*/ 44 h 564"/>
                  <a:gd name="T12" fmla="*/ 391 w 606"/>
                  <a:gd name="T13" fmla="*/ 0 h 564"/>
                  <a:gd name="T14" fmla="*/ 385 w 606"/>
                  <a:gd name="T15" fmla="*/ 9 h 564"/>
                  <a:gd name="T16" fmla="*/ 371 w 606"/>
                  <a:gd name="T17" fmla="*/ 21 h 564"/>
                  <a:gd name="T18" fmla="*/ 302 w 606"/>
                  <a:gd name="T19" fmla="*/ 74 h 564"/>
                  <a:gd name="T20" fmla="*/ 284 w 606"/>
                  <a:gd name="T21" fmla="*/ 64 h 564"/>
                  <a:gd name="T22" fmla="*/ 277 w 606"/>
                  <a:gd name="T23" fmla="*/ 49 h 564"/>
                  <a:gd name="T24" fmla="*/ 277 w 606"/>
                  <a:gd name="T25" fmla="*/ 46 h 564"/>
                  <a:gd name="T26" fmla="*/ 244 w 606"/>
                  <a:gd name="T27" fmla="*/ 67 h 564"/>
                  <a:gd name="T28" fmla="*/ 144 w 606"/>
                  <a:gd name="T29" fmla="*/ 133 h 564"/>
                  <a:gd name="T30" fmla="*/ 128 w 606"/>
                  <a:gd name="T31" fmla="*/ 191 h 564"/>
                  <a:gd name="T32" fmla="*/ 121 w 606"/>
                  <a:gd name="T33" fmla="*/ 219 h 564"/>
                  <a:gd name="T34" fmla="*/ 120 w 606"/>
                  <a:gd name="T35" fmla="*/ 263 h 564"/>
                  <a:gd name="T36" fmla="*/ 125 w 606"/>
                  <a:gd name="T37" fmla="*/ 304 h 564"/>
                  <a:gd name="T38" fmla="*/ 97 w 606"/>
                  <a:gd name="T39" fmla="*/ 336 h 564"/>
                  <a:gd name="T40" fmla="*/ 100 w 606"/>
                  <a:gd name="T41" fmla="*/ 361 h 564"/>
                  <a:gd name="T42" fmla="*/ 85 w 606"/>
                  <a:gd name="T43" fmla="*/ 375 h 564"/>
                  <a:gd name="T44" fmla="*/ 39 w 606"/>
                  <a:gd name="T45" fmla="*/ 374 h 564"/>
                  <a:gd name="T46" fmla="*/ 0 w 606"/>
                  <a:gd name="T47" fmla="*/ 384 h 564"/>
                  <a:gd name="T48" fmla="*/ 8 w 606"/>
                  <a:gd name="T49" fmla="*/ 386 h 564"/>
                  <a:gd name="T50" fmla="*/ 46 w 606"/>
                  <a:gd name="T51" fmla="*/ 427 h 564"/>
                  <a:gd name="T52" fmla="*/ 54 w 606"/>
                  <a:gd name="T53" fmla="*/ 460 h 564"/>
                  <a:gd name="T54" fmla="*/ 14 w 606"/>
                  <a:gd name="T55" fmla="*/ 451 h 564"/>
                  <a:gd name="T56" fmla="*/ 14 w 606"/>
                  <a:gd name="T57" fmla="*/ 453 h 564"/>
                  <a:gd name="T58" fmla="*/ 36 w 606"/>
                  <a:gd name="T59" fmla="*/ 488 h 564"/>
                  <a:gd name="T60" fmla="*/ 73 w 606"/>
                  <a:gd name="T61" fmla="*/ 484 h 564"/>
                  <a:gd name="T62" fmla="*/ 120 w 606"/>
                  <a:gd name="T63" fmla="*/ 487 h 564"/>
                  <a:gd name="T64" fmla="*/ 150 w 606"/>
                  <a:gd name="T65" fmla="*/ 485 h 564"/>
                  <a:gd name="T66" fmla="*/ 176 w 606"/>
                  <a:gd name="T67" fmla="*/ 541 h 564"/>
                  <a:gd name="T68" fmla="*/ 180 w 606"/>
                  <a:gd name="T69" fmla="*/ 536 h 564"/>
                  <a:gd name="T70" fmla="*/ 253 w 606"/>
                  <a:gd name="T71" fmla="*/ 562 h 564"/>
                  <a:gd name="T72" fmla="*/ 309 w 606"/>
                  <a:gd name="T73" fmla="*/ 559 h 564"/>
                  <a:gd name="T74" fmla="*/ 373 w 606"/>
                  <a:gd name="T75" fmla="*/ 549 h 564"/>
                  <a:gd name="T76" fmla="*/ 446 w 606"/>
                  <a:gd name="T77" fmla="*/ 537 h 564"/>
                  <a:gd name="T78" fmla="*/ 455 w 606"/>
                  <a:gd name="T79" fmla="*/ 528 h 564"/>
                  <a:gd name="T80" fmla="*/ 483 w 606"/>
                  <a:gd name="T81" fmla="*/ 513 h 564"/>
                  <a:gd name="T82" fmla="*/ 507 w 606"/>
                  <a:gd name="T83" fmla="*/ 494 h 564"/>
                  <a:gd name="T84" fmla="*/ 550 w 606"/>
                  <a:gd name="T85" fmla="*/ 479 h 564"/>
                  <a:gd name="T86" fmla="*/ 598 w 606"/>
                  <a:gd name="T87" fmla="*/ 396 h 564"/>
                  <a:gd name="connsiteX0" fmla="*/ 9868 w 9884"/>
                  <a:gd name="connsiteY0" fmla="*/ 7021 h 10094"/>
                  <a:gd name="connsiteX1" fmla="*/ 9422 w 9884"/>
                  <a:gd name="connsiteY1" fmla="*/ 6294 h 10094"/>
                  <a:gd name="connsiteX2" fmla="*/ 9307 w 9884"/>
                  <a:gd name="connsiteY2" fmla="*/ 5745 h 10094"/>
                  <a:gd name="connsiteX3" fmla="*/ 8828 w 9884"/>
                  <a:gd name="connsiteY3" fmla="*/ 3209 h 10094"/>
                  <a:gd name="connsiteX4" fmla="*/ 8729 w 9884"/>
                  <a:gd name="connsiteY4" fmla="*/ 2482 h 10094"/>
                  <a:gd name="connsiteX5" fmla="*/ 6799 w 9884"/>
                  <a:gd name="connsiteY5" fmla="*/ 780 h 10094"/>
                  <a:gd name="connsiteX6" fmla="*/ 6452 w 9884"/>
                  <a:gd name="connsiteY6" fmla="*/ 0 h 10094"/>
                  <a:gd name="connsiteX7" fmla="*/ 6353 w 9884"/>
                  <a:gd name="connsiteY7" fmla="*/ 160 h 10094"/>
                  <a:gd name="connsiteX8" fmla="*/ 6122 w 9884"/>
                  <a:gd name="connsiteY8" fmla="*/ 372 h 10094"/>
                  <a:gd name="connsiteX9" fmla="*/ 4983 w 9884"/>
                  <a:gd name="connsiteY9" fmla="*/ 1312 h 10094"/>
                  <a:gd name="connsiteX10" fmla="*/ 4686 w 9884"/>
                  <a:gd name="connsiteY10" fmla="*/ 1135 h 10094"/>
                  <a:gd name="connsiteX11" fmla="*/ 4571 w 9884"/>
                  <a:gd name="connsiteY11" fmla="*/ 869 h 10094"/>
                  <a:gd name="connsiteX12" fmla="*/ 4571 w 9884"/>
                  <a:gd name="connsiteY12" fmla="*/ 816 h 10094"/>
                  <a:gd name="connsiteX13" fmla="*/ 4026 w 9884"/>
                  <a:gd name="connsiteY13" fmla="*/ 1188 h 10094"/>
                  <a:gd name="connsiteX14" fmla="*/ 2376 w 9884"/>
                  <a:gd name="connsiteY14" fmla="*/ 2358 h 10094"/>
                  <a:gd name="connsiteX15" fmla="*/ 2112 w 9884"/>
                  <a:gd name="connsiteY15" fmla="*/ 3387 h 10094"/>
                  <a:gd name="connsiteX16" fmla="*/ 1997 w 9884"/>
                  <a:gd name="connsiteY16" fmla="*/ 3883 h 10094"/>
                  <a:gd name="connsiteX17" fmla="*/ 1980 w 9884"/>
                  <a:gd name="connsiteY17" fmla="*/ 4663 h 10094"/>
                  <a:gd name="connsiteX18" fmla="*/ 2063 w 9884"/>
                  <a:gd name="connsiteY18" fmla="*/ 5390 h 10094"/>
                  <a:gd name="connsiteX19" fmla="*/ 1601 w 9884"/>
                  <a:gd name="connsiteY19" fmla="*/ 5957 h 10094"/>
                  <a:gd name="connsiteX20" fmla="*/ 1650 w 9884"/>
                  <a:gd name="connsiteY20" fmla="*/ 6401 h 10094"/>
                  <a:gd name="connsiteX21" fmla="*/ 1403 w 9884"/>
                  <a:gd name="connsiteY21" fmla="*/ 6649 h 10094"/>
                  <a:gd name="connsiteX22" fmla="*/ 644 w 9884"/>
                  <a:gd name="connsiteY22" fmla="*/ 6631 h 10094"/>
                  <a:gd name="connsiteX23" fmla="*/ 0 w 9884"/>
                  <a:gd name="connsiteY23" fmla="*/ 6809 h 10094"/>
                  <a:gd name="connsiteX24" fmla="*/ 132 w 9884"/>
                  <a:gd name="connsiteY24" fmla="*/ 6844 h 10094"/>
                  <a:gd name="connsiteX25" fmla="*/ 759 w 9884"/>
                  <a:gd name="connsiteY25" fmla="*/ 7571 h 10094"/>
                  <a:gd name="connsiteX26" fmla="*/ 891 w 9884"/>
                  <a:gd name="connsiteY26" fmla="*/ 8156 h 10094"/>
                  <a:gd name="connsiteX27" fmla="*/ 231 w 9884"/>
                  <a:gd name="connsiteY27" fmla="*/ 7996 h 10094"/>
                  <a:gd name="connsiteX28" fmla="*/ 231 w 9884"/>
                  <a:gd name="connsiteY28" fmla="*/ 8032 h 10094"/>
                  <a:gd name="connsiteX29" fmla="*/ 594 w 9884"/>
                  <a:gd name="connsiteY29" fmla="*/ 8652 h 10094"/>
                  <a:gd name="connsiteX30" fmla="*/ 1205 w 9884"/>
                  <a:gd name="connsiteY30" fmla="*/ 8582 h 10094"/>
                  <a:gd name="connsiteX31" fmla="*/ 1980 w 9884"/>
                  <a:gd name="connsiteY31" fmla="*/ 8635 h 10094"/>
                  <a:gd name="connsiteX32" fmla="*/ 2475 w 9884"/>
                  <a:gd name="connsiteY32" fmla="*/ 8599 h 10094"/>
                  <a:gd name="connsiteX33" fmla="*/ 2904 w 9884"/>
                  <a:gd name="connsiteY33" fmla="*/ 9592 h 10094"/>
                  <a:gd name="connsiteX34" fmla="*/ 2970 w 9884"/>
                  <a:gd name="connsiteY34" fmla="*/ 9504 h 10094"/>
                  <a:gd name="connsiteX35" fmla="*/ 4175 w 9884"/>
                  <a:gd name="connsiteY35" fmla="*/ 9965 h 10094"/>
                  <a:gd name="connsiteX36" fmla="*/ 5099 w 9884"/>
                  <a:gd name="connsiteY36" fmla="*/ 9911 h 10094"/>
                  <a:gd name="connsiteX37" fmla="*/ 6237 w 9884"/>
                  <a:gd name="connsiteY37" fmla="*/ 10086 h 10094"/>
                  <a:gd name="connsiteX38" fmla="*/ 7360 w 9884"/>
                  <a:gd name="connsiteY38" fmla="*/ 9521 h 10094"/>
                  <a:gd name="connsiteX39" fmla="*/ 7508 w 9884"/>
                  <a:gd name="connsiteY39" fmla="*/ 9362 h 10094"/>
                  <a:gd name="connsiteX40" fmla="*/ 7970 w 9884"/>
                  <a:gd name="connsiteY40" fmla="*/ 9096 h 10094"/>
                  <a:gd name="connsiteX41" fmla="*/ 8366 w 9884"/>
                  <a:gd name="connsiteY41" fmla="*/ 8759 h 10094"/>
                  <a:gd name="connsiteX42" fmla="*/ 9076 w 9884"/>
                  <a:gd name="connsiteY42" fmla="*/ 8493 h 10094"/>
                  <a:gd name="connsiteX43" fmla="*/ 9868 w 9884"/>
                  <a:gd name="connsiteY43" fmla="*/ 7021 h 10094"/>
                  <a:gd name="connsiteX0" fmla="*/ 9984 w 10000"/>
                  <a:gd name="connsiteY0" fmla="*/ 6956 h 10190"/>
                  <a:gd name="connsiteX1" fmla="*/ 9533 w 10000"/>
                  <a:gd name="connsiteY1" fmla="*/ 6235 h 10190"/>
                  <a:gd name="connsiteX2" fmla="*/ 9416 w 10000"/>
                  <a:gd name="connsiteY2" fmla="*/ 5691 h 10190"/>
                  <a:gd name="connsiteX3" fmla="*/ 8932 w 10000"/>
                  <a:gd name="connsiteY3" fmla="*/ 3179 h 10190"/>
                  <a:gd name="connsiteX4" fmla="*/ 8831 w 10000"/>
                  <a:gd name="connsiteY4" fmla="*/ 2459 h 10190"/>
                  <a:gd name="connsiteX5" fmla="*/ 6879 w 10000"/>
                  <a:gd name="connsiteY5" fmla="*/ 773 h 10190"/>
                  <a:gd name="connsiteX6" fmla="*/ 6528 w 10000"/>
                  <a:gd name="connsiteY6" fmla="*/ 0 h 10190"/>
                  <a:gd name="connsiteX7" fmla="*/ 6428 w 10000"/>
                  <a:gd name="connsiteY7" fmla="*/ 159 h 10190"/>
                  <a:gd name="connsiteX8" fmla="*/ 6194 w 10000"/>
                  <a:gd name="connsiteY8" fmla="*/ 369 h 10190"/>
                  <a:gd name="connsiteX9" fmla="*/ 5041 w 10000"/>
                  <a:gd name="connsiteY9" fmla="*/ 1300 h 10190"/>
                  <a:gd name="connsiteX10" fmla="*/ 4741 w 10000"/>
                  <a:gd name="connsiteY10" fmla="*/ 1124 h 10190"/>
                  <a:gd name="connsiteX11" fmla="*/ 4625 w 10000"/>
                  <a:gd name="connsiteY11" fmla="*/ 861 h 10190"/>
                  <a:gd name="connsiteX12" fmla="*/ 4625 w 10000"/>
                  <a:gd name="connsiteY12" fmla="*/ 808 h 10190"/>
                  <a:gd name="connsiteX13" fmla="*/ 4073 w 10000"/>
                  <a:gd name="connsiteY13" fmla="*/ 1177 h 10190"/>
                  <a:gd name="connsiteX14" fmla="*/ 2404 w 10000"/>
                  <a:gd name="connsiteY14" fmla="*/ 2336 h 10190"/>
                  <a:gd name="connsiteX15" fmla="*/ 2137 w 10000"/>
                  <a:gd name="connsiteY15" fmla="*/ 3355 h 10190"/>
                  <a:gd name="connsiteX16" fmla="*/ 2020 w 10000"/>
                  <a:gd name="connsiteY16" fmla="*/ 3847 h 10190"/>
                  <a:gd name="connsiteX17" fmla="*/ 2003 w 10000"/>
                  <a:gd name="connsiteY17" fmla="*/ 4620 h 10190"/>
                  <a:gd name="connsiteX18" fmla="*/ 2087 w 10000"/>
                  <a:gd name="connsiteY18" fmla="*/ 5340 h 10190"/>
                  <a:gd name="connsiteX19" fmla="*/ 1620 w 10000"/>
                  <a:gd name="connsiteY19" fmla="*/ 5902 h 10190"/>
                  <a:gd name="connsiteX20" fmla="*/ 1669 w 10000"/>
                  <a:gd name="connsiteY20" fmla="*/ 6341 h 10190"/>
                  <a:gd name="connsiteX21" fmla="*/ 1419 w 10000"/>
                  <a:gd name="connsiteY21" fmla="*/ 6587 h 10190"/>
                  <a:gd name="connsiteX22" fmla="*/ 652 w 10000"/>
                  <a:gd name="connsiteY22" fmla="*/ 6569 h 10190"/>
                  <a:gd name="connsiteX23" fmla="*/ 0 w 10000"/>
                  <a:gd name="connsiteY23" fmla="*/ 6746 h 10190"/>
                  <a:gd name="connsiteX24" fmla="*/ 134 w 10000"/>
                  <a:gd name="connsiteY24" fmla="*/ 6780 h 10190"/>
                  <a:gd name="connsiteX25" fmla="*/ 768 w 10000"/>
                  <a:gd name="connsiteY25" fmla="*/ 7500 h 10190"/>
                  <a:gd name="connsiteX26" fmla="*/ 901 w 10000"/>
                  <a:gd name="connsiteY26" fmla="*/ 8080 h 10190"/>
                  <a:gd name="connsiteX27" fmla="*/ 234 w 10000"/>
                  <a:gd name="connsiteY27" fmla="*/ 7922 h 10190"/>
                  <a:gd name="connsiteX28" fmla="*/ 234 w 10000"/>
                  <a:gd name="connsiteY28" fmla="*/ 7957 h 10190"/>
                  <a:gd name="connsiteX29" fmla="*/ 601 w 10000"/>
                  <a:gd name="connsiteY29" fmla="*/ 8571 h 10190"/>
                  <a:gd name="connsiteX30" fmla="*/ 1219 w 10000"/>
                  <a:gd name="connsiteY30" fmla="*/ 8502 h 10190"/>
                  <a:gd name="connsiteX31" fmla="*/ 2003 w 10000"/>
                  <a:gd name="connsiteY31" fmla="*/ 8555 h 10190"/>
                  <a:gd name="connsiteX32" fmla="*/ 2504 w 10000"/>
                  <a:gd name="connsiteY32" fmla="*/ 8519 h 10190"/>
                  <a:gd name="connsiteX33" fmla="*/ 2938 w 10000"/>
                  <a:gd name="connsiteY33" fmla="*/ 9503 h 10190"/>
                  <a:gd name="connsiteX34" fmla="*/ 3005 w 10000"/>
                  <a:gd name="connsiteY34" fmla="*/ 9415 h 10190"/>
                  <a:gd name="connsiteX35" fmla="*/ 4224 w 10000"/>
                  <a:gd name="connsiteY35" fmla="*/ 9872 h 10190"/>
                  <a:gd name="connsiteX36" fmla="*/ 5118 w 10000"/>
                  <a:gd name="connsiteY36" fmla="*/ 10189 h 10190"/>
                  <a:gd name="connsiteX37" fmla="*/ 6310 w 10000"/>
                  <a:gd name="connsiteY37" fmla="*/ 9992 h 10190"/>
                  <a:gd name="connsiteX38" fmla="*/ 7446 w 10000"/>
                  <a:gd name="connsiteY38" fmla="*/ 9432 h 10190"/>
                  <a:gd name="connsiteX39" fmla="*/ 7596 w 10000"/>
                  <a:gd name="connsiteY39" fmla="*/ 9275 h 10190"/>
                  <a:gd name="connsiteX40" fmla="*/ 8064 w 10000"/>
                  <a:gd name="connsiteY40" fmla="*/ 9011 h 10190"/>
                  <a:gd name="connsiteX41" fmla="*/ 8464 w 10000"/>
                  <a:gd name="connsiteY41" fmla="*/ 8677 h 10190"/>
                  <a:gd name="connsiteX42" fmla="*/ 9183 w 10000"/>
                  <a:gd name="connsiteY42" fmla="*/ 8414 h 10190"/>
                  <a:gd name="connsiteX43" fmla="*/ 9984 w 10000"/>
                  <a:gd name="connsiteY43" fmla="*/ 6956 h 10190"/>
                  <a:gd name="connsiteX0" fmla="*/ 9984 w 10000"/>
                  <a:gd name="connsiteY0" fmla="*/ 6956 h 10245"/>
                  <a:gd name="connsiteX1" fmla="*/ 9533 w 10000"/>
                  <a:gd name="connsiteY1" fmla="*/ 6235 h 10245"/>
                  <a:gd name="connsiteX2" fmla="*/ 9416 w 10000"/>
                  <a:gd name="connsiteY2" fmla="*/ 5691 h 10245"/>
                  <a:gd name="connsiteX3" fmla="*/ 8932 w 10000"/>
                  <a:gd name="connsiteY3" fmla="*/ 3179 h 10245"/>
                  <a:gd name="connsiteX4" fmla="*/ 8831 w 10000"/>
                  <a:gd name="connsiteY4" fmla="*/ 2459 h 10245"/>
                  <a:gd name="connsiteX5" fmla="*/ 6879 w 10000"/>
                  <a:gd name="connsiteY5" fmla="*/ 773 h 10245"/>
                  <a:gd name="connsiteX6" fmla="*/ 6528 w 10000"/>
                  <a:gd name="connsiteY6" fmla="*/ 0 h 10245"/>
                  <a:gd name="connsiteX7" fmla="*/ 6428 w 10000"/>
                  <a:gd name="connsiteY7" fmla="*/ 159 h 10245"/>
                  <a:gd name="connsiteX8" fmla="*/ 6194 w 10000"/>
                  <a:gd name="connsiteY8" fmla="*/ 369 h 10245"/>
                  <a:gd name="connsiteX9" fmla="*/ 5041 w 10000"/>
                  <a:gd name="connsiteY9" fmla="*/ 1300 h 10245"/>
                  <a:gd name="connsiteX10" fmla="*/ 4741 w 10000"/>
                  <a:gd name="connsiteY10" fmla="*/ 1124 h 10245"/>
                  <a:gd name="connsiteX11" fmla="*/ 4625 w 10000"/>
                  <a:gd name="connsiteY11" fmla="*/ 861 h 10245"/>
                  <a:gd name="connsiteX12" fmla="*/ 4625 w 10000"/>
                  <a:gd name="connsiteY12" fmla="*/ 808 h 10245"/>
                  <a:gd name="connsiteX13" fmla="*/ 4073 w 10000"/>
                  <a:gd name="connsiteY13" fmla="*/ 1177 h 10245"/>
                  <a:gd name="connsiteX14" fmla="*/ 2404 w 10000"/>
                  <a:gd name="connsiteY14" fmla="*/ 2336 h 10245"/>
                  <a:gd name="connsiteX15" fmla="*/ 2137 w 10000"/>
                  <a:gd name="connsiteY15" fmla="*/ 3355 h 10245"/>
                  <a:gd name="connsiteX16" fmla="*/ 2020 w 10000"/>
                  <a:gd name="connsiteY16" fmla="*/ 3847 h 10245"/>
                  <a:gd name="connsiteX17" fmla="*/ 2003 w 10000"/>
                  <a:gd name="connsiteY17" fmla="*/ 4620 h 10245"/>
                  <a:gd name="connsiteX18" fmla="*/ 2087 w 10000"/>
                  <a:gd name="connsiteY18" fmla="*/ 5340 h 10245"/>
                  <a:gd name="connsiteX19" fmla="*/ 1620 w 10000"/>
                  <a:gd name="connsiteY19" fmla="*/ 5902 h 10245"/>
                  <a:gd name="connsiteX20" fmla="*/ 1669 w 10000"/>
                  <a:gd name="connsiteY20" fmla="*/ 6341 h 10245"/>
                  <a:gd name="connsiteX21" fmla="*/ 1419 w 10000"/>
                  <a:gd name="connsiteY21" fmla="*/ 6587 h 10245"/>
                  <a:gd name="connsiteX22" fmla="*/ 652 w 10000"/>
                  <a:gd name="connsiteY22" fmla="*/ 6569 h 10245"/>
                  <a:gd name="connsiteX23" fmla="*/ 0 w 10000"/>
                  <a:gd name="connsiteY23" fmla="*/ 6746 h 10245"/>
                  <a:gd name="connsiteX24" fmla="*/ 134 w 10000"/>
                  <a:gd name="connsiteY24" fmla="*/ 6780 h 10245"/>
                  <a:gd name="connsiteX25" fmla="*/ 768 w 10000"/>
                  <a:gd name="connsiteY25" fmla="*/ 7500 h 10245"/>
                  <a:gd name="connsiteX26" fmla="*/ 901 w 10000"/>
                  <a:gd name="connsiteY26" fmla="*/ 8080 h 10245"/>
                  <a:gd name="connsiteX27" fmla="*/ 234 w 10000"/>
                  <a:gd name="connsiteY27" fmla="*/ 7922 h 10245"/>
                  <a:gd name="connsiteX28" fmla="*/ 234 w 10000"/>
                  <a:gd name="connsiteY28" fmla="*/ 7957 h 10245"/>
                  <a:gd name="connsiteX29" fmla="*/ 601 w 10000"/>
                  <a:gd name="connsiteY29" fmla="*/ 8571 h 10245"/>
                  <a:gd name="connsiteX30" fmla="*/ 1219 w 10000"/>
                  <a:gd name="connsiteY30" fmla="*/ 8502 h 10245"/>
                  <a:gd name="connsiteX31" fmla="*/ 2003 w 10000"/>
                  <a:gd name="connsiteY31" fmla="*/ 8555 h 10245"/>
                  <a:gd name="connsiteX32" fmla="*/ 2504 w 10000"/>
                  <a:gd name="connsiteY32" fmla="*/ 8519 h 10245"/>
                  <a:gd name="connsiteX33" fmla="*/ 2938 w 10000"/>
                  <a:gd name="connsiteY33" fmla="*/ 9503 h 10245"/>
                  <a:gd name="connsiteX34" fmla="*/ 3005 w 10000"/>
                  <a:gd name="connsiteY34" fmla="*/ 9415 h 10245"/>
                  <a:gd name="connsiteX35" fmla="*/ 4038 w 10000"/>
                  <a:gd name="connsiteY35" fmla="*/ 10177 h 10245"/>
                  <a:gd name="connsiteX36" fmla="*/ 5118 w 10000"/>
                  <a:gd name="connsiteY36" fmla="*/ 10189 h 10245"/>
                  <a:gd name="connsiteX37" fmla="*/ 6310 w 10000"/>
                  <a:gd name="connsiteY37" fmla="*/ 9992 h 10245"/>
                  <a:gd name="connsiteX38" fmla="*/ 7446 w 10000"/>
                  <a:gd name="connsiteY38" fmla="*/ 9432 h 10245"/>
                  <a:gd name="connsiteX39" fmla="*/ 7596 w 10000"/>
                  <a:gd name="connsiteY39" fmla="*/ 9275 h 10245"/>
                  <a:gd name="connsiteX40" fmla="*/ 8064 w 10000"/>
                  <a:gd name="connsiteY40" fmla="*/ 9011 h 10245"/>
                  <a:gd name="connsiteX41" fmla="*/ 8464 w 10000"/>
                  <a:gd name="connsiteY41" fmla="*/ 8677 h 10245"/>
                  <a:gd name="connsiteX42" fmla="*/ 9183 w 10000"/>
                  <a:gd name="connsiteY42" fmla="*/ 8414 h 10245"/>
                  <a:gd name="connsiteX43" fmla="*/ 9984 w 10000"/>
                  <a:gd name="connsiteY43" fmla="*/ 6956 h 1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0000" h="10245">
                    <a:moveTo>
                      <a:pt x="9984" y="6956"/>
                    </a:moveTo>
                    <a:cubicBezTo>
                      <a:pt x="9850" y="6622"/>
                      <a:pt x="9550" y="6464"/>
                      <a:pt x="9533" y="6235"/>
                    </a:cubicBezTo>
                    <a:cubicBezTo>
                      <a:pt x="9516" y="6008"/>
                      <a:pt x="9450" y="5779"/>
                      <a:pt x="9416" y="5691"/>
                    </a:cubicBezTo>
                    <a:cubicBezTo>
                      <a:pt x="9383" y="5603"/>
                      <a:pt x="9316" y="3794"/>
                      <a:pt x="8932" y="3179"/>
                    </a:cubicBezTo>
                    <a:cubicBezTo>
                      <a:pt x="8932" y="3179"/>
                      <a:pt x="8932" y="2582"/>
                      <a:pt x="8831" y="2459"/>
                    </a:cubicBezTo>
                    <a:cubicBezTo>
                      <a:pt x="8731" y="2336"/>
                      <a:pt x="8998" y="2055"/>
                      <a:pt x="6879" y="773"/>
                    </a:cubicBezTo>
                    <a:cubicBezTo>
                      <a:pt x="6879" y="773"/>
                      <a:pt x="6545" y="175"/>
                      <a:pt x="6528" y="0"/>
                    </a:cubicBezTo>
                    <a:cubicBezTo>
                      <a:pt x="6528" y="0"/>
                      <a:pt x="6528" y="35"/>
                      <a:pt x="6428" y="159"/>
                    </a:cubicBezTo>
                    <a:cubicBezTo>
                      <a:pt x="6378" y="211"/>
                      <a:pt x="6294" y="281"/>
                      <a:pt x="6194" y="369"/>
                    </a:cubicBezTo>
                    <a:cubicBezTo>
                      <a:pt x="5844" y="668"/>
                      <a:pt x="5226" y="1195"/>
                      <a:pt x="5041" y="1300"/>
                    </a:cubicBezTo>
                    <a:cubicBezTo>
                      <a:pt x="5041" y="1300"/>
                      <a:pt x="4808" y="1247"/>
                      <a:pt x="4741" y="1124"/>
                    </a:cubicBezTo>
                    <a:cubicBezTo>
                      <a:pt x="4691" y="1036"/>
                      <a:pt x="4658" y="931"/>
                      <a:pt x="4625" y="861"/>
                    </a:cubicBezTo>
                    <a:lnTo>
                      <a:pt x="4625" y="808"/>
                    </a:lnTo>
                    <a:cubicBezTo>
                      <a:pt x="4625" y="808"/>
                      <a:pt x="4324" y="1054"/>
                      <a:pt x="4073" y="1177"/>
                    </a:cubicBezTo>
                    <a:cubicBezTo>
                      <a:pt x="3823" y="1300"/>
                      <a:pt x="2704" y="1809"/>
                      <a:pt x="2404" y="2336"/>
                    </a:cubicBezTo>
                    <a:cubicBezTo>
                      <a:pt x="2103" y="2863"/>
                      <a:pt x="2137" y="3355"/>
                      <a:pt x="2137" y="3355"/>
                    </a:cubicBezTo>
                    <a:cubicBezTo>
                      <a:pt x="2137" y="3355"/>
                      <a:pt x="2037" y="3636"/>
                      <a:pt x="2020" y="3847"/>
                    </a:cubicBezTo>
                    <a:cubicBezTo>
                      <a:pt x="2003" y="4058"/>
                      <a:pt x="1854" y="4374"/>
                      <a:pt x="2003" y="4620"/>
                    </a:cubicBezTo>
                    <a:cubicBezTo>
                      <a:pt x="2154" y="4865"/>
                      <a:pt x="2170" y="5287"/>
                      <a:pt x="2087" y="5340"/>
                    </a:cubicBezTo>
                    <a:cubicBezTo>
                      <a:pt x="2003" y="5392"/>
                      <a:pt x="1486" y="5691"/>
                      <a:pt x="1620" y="5902"/>
                    </a:cubicBezTo>
                    <a:cubicBezTo>
                      <a:pt x="1753" y="6113"/>
                      <a:pt x="1903" y="6201"/>
                      <a:pt x="1669" y="6341"/>
                    </a:cubicBezTo>
                    <a:cubicBezTo>
                      <a:pt x="1436" y="6482"/>
                      <a:pt x="1620" y="6640"/>
                      <a:pt x="1419" y="6587"/>
                    </a:cubicBezTo>
                    <a:cubicBezTo>
                      <a:pt x="1219" y="6535"/>
                      <a:pt x="901" y="6412"/>
                      <a:pt x="652" y="6569"/>
                    </a:cubicBezTo>
                    <a:cubicBezTo>
                      <a:pt x="401" y="6728"/>
                      <a:pt x="0" y="6746"/>
                      <a:pt x="0" y="6746"/>
                    </a:cubicBezTo>
                    <a:cubicBezTo>
                      <a:pt x="0" y="6746"/>
                      <a:pt x="51" y="6746"/>
                      <a:pt x="134" y="6780"/>
                    </a:cubicBezTo>
                    <a:cubicBezTo>
                      <a:pt x="300" y="6833"/>
                      <a:pt x="585" y="7008"/>
                      <a:pt x="768" y="7500"/>
                    </a:cubicBezTo>
                    <a:cubicBezTo>
                      <a:pt x="768" y="7500"/>
                      <a:pt x="1002" y="8028"/>
                      <a:pt x="901" y="8080"/>
                    </a:cubicBezTo>
                    <a:cubicBezTo>
                      <a:pt x="801" y="8133"/>
                      <a:pt x="234" y="7922"/>
                      <a:pt x="234" y="7922"/>
                    </a:cubicBezTo>
                    <a:lnTo>
                      <a:pt x="234" y="7957"/>
                    </a:lnTo>
                    <a:cubicBezTo>
                      <a:pt x="300" y="8062"/>
                      <a:pt x="534" y="8537"/>
                      <a:pt x="601" y="8571"/>
                    </a:cubicBezTo>
                    <a:cubicBezTo>
                      <a:pt x="668" y="8625"/>
                      <a:pt x="1002" y="8432"/>
                      <a:pt x="1219" y="8502"/>
                    </a:cubicBezTo>
                    <a:cubicBezTo>
                      <a:pt x="1436" y="8571"/>
                      <a:pt x="1620" y="8748"/>
                      <a:pt x="2003" y="8555"/>
                    </a:cubicBezTo>
                    <a:cubicBezTo>
                      <a:pt x="2388" y="8361"/>
                      <a:pt x="2454" y="8255"/>
                      <a:pt x="2504" y="8519"/>
                    </a:cubicBezTo>
                    <a:cubicBezTo>
                      <a:pt x="2537" y="8748"/>
                      <a:pt x="2688" y="9257"/>
                      <a:pt x="2938" y="9503"/>
                    </a:cubicBezTo>
                    <a:cubicBezTo>
                      <a:pt x="2971" y="9450"/>
                      <a:pt x="2822" y="9303"/>
                      <a:pt x="3005" y="9415"/>
                    </a:cubicBezTo>
                    <a:cubicBezTo>
                      <a:pt x="3188" y="9527"/>
                      <a:pt x="3686" y="10048"/>
                      <a:pt x="4038" y="10177"/>
                    </a:cubicBezTo>
                    <a:cubicBezTo>
                      <a:pt x="4390" y="10306"/>
                      <a:pt x="4739" y="10220"/>
                      <a:pt x="5118" y="10189"/>
                    </a:cubicBezTo>
                    <a:cubicBezTo>
                      <a:pt x="5497" y="10158"/>
                      <a:pt x="6143" y="10045"/>
                      <a:pt x="6310" y="9992"/>
                    </a:cubicBezTo>
                    <a:cubicBezTo>
                      <a:pt x="6444" y="9957"/>
                      <a:pt x="7195" y="9468"/>
                      <a:pt x="7446" y="9432"/>
                    </a:cubicBezTo>
                    <a:cubicBezTo>
                      <a:pt x="7496" y="9345"/>
                      <a:pt x="7547" y="9257"/>
                      <a:pt x="7596" y="9275"/>
                    </a:cubicBezTo>
                    <a:cubicBezTo>
                      <a:pt x="7696" y="9309"/>
                      <a:pt x="7880" y="9415"/>
                      <a:pt x="8064" y="9011"/>
                    </a:cubicBezTo>
                    <a:cubicBezTo>
                      <a:pt x="8248" y="8607"/>
                      <a:pt x="8281" y="8677"/>
                      <a:pt x="8464" y="8677"/>
                    </a:cubicBezTo>
                    <a:cubicBezTo>
                      <a:pt x="8648" y="8677"/>
                      <a:pt x="8965" y="8660"/>
                      <a:pt x="9183" y="8414"/>
                    </a:cubicBezTo>
                    <a:cubicBezTo>
                      <a:pt x="9399" y="8168"/>
                      <a:pt x="10117" y="7289"/>
                      <a:pt x="9984" y="6956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30633DBD-9ECB-4C5A-84BD-212892CA69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8923" y="2072139"/>
                <a:ext cx="358371" cy="749321"/>
              </a:xfrm>
              <a:custGeom>
                <a:avLst/>
                <a:gdLst>
                  <a:gd name="T0" fmla="*/ 21 w 107"/>
                  <a:gd name="T1" fmla="*/ 190 h 224"/>
                  <a:gd name="T2" fmla="*/ 21 w 107"/>
                  <a:gd name="T3" fmla="*/ 141 h 224"/>
                  <a:gd name="T4" fmla="*/ 4 w 107"/>
                  <a:gd name="T5" fmla="*/ 96 h 224"/>
                  <a:gd name="T6" fmla="*/ 9 w 107"/>
                  <a:gd name="T7" fmla="*/ 40 h 224"/>
                  <a:gd name="T8" fmla="*/ 22 w 107"/>
                  <a:gd name="T9" fmla="*/ 12 h 224"/>
                  <a:gd name="T10" fmla="*/ 30 w 107"/>
                  <a:gd name="T11" fmla="*/ 47 h 224"/>
                  <a:gd name="T12" fmla="*/ 38 w 107"/>
                  <a:gd name="T13" fmla="*/ 61 h 224"/>
                  <a:gd name="T14" fmla="*/ 69 w 107"/>
                  <a:gd name="T15" fmla="*/ 35 h 224"/>
                  <a:gd name="T16" fmla="*/ 82 w 107"/>
                  <a:gd name="T17" fmla="*/ 24 h 224"/>
                  <a:gd name="T18" fmla="*/ 83 w 107"/>
                  <a:gd name="T19" fmla="*/ 46 h 224"/>
                  <a:gd name="T20" fmla="*/ 102 w 107"/>
                  <a:gd name="T21" fmla="*/ 46 h 224"/>
                  <a:gd name="T22" fmla="*/ 90 w 107"/>
                  <a:gd name="T23" fmla="*/ 69 h 224"/>
                  <a:gd name="T24" fmla="*/ 95 w 107"/>
                  <a:gd name="T25" fmla="*/ 87 h 224"/>
                  <a:gd name="T26" fmla="*/ 77 w 107"/>
                  <a:gd name="T27" fmla="*/ 115 h 224"/>
                  <a:gd name="T28" fmla="*/ 72 w 107"/>
                  <a:gd name="T29" fmla="*/ 135 h 224"/>
                  <a:gd name="T30" fmla="*/ 86 w 107"/>
                  <a:gd name="T31" fmla="*/ 151 h 224"/>
                  <a:gd name="T32" fmla="*/ 71 w 107"/>
                  <a:gd name="T33" fmla="*/ 209 h 224"/>
                  <a:gd name="T34" fmla="*/ 32 w 107"/>
                  <a:gd name="T35" fmla="*/ 205 h 224"/>
                  <a:gd name="T36" fmla="*/ 21 w 107"/>
                  <a:gd name="T37" fmla="*/ 19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" h="224">
                    <a:moveTo>
                      <a:pt x="21" y="190"/>
                    </a:moveTo>
                    <a:cubicBezTo>
                      <a:pt x="21" y="190"/>
                      <a:pt x="23" y="144"/>
                      <a:pt x="21" y="141"/>
                    </a:cubicBezTo>
                    <a:cubicBezTo>
                      <a:pt x="19" y="138"/>
                      <a:pt x="0" y="115"/>
                      <a:pt x="4" y="96"/>
                    </a:cubicBezTo>
                    <a:cubicBezTo>
                      <a:pt x="4" y="96"/>
                      <a:pt x="9" y="47"/>
                      <a:pt x="9" y="40"/>
                    </a:cubicBezTo>
                    <a:cubicBezTo>
                      <a:pt x="9" y="33"/>
                      <a:pt x="10" y="0"/>
                      <a:pt x="22" y="12"/>
                    </a:cubicBezTo>
                    <a:cubicBezTo>
                      <a:pt x="34" y="24"/>
                      <a:pt x="30" y="47"/>
                      <a:pt x="30" y="47"/>
                    </a:cubicBezTo>
                    <a:cubicBezTo>
                      <a:pt x="30" y="47"/>
                      <a:pt x="25" y="67"/>
                      <a:pt x="38" y="61"/>
                    </a:cubicBezTo>
                    <a:cubicBezTo>
                      <a:pt x="51" y="55"/>
                      <a:pt x="66" y="40"/>
                      <a:pt x="69" y="35"/>
                    </a:cubicBezTo>
                    <a:cubicBezTo>
                      <a:pt x="72" y="30"/>
                      <a:pt x="78" y="18"/>
                      <a:pt x="82" y="24"/>
                    </a:cubicBezTo>
                    <a:cubicBezTo>
                      <a:pt x="86" y="30"/>
                      <a:pt x="93" y="35"/>
                      <a:pt x="83" y="46"/>
                    </a:cubicBezTo>
                    <a:cubicBezTo>
                      <a:pt x="73" y="57"/>
                      <a:pt x="103" y="32"/>
                      <a:pt x="102" y="46"/>
                    </a:cubicBezTo>
                    <a:cubicBezTo>
                      <a:pt x="101" y="60"/>
                      <a:pt x="94" y="64"/>
                      <a:pt x="90" y="69"/>
                    </a:cubicBezTo>
                    <a:cubicBezTo>
                      <a:pt x="86" y="74"/>
                      <a:pt x="107" y="66"/>
                      <a:pt x="95" y="87"/>
                    </a:cubicBezTo>
                    <a:cubicBezTo>
                      <a:pt x="83" y="108"/>
                      <a:pt x="77" y="111"/>
                      <a:pt x="77" y="115"/>
                    </a:cubicBezTo>
                    <a:cubicBezTo>
                      <a:pt x="77" y="115"/>
                      <a:pt x="76" y="130"/>
                      <a:pt x="72" y="135"/>
                    </a:cubicBezTo>
                    <a:cubicBezTo>
                      <a:pt x="68" y="140"/>
                      <a:pt x="85" y="145"/>
                      <a:pt x="86" y="151"/>
                    </a:cubicBezTo>
                    <a:cubicBezTo>
                      <a:pt x="87" y="157"/>
                      <a:pt x="83" y="194"/>
                      <a:pt x="71" y="209"/>
                    </a:cubicBezTo>
                    <a:cubicBezTo>
                      <a:pt x="59" y="224"/>
                      <a:pt x="34" y="212"/>
                      <a:pt x="32" y="205"/>
                    </a:cubicBezTo>
                    <a:cubicBezTo>
                      <a:pt x="30" y="198"/>
                      <a:pt x="21" y="190"/>
                      <a:pt x="21" y="190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BBC8D6EF-0716-4FE2-A6B8-15FA5B2D1A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45607" y="6269184"/>
                <a:ext cx="569427" cy="320126"/>
              </a:xfrm>
              <a:custGeom>
                <a:avLst/>
                <a:gdLst>
                  <a:gd name="T0" fmla="*/ 69 w 170"/>
                  <a:gd name="T1" fmla="*/ 3 h 96"/>
                  <a:gd name="T2" fmla="*/ 53 w 170"/>
                  <a:gd name="T3" fmla="*/ 0 h 96"/>
                  <a:gd name="T4" fmla="*/ 40 w 170"/>
                  <a:gd name="T5" fmla="*/ 19 h 96"/>
                  <a:gd name="T6" fmla="*/ 12 w 170"/>
                  <a:gd name="T7" fmla="*/ 69 h 96"/>
                  <a:gd name="T8" fmla="*/ 98 w 170"/>
                  <a:gd name="T9" fmla="*/ 91 h 96"/>
                  <a:gd name="T10" fmla="*/ 166 w 170"/>
                  <a:gd name="T11" fmla="*/ 64 h 96"/>
                  <a:gd name="T12" fmla="*/ 164 w 170"/>
                  <a:gd name="T13" fmla="*/ 9 h 96"/>
                  <a:gd name="T14" fmla="*/ 157 w 170"/>
                  <a:gd name="T15" fmla="*/ 2 h 96"/>
                  <a:gd name="T16" fmla="*/ 150 w 170"/>
                  <a:gd name="T17" fmla="*/ 3 h 96"/>
                  <a:gd name="T18" fmla="*/ 69 w 170"/>
                  <a:gd name="T19" fmla="*/ 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0" h="96">
                    <a:moveTo>
                      <a:pt x="69" y="3"/>
                    </a:moveTo>
                    <a:cubicBezTo>
                      <a:pt x="61" y="4"/>
                      <a:pt x="56" y="3"/>
                      <a:pt x="53" y="0"/>
                    </a:cubicBezTo>
                    <a:cubicBezTo>
                      <a:pt x="50" y="5"/>
                      <a:pt x="46" y="11"/>
                      <a:pt x="40" y="19"/>
                    </a:cubicBezTo>
                    <a:cubicBezTo>
                      <a:pt x="14" y="54"/>
                      <a:pt x="12" y="69"/>
                      <a:pt x="12" y="69"/>
                    </a:cubicBezTo>
                    <a:cubicBezTo>
                      <a:pt x="0" y="96"/>
                      <a:pt x="98" y="91"/>
                      <a:pt x="98" y="91"/>
                    </a:cubicBezTo>
                    <a:cubicBezTo>
                      <a:pt x="146" y="96"/>
                      <a:pt x="166" y="64"/>
                      <a:pt x="166" y="64"/>
                    </a:cubicBezTo>
                    <a:cubicBezTo>
                      <a:pt x="170" y="37"/>
                      <a:pt x="167" y="19"/>
                      <a:pt x="164" y="9"/>
                    </a:cubicBezTo>
                    <a:cubicBezTo>
                      <a:pt x="163" y="7"/>
                      <a:pt x="160" y="5"/>
                      <a:pt x="157" y="2"/>
                    </a:cubicBezTo>
                    <a:cubicBezTo>
                      <a:pt x="153" y="3"/>
                      <a:pt x="150" y="3"/>
                      <a:pt x="150" y="3"/>
                    </a:cubicBezTo>
                    <a:cubicBezTo>
                      <a:pt x="150" y="3"/>
                      <a:pt x="93" y="2"/>
                      <a:pt x="69" y="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8">
                <a:extLst>
                  <a:ext uri="{FF2B5EF4-FFF2-40B4-BE49-F238E27FC236}">
                    <a16:creationId xmlns:a16="http://schemas.microsoft.com/office/drawing/2014/main" id="{8C2BDF16-7FF2-40EC-9998-E6FA157004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9479" y="6111955"/>
                <a:ext cx="992957" cy="390950"/>
              </a:xfrm>
              <a:custGeom>
                <a:avLst/>
                <a:gdLst>
                  <a:gd name="T0" fmla="*/ 276 w 297"/>
                  <a:gd name="T1" fmla="*/ 45 h 117"/>
                  <a:gd name="T2" fmla="*/ 158 w 297"/>
                  <a:gd name="T3" fmla="*/ 20 h 117"/>
                  <a:gd name="T4" fmla="*/ 152 w 297"/>
                  <a:gd name="T5" fmla="*/ 9 h 117"/>
                  <a:gd name="T6" fmla="*/ 148 w 297"/>
                  <a:gd name="T7" fmla="*/ 14 h 117"/>
                  <a:gd name="T8" fmla="*/ 64 w 297"/>
                  <a:gd name="T9" fmla="*/ 46 h 117"/>
                  <a:gd name="T10" fmla="*/ 10 w 297"/>
                  <a:gd name="T11" fmla="*/ 82 h 117"/>
                  <a:gd name="T12" fmla="*/ 46 w 297"/>
                  <a:gd name="T13" fmla="*/ 106 h 117"/>
                  <a:gd name="T14" fmla="*/ 178 w 297"/>
                  <a:gd name="T15" fmla="*/ 105 h 117"/>
                  <a:gd name="T16" fmla="*/ 217 w 297"/>
                  <a:gd name="T17" fmla="*/ 95 h 117"/>
                  <a:gd name="T18" fmla="*/ 250 w 297"/>
                  <a:gd name="T19" fmla="*/ 103 h 117"/>
                  <a:gd name="T20" fmla="*/ 295 w 297"/>
                  <a:gd name="T21" fmla="*/ 64 h 117"/>
                  <a:gd name="T22" fmla="*/ 297 w 297"/>
                  <a:gd name="T23" fmla="*/ 0 h 117"/>
                  <a:gd name="T24" fmla="*/ 276 w 297"/>
                  <a:gd name="T25" fmla="*/ 4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7" h="117">
                    <a:moveTo>
                      <a:pt x="276" y="45"/>
                    </a:moveTo>
                    <a:cubicBezTo>
                      <a:pt x="247" y="68"/>
                      <a:pt x="169" y="37"/>
                      <a:pt x="158" y="20"/>
                    </a:cubicBezTo>
                    <a:cubicBezTo>
                      <a:pt x="155" y="16"/>
                      <a:pt x="153" y="12"/>
                      <a:pt x="152" y="9"/>
                    </a:cubicBezTo>
                    <a:cubicBezTo>
                      <a:pt x="150" y="10"/>
                      <a:pt x="149" y="12"/>
                      <a:pt x="148" y="14"/>
                    </a:cubicBezTo>
                    <a:cubicBezTo>
                      <a:pt x="143" y="21"/>
                      <a:pt x="99" y="38"/>
                      <a:pt x="64" y="46"/>
                    </a:cubicBezTo>
                    <a:cubicBezTo>
                      <a:pt x="29" y="54"/>
                      <a:pt x="0" y="68"/>
                      <a:pt x="10" y="82"/>
                    </a:cubicBezTo>
                    <a:cubicBezTo>
                      <a:pt x="20" y="96"/>
                      <a:pt x="17" y="96"/>
                      <a:pt x="46" y="106"/>
                    </a:cubicBezTo>
                    <a:cubicBezTo>
                      <a:pt x="46" y="106"/>
                      <a:pt x="156" y="117"/>
                      <a:pt x="178" y="105"/>
                    </a:cubicBezTo>
                    <a:cubicBezTo>
                      <a:pt x="200" y="93"/>
                      <a:pt x="214" y="95"/>
                      <a:pt x="217" y="95"/>
                    </a:cubicBezTo>
                    <a:cubicBezTo>
                      <a:pt x="220" y="95"/>
                      <a:pt x="224" y="105"/>
                      <a:pt x="250" y="103"/>
                    </a:cubicBezTo>
                    <a:cubicBezTo>
                      <a:pt x="276" y="101"/>
                      <a:pt x="294" y="86"/>
                      <a:pt x="295" y="64"/>
                    </a:cubicBezTo>
                    <a:cubicBezTo>
                      <a:pt x="296" y="43"/>
                      <a:pt x="297" y="7"/>
                      <a:pt x="297" y="0"/>
                    </a:cubicBezTo>
                    <a:cubicBezTo>
                      <a:pt x="295" y="13"/>
                      <a:pt x="294" y="30"/>
                      <a:pt x="276" y="45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9">
                <a:extLst>
                  <a:ext uri="{FF2B5EF4-FFF2-40B4-BE49-F238E27FC236}">
                    <a16:creationId xmlns:a16="http://schemas.microsoft.com/office/drawing/2014/main" id="{3D11BF57-6CC8-4C50-AF12-78056BD5B4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5721" y="3137337"/>
                <a:ext cx="1285798" cy="3171678"/>
              </a:xfrm>
              <a:custGeom>
                <a:avLst/>
                <a:gdLst>
                  <a:gd name="T0" fmla="*/ 366 w 388"/>
                  <a:gd name="T1" fmla="*/ 0 h 957"/>
                  <a:gd name="T2" fmla="*/ 361 w 388"/>
                  <a:gd name="T3" fmla="*/ 1 h 957"/>
                  <a:gd name="T4" fmla="*/ 288 w 388"/>
                  <a:gd name="T5" fmla="*/ 13 h 957"/>
                  <a:gd name="T6" fmla="*/ 224 w 388"/>
                  <a:gd name="T7" fmla="*/ 23 h 957"/>
                  <a:gd name="T8" fmla="*/ 168 w 388"/>
                  <a:gd name="T9" fmla="*/ 26 h 957"/>
                  <a:gd name="T10" fmla="*/ 95 w 388"/>
                  <a:gd name="T11" fmla="*/ 0 h 957"/>
                  <a:gd name="T12" fmla="*/ 91 w 388"/>
                  <a:gd name="T13" fmla="*/ 5 h 957"/>
                  <a:gd name="T14" fmla="*/ 77 w 388"/>
                  <a:gd name="T15" fmla="*/ 27 h 957"/>
                  <a:gd name="T16" fmla="*/ 56 w 388"/>
                  <a:gd name="T17" fmla="*/ 103 h 957"/>
                  <a:gd name="T18" fmla="*/ 44 w 388"/>
                  <a:gd name="T19" fmla="*/ 200 h 957"/>
                  <a:gd name="T20" fmla="*/ 29 w 388"/>
                  <a:gd name="T21" fmla="*/ 381 h 957"/>
                  <a:gd name="T22" fmla="*/ 22 w 388"/>
                  <a:gd name="T23" fmla="*/ 529 h 957"/>
                  <a:gd name="T24" fmla="*/ 18 w 388"/>
                  <a:gd name="T25" fmla="*/ 674 h 957"/>
                  <a:gd name="T26" fmla="*/ 38 w 388"/>
                  <a:gd name="T27" fmla="*/ 815 h 957"/>
                  <a:gd name="T28" fmla="*/ 5 w 388"/>
                  <a:gd name="T29" fmla="*/ 858 h 957"/>
                  <a:gd name="T30" fmla="*/ 2 w 388"/>
                  <a:gd name="T31" fmla="*/ 898 h 957"/>
                  <a:gd name="T32" fmla="*/ 8 w 388"/>
                  <a:gd name="T33" fmla="*/ 909 h 957"/>
                  <a:gd name="T34" fmla="*/ 126 w 388"/>
                  <a:gd name="T35" fmla="*/ 934 h 957"/>
                  <a:gd name="T36" fmla="*/ 147 w 388"/>
                  <a:gd name="T37" fmla="*/ 889 h 957"/>
                  <a:gd name="T38" fmla="*/ 152 w 388"/>
                  <a:gd name="T39" fmla="*/ 873 h 957"/>
                  <a:gd name="T40" fmla="*/ 168 w 388"/>
                  <a:gd name="T41" fmla="*/ 767 h 957"/>
                  <a:gd name="T42" fmla="*/ 166 w 388"/>
                  <a:gd name="T43" fmla="*/ 663 h 957"/>
                  <a:gd name="T44" fmla="*/ 161 w 388"/>
                  <a:gd name="T45" fmla="*/ 537 h 957"/>
                  <a:gd name="T46" fmla="*/ 178 w 388"/>
                  <a:gd name="T47" fmla="*/ 477 h 957"/>
                  <a:gd name="T48" fmla="*/ 186 w 388"/>
                  <a:gd name="T49" fmla="*/ 408 h 957"/>
                  <a:gd name="T50" fmla="*/ 205 w 388"/>
                  <a:gd name="T51" fmla="*/ 359 h 957"/>
                  <a:gd name="T52" fmla="*/ 210 w 388"/>
                  <a:gd name="T53" fmla="*/ 431 h 957"/>
                  <a:gd name="T54" fmla="*/ 229 w 388"/>
                  <a:gd name="T55" fmla="*/ 496 h 957"/>
                  <a:gd name="T56" fmla="*/ 209 w 388"/>
                  <a:gd name="T57" fmla="*/ 541 h 957"/>
                  <a:gd name="T58" fmla="*/ 188 w 388"/>
                  <a:gd name="T59" fmla="*/ 673 h 957"/>
                  <a:gd name="T60" fmla="*/ 173 w 388"/>
                  <a:gd name="T61" fmla="*/ 777 h 957"/>
                  <a:gd name="T62" fmla="*/ 180 w 388"/>
                  <a:gd name="T63" fmla="*/ 854 h 957"/>
                  <a:gd name="T64" fmla="*/ 187 w 388"/>
                  <a:gd name="T65" fmla="*/ 907 h 957"/>
                  <a:gd name="T66" fmla="*/ 189 w 388"/>
                  <a:gd name="T67" fmla="*/ 936 h 957"/>
                  <a:gd name="T68" fmla="*/ 205 w 388"/>
                  <a:gd name="T69" fmla="*/ 939 h 957"/>
                  <a:gd name="T70" fmla="*/ 286 w 388"/>
                  <a:gd name="T71" fmla="*/ 939 h 957"/>
                  <a:gd name="T72" fmla="*/ 293 w 388"/>
                  <a:gd name="T73" fmla="*/ 938 h 957"/>
                  <a:gd name="T74" fmla="*/ 318 w 388"/>
                  <a:gd name="T75" fmla="*/ 923 h 957"/>
                  <a:gd name="T76" fmla="*/ 321 w 388"/>
                  <a:gd name="T77" fmla="*/ 866 h 957"/>
                  <a:gd name="T78" fmla="*/ 328 w 388"/>
                  <a:gd name="T79" fmla="*/ 845 h 957"/>
                  <a:gd name="T80" fmla="*/ 322 w 388"/>
                  <a:gd name="T81" fmla="*/ 762 h 957"/>
                  <a:gd name="T82" fmla="*/ 339 w 388"/>
                  <a:gd name="T83" fmla="*/ 700 h 957"/>
                  <a:gd name="T84" fmla="*/ 354 w 388"/>
                  <a:gd name="T85" fmla="*/ 608 h 957"/>
                  <a:gd name="T86" fmla="*/ 365 w 388"/>
                  <a:gd name="T87" fmla="*/ 493 h 957"/>
                  <a:gd name="T88" fmla="*/ 385 w 388"/>
                  <a:gd name="T89" fmla="*/ 215 h 957"/>
                  <a:gd name="T90" fmla="*/ 366 w 388"/>
                  <a:gd name="T91" fmla="*/ 0 h 957"/>
                  <a:gd name="connsiteX0" fmla="*/ 9396 w 9899"/>
                  <a:gd name="connsiteY0" fmla="*/ 0 h 9876"/>
                  <a:gd name="connsiteX1" fmla="*/ 9267 w 9899"/>
                  <a:gd name="connsiteY1" fmla="*/ 10 h 9876"/>
                  <a:gd name="connsiteX2" fmla="*/ 7386 w 9899"/>
                  <a:gd name="connsiteY2" fmla="*/ 136 h 9876"/>
                  <a:gd name="connsiteX3" fmla="*/ 5736 w 9899"/>
                  <a:gd name="connsiteY3" fmla="*/ 240 h 9876"/>
                  <a:gd name="connsiteX4" fmla="*/ 4293 w 9899"/>
                  <a:gd name="connsiteY4" fmla="*/ 272 h 9876"/>
                  <a:gd name="connsiteX5" fmla="*/ 2411 w 9899"/>
                  <a:gd name="connsiteY5" fmla="*/ 0 h 9876"/>
                  <a:gd name="connsiteX6" fmla="*/ 2308 w 9899"/>
                  <a:gd name="connsiteY6" fmla="*/ 52 h 9876"/>
                  <a:gd name="connsiteX7" fmla="*/ 1948 w 9899"/>
                  <a:gd name="connsiteY7" fmla="*/ 282 h 9876"/>
                  <a:gd name="connsiteX8" fmla="*/ 1406 w 9899"/>
                  <a:gd name="connsiteY8" fmla="*/ 1076 h 9876"/>
                  <a:gd name="connsiteX9" fmla="*/ 1097 w 9899"/>
                  <a:gd name="connsiteY9" fmla="*/ 2090 h 9876"/>
                  <a:gd name="connsiteX10" fmla="*/ 710 w 9899"/>
                  <a:gd name="connsiteY10" fmla="*/ 3981 h 9876"/>
                  <a:gd name="connsiteX11" fmla="*/ 530 w 9899"/>
                  <a:gd name="connsiteY11" fmla="*/ 5528 h 9876"/>
                  <a:gd name="connsiteX12" fmla="*/ 427 w 9899"/>
                  <a:gd name="connsiteY12" fmla="*/ 7043 h 9876"/>
                  <a:gd name="connsiteX13" fmla="*/ 942 w 9899"/>
                  <a:gd name="connsiteY13" fmla="*/ 8516 h 9876"/>
                  <a:gd name="connsiteX14" fmla="*/ 92 w 9899"/>
                  <a:gd name="connsiteY14" fmla="*/ 8966 h 9876"/>
                  <a:gd name="connsiteX15" fmla="*/ 15 w 9899"/>
                  <a:gd name="connsiteY15" fmla="*/ 9383 h 9876"/>
                  <a:gd name="connsiteX16" fmla="*/ 169 w 9899"/>
                  <a:gd name="connsiteY16" fmla="*/ 9498 h 9876"/>
                  <a:gd name="connsiteX17" fmla="*/ 3320 w 9899"/>
                  <a:gd name="connsiteY17" fmla="*/ 9797 h 9876"/>
                  <a:gd name="connsiteX18" fmla="*/ 3752 w 9899"/>
                  <a:gd name="connsiteY18" fmla="*/ 9289 h 9876"/>
                  <a:gd name="connsiteX19" fmla="*/ 3881 w 9899"/>
                  <a:gd name="connsiteY19" fmla="*/ 9122 h 9876"/>
                  <a:gd name="connsiteX20" fmla="*/ 4293 w 9899"/>
                  <a:gd name="connsiteY20" fmla="*/ 8015 h 9876"/>
                  <a:gd name="connsiteX21" fmla="*/ 4241 w 9899"/>
                  <a:gd name="connsiteY21" fmla="*/ 6928 h 9876"/>
                  <a:gd name="connsiteX22" fmla="*/ 4112 w 9899"/>
                  <a:gd name="connsiteY22" fmla="*/ 5611 h 9876"/>
                  <a:gd name="connsiteX23" fmla="*/ 4551 w 9899"/>
                  <a:gd name="connsiteY23" fmla="*/ 4984 h 9876"/>
                  <a:gd name="connsiteX24" fmla="*/ 4757 w 9899"/>
                  <a:gd name="connsiteY24" fmla="*/ 4263 h 9876"/>
                  <a:gd name="connsiteX25" fmla="*/ 5247 w 9899"/>
                  <a:gd name="connsiteY25" fmla="*/ 3751 h 9876"/>
                  <a:gd name="connsiteX26" fmla="*/ 5375 w 9899"/>
                  <a:gd name="connsiteY26" fmla="*/ 4504 h 9876"/>
                  <a:gd name="connsiteX27" fmla="*/ 5865 w 9899"/>
                  <a:gd name="connsiteY27" fmla="*/ 5183 h 9876"/>
                  <a:gd name="connsiteX28" fmla="*/ 5350 w 9899"/>
                  <a:gd name="connsiteY28" fmla="*/ 5653 h 9876"/>
                  <a:gd name="connsiteX29" fmla="*/ 4808 w 9899"/>
                  <a:gd name="connsiteY29" fmla="*/ 7032 h 9876"/>
                  <a:gd name="connsiteX30" fmla="*/ 4422 w 9899"/>
                  <a:gd name="connsiteY30" fmla="*/ 8119 h 9876"/>
                  <a:gd name="connsiteX31" fmla="*/ 4602 w 9899"/>
                  <a:gd name="connsiteY31" fmla="*/ 8924 h 9876"/>
                  <a:gd name="connsiteX32" fmla="*/ 4783 w 9899"/>
                  <a:gd name="connsiteY32" fmla="*/ 9478 h 9876"/>
                  <a:gd name="connsiteX33" fmla="*/ 4834 w 9899"/>
                  <a:gd name="connsiteY33" fmla="*/ 9781 h 9876"/>
                  <a:gd name="connsiteX34" fmla="*/ 5247 w 9899"/>
                  <a:gd name="connsiteY34" fmla="*/ 9812 h 9876"/>
                  <a:gd name="connsiteX35" fmla="*/ 7334 w 9899"/>
                  <a:gd name="connsiteY35" fmla="*/ 9812 h 9876"/>
                  <a:gd name="connsiteX36" fmla="*/ 7515 w 9899"/>
                  <a:gd name="connsiteY36" fmla="*/ 9801 h 9876"/>
                  <a:gd name="connsiteX37" fmla="*/ 8159 w 9899"/>
                  <a:gd name="connsiteY37" fmla="*/ 9645 h 9876"/>
                  <a:gd name="connsiteX38" fmla="*/ 8236 w 9899"/>
                  <a:gd name="connsiteY38" fmla="*/ 9049 h 9876"/>
                  <a:gd name="connsiteX39" fmla="*/ 8417 w 9899"/>
                  <a:gd name="connsiteY39" fmla="*/ 8830 h 9876"/>
                  <a:gd name="connsiteX40" fmla="*/ 8262 w 9899"/>
                  <a:gd name="connsiteY40" fmla="*/ 7962 h 9876"/>
                  <a:gd name="connsiteX41" fmla="*/ 8700 w 9899"/>
                  <a:gd name="connsiteY41" fmla="*/ 7315 h 9876"/>
                  <a:gd name="connsiteX42" fmla="*/ 9087 w 9899"/>
                  <a:gd name="connsiteY42" fmla="*/ 6353 h 9876"/>
                  <a:gd name="connsiteX43" fmla="*/ 9370 w 9899"/>
                  <a:gd name="connsiteY43" fmla="*/ 5152 h 9876"/>
                  <a:gd name="connsiteX44" fmla="*/ 9886 w 9899"/>
                  <a:gd name="connsiteY44" fmla="*/ 2247 h 9876"/>
                  <a:gd name="connsiteX45" fmla="*/ 9396 w 9899"/>
                  <a:gd name="connsiteY45" fmla="*/ 0 h 9876"/>
                  <a:gd name="connsiteX0" fmla="*/ 9492 w 10000"/>
                  <a:gd name="connsiteY0" fmla="*/ 0 h 10010"/>
                  <a:gd name="connsiteX1" fmla="*/ 9362 w 10000"/>
                  <a:gd name="connsiteY1" fmla="*/ 10 h 10010"/>
                  <a:gd name="connsiteX2" fmla="*/ 7461 w 10000"/>
                  <a:gd name="connsiteY2" fmla="*/ 138 h 10010"/>
                  <a:gd name="connsiteX3" fmla="*/ 5795 w 10000"/>
                  <a:gd name="connsiteY3" fmla="*/ 243 h 10010"/>
                  <a:gd name="connsiteX4" fmla="*/ 4337 w 10000"/>
                  <a:gd name="connsiteY4" fmla="*/ 275 h 10010"/>
                  <a:gd name="connsiteX5" fmla="*/ 2436 w 10000"/>
                  <a:gd name="connsiteY5" fmla="*/ 0 h 10010"/>
                  <a:gd name="connsiteX6" fmla="*/ 2332 w 10000"/>
                  <a:gd name="connsiteY6" fmla="*/ 53 h 10010"/>
                  <a:gd name="connsiteX7" fmla="*/ 1968 w 10000"/>
                  <a:gd name="connsiteY7" fmla="*/ 286 h 10010"/>
                  <a:gd name="connsiteX8" fmla="*/ 1420 w 10000"/>
                  <a:gd name="connsiteY8" fmla="*/ 1090 h 10010"/>
                  <a:gd name="connsiteX9" fmla="*/ 1108 w 10000"/>
                  <a:gd name="connsiteY9" fmla="*/ 2116 h 10010"/>
                  <a:gd name="connsiteX10" fmla="*/ 717 w 10000"/>
                  <a:gd name="connsiteY10" fmla="*/ 4031 h 10010"/>
                  <a:gd name="connsiteX11" fmla="*/ 535 w 10000"/>
                  <a:gd name="connsiteY11" fmla="*/ 5597 h 10010"/>
                  <a:gd name="connsiteX12" fmla="*/ 431 w 10000"/>
                  <a:gd name="connsiteY12" fmla="*/ 7131 h 10010"/>
                  <a:gd name="connsiteX13" fmla="*/ 952 w 10000"/>
                  <a:gd name="connsiteY13" fmla="*/ 8623 h 10010"/>
                  <a:gd name="connsiteX14" fmla="*/ 93 w 10000"/>
                  <a:gd name="connsiteY14" fmla="*/ 9079 h 10010"/>
                  <a:gd name="connsiteX15" fmla="*/ 15 w 10000"/>
                  <a:gd name="connsiteY15" fmla="*/ 9501 h 10010"/>
                  <a:gd name="connsiteX16" fmla="*/ 97 w 10000"/>
                  <a:gd name="connsiteY16" fmla="*/ 9677 h 10010"/>
                  <a:gd name="connsiteX17" fmla="*/ 3354 w 10000"/>
                  <a:gd name="connsiteY17" fmla="*/ 9920 h 10010"/>
                  <a:gd name="connsiteX18" fmla="*/ 3790 w 10000"/>
                  <a:gd name="connsiteY18" fmla="*/ 9406 h 10010"/>
                  <a:gd name="connsiteX19" fmla="*/ 3921 w 10000"/>
                  <a:gd name="connsiteY19" fmla="*/ 9237 h 10010"/>
                  <a:gd name="connsiteX20" fmla="*/ 4337 w 10000"/>
                  <a:gd name="connsiteY20" fmla="*/ 8116 h 10010"/>
                  <a:gd name="connsiteX21" fmla="*/ 4284 w 10000"/>
                  <a:gd name="connsiteY21" fmla="*/ 7015 h 10010"/>
                  <a:gd name="connsiteX22" fmla="*/ 4154 w 10000"/>
                  <a:gd name="connsiteY22" fmla="*/ 5681 h 10010"/>
                  <a:gd name="connsiteX23" fmla="*/ 4597 w 10000"/>
                  <a:gd name="connsiteY23" fmla="*/ 5047 h 10010"/>
                  <a:gd name="connsiteX24" fmla="*/ 4806 w 10000"/>
                  <a:gd name="connsiteY24" fmla="*/ 4317 h 10010"/>
                  <a:gd name="connsiteX25" fmla="*/ 5301 w 10000"/>
                  <a:gd name="connsiteY25" fmla="*/ 3798 h 10010"/>
                  <a:gd name="connsiteX26" fmla="*/ 5430 w 10000"/>
                  <a:gd name="connsiteY26" fmla="*/ 4561 h 10010"/>
                  <a:gd name="connsiteX27" fmla="*/ 5925 w 10000"/>
                  <a:gd name="connsiteY27" fmla="*/ 5248 h 10010"/>
                  <a:gd name="connsiteX28" fmla="*/ 5405 w 10000"/>
                  <a:gd name="connsiteY28" fmla="*/ 5724 h 10010"/>
                  <a:gd name="connsiteX29" fmla="*/ 4857 w 10000"/>
                  <a:gd name="connsiteY29" fmla="*/ 7120 h 10010"/>
                  <a:gd name="connsiteX30" fmla="*/ 4467 w 10000"/>
                  <a:gd name="connsiteY30" fmla="*/ 8221 h 10010"/>
                  <a:gd name="connsiteX31" fmla="*/ 4649 w 10000"/>
                  <a:gd name="connsiteY31" fmla="*/ 9036 h 10010"/>
                  <a:gd name="connsiteX32" fmla="*/ 4832 w 10000"/>
                  <a:gd name="connsiteY32" fmla="*/ 9597 h 10010"/>
                  <a:gd name="connsiteX33" fmla="*/ 4883 w 10000"/>
                  <a:gd name="connsiteY33" fmla="*/ 9904 h 10010"/>
                  <a:gd name="connsiteX34" fmla="*/ 5301 w 10000"/>
                  <a:gd name="connsiteY34" fmla="*/ 9935 h 10010"/>
                  <a:gd name="connsiteX35" fmla="*/ 7409 w 10000"/>
                  <a:gd name="connsiteY35" fmla="*/ 9935 h 10010"/>
                  <a:gd name="connsiteX36" fmla="*/ 7592 w 10000"/>
                  <a:gd name="connsiteY36" fmla="*/ 9924 h 10010"/>
                  <a:gd name="connsiteX37" fmla="*/ 8242 w 10000"/>
                  <a:gd name="connsiteY37" fmla="*/ 9766 h 10010"/>
                  <a:gd name="connsiteX38" fmla="*/ 8320 w 10000"/>
                  <a:gd name="connsiteY38" fmla="*/ 9163 h 10010"/>
                  <a:gd name="connsiteX39" fmla="*/ 8503 w 10000"/>
                  <a:gd name="connsiteY39" fmla="*/ 8941 h 10010"/>
                  <a:gd name="connsiteX40" fmla="*/ 8346 w 10000"/>
                  <a:gd name="connsiteY40" fmla="*/ 8062 h 10010"/>
                  <a:gd name="connsiteX41" fmla="*/ 8789 w 10000"/>
                  <a:gd name="connsiteY41" fmla="*/ 7407 h 10010"/>
                  <a:gd name="connsiteX42" fmla="*/ 9180 w 10000"/>
                  <a:gd name="connsiteY42" fmla="*/ 6433 h 10010"/>
                  <a:gd name="connsiteX43" fmla="*/ 9466 w 10000"/>
                  <a:gd name="connsiteY43" fmla="*/ 5217 h 10010"/>
                  <a:gd name="connsiteX44" fmla="*/ 9987 w 10000"/>
                  <a:gd name="connsiteY44" fmla="*/ 2275 h 10010"/>
                  <a:gd name="connsiteX45" fmla="*/ 9492 w 10000"/>
                  <a:gd name="connsiteY45" fmla="*/ 0 h 10010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35 h 10032"/>
                  <a:gd name="connsiteX35" fmla="*/ 7409 w 10000"/>
                  <a:gd name="connsiteY35" fmla="*/ 9935 h 10032"/>
                  <a:gd name="connsiteX36" fmla="*/ 7592 w 10000"/>
                  <a:gd name="connsiteY36" fmla="*/ 9924 h 10032"/>
                  <a:gd name="connsiteX37" fmla="*/ 8242 w 10000"/>
                  <a:gd name="connsiteY37" fmla="*/ 9766 h 10032"/>
                  <a:gd name="connsiteX38" fmla="*/ 8320 w 10000"/>
                  <a:gd name="connsiteY38" fmla="*/ 9163 h 10032"/>
                  <a:gd name="connsiteX39" fmla="*/ 8503 w 10000"/>
                  <a:gd name="connsiteY39" fmla="*/ 8941 h 10032"/>
                  <a:gd name="connsiteX40" fmla="*/ 8346 w 10000"/>
                  <a:gd name="connsiteY40" fmla="*/ 8062 h 10032"/>
                  <a:gd name="connsiteX41" fmla="*/ 8789 w 10000"/>
                  <a:gd name="connsiteY41" fmla="*/ 7407 h 10032"/>
                  <a:gd name="connsiteX42" fmla="*/ 9180 w 10000"/>
                  <a:gd name="connsiteY42" fmla="*/ 6433 h 10032"/>
                  <a:gd name="connsiteX43" fmla="*/ 9466 w 10000"/>
                  <a:gd name="connsiteY43" fmla="*/ 5217 h 10032"/>
                  <a:gd name="connsiteX44" fmla="*/ 9987 w 10000"/>
                  <a:gd name="connsiteY44" fmla="*/ 2275 h 10032"/>
                  <a:gd name="connsiteX45" fmla="*/ 9492 w 10000"/>
                  <a:gd name="connsiteY45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409 w 10000"/>
                  <a:gd name="connsiteY35" fmla="*/ 9935 h 10032"/>
                  <a:gd name="connsiteX36" fmla="*/ 7592 w 10000"/>
                  <a:gd name="connsiteY36" fmla="*/ 9924 h 10032"/>
                  <a:gd name="connsiteX37" fmla="*/ 8242 w 10000"/>
                  <a:gd name="connsiteY37" fmla="*/ 9766 h 10032"/>
                  <a:gd name="connsiteX38" fmla="*/ 8320 w 10000"/>
                  <a:gd name="connsiteY38" fmla="*/ 9163 h 10032"/>
                  <a:gd name="connsiteX39" fmla="*/ 8503 w 10000"/>
                  <a:gd name="connsiteY39" fmla="*/ 8941 h 10032"/>
                  <a:gd name="connsiteX40" fmla="*/ 8346 w 10000"/>
                  <a:gd name="connsiteY40" fmla="*/ 8062 h 10032"/>
                  <a:gd name="connsiteX41" fmla="*/ 8789 w 10000"/>
                  <a:gd name="connsiteY41" fmla="*/ 7407 h 10032"/>
                  <a:gd name="connsiteX42" fmla="*/ 9180 w 10000"/>
                  <a:gd name="connsiteY42" fmla="*/ 6433 h 10032"/>
                  <a:gd name="connsiteX43" fmla="*/ 9466 w 10000"/>
                  <a:gd name="connsiteY43" fmla="*/ 5217 h 10032"/>
                  <a:gd name="connsiteX44" fmla="*/ 9987 w 10000"/>
                  <a:gd name="connsiteY44" fmla="*/ 2275 h 10032"/>
                  <a:gd name="connsiteX45" fmla="*/ 9492 w 10000"/>
                  <a:gd name="connsiteY45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313 w 10000"/>
                  <a:gd name="connsiteY35" fmla="*/ 9991 h 10032"/>
                  <a:gd name="connsiteX36" fmla="*/ 7409 w 10000"/>
                  <a:gd name="connsiteY36" fmla="*/ 9935 h 10032"/>
                  <a:gd name="connsiteX37" fmla="*/ 7592 w 10000"/>
                  <a:gd name="connsiteY37" fmla="*/ 9924 h 10032"/>
                  <a:gd name="connsiteX38" fmla="*/ 8242 w 10000"/>
                  <a:gd name="connsiteY38" fmla="*/ 9766 h 10032"/>
                  <a:gd name="connsiteX39" fmla="*/ 8320 w 10000"/>
                  <a:gd name="connsiteY39" fmla="*/ 9163 h 10032"/>
                  <a:gd name="connsiteX40" fmla="*/ 8503 w 10000"/>
                  <a:gd name="connsiteY40" fmla="*/ 8941 h 10032"/>
                  <a:gd name="connsiteX41" fmla="*/ 8346 w 10000"/>
                  <a:gd name="connsiteY41" fmla="*/ 8062 h 10032"/>
                  <a:gd name="connsiteX42" fmla="*/ 8789 w 10000"/>
                  <a:gd name="connsiteY42" fmla="*/ 7407 h 10032"/>
                  <a:gd name="connsiteX43" fmla="*/ 9180 w 10000"/>
                  <a:gd name="connsiteY43" fmla="*/ 6433 h 10032"/>
                  <a:gd name="connsiteX44" fmla="*/ 9466 w 10000"/>
                  <a:gd name="connsiteY44" fmla="*/ 5217 h 10032"/>
                  <a:gd name="connsiteX45" fmla="*/ 9987 w 10000"/>
                  <a:gd name="connsiteY45" fmla="*/ 2275 h 10032"/>
                  <a:gd name="connsiteX46" fmla="*/ 9492 w 10000"/>
                  <a:gd name="connsiteY46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313 w 10000"/>
                  <a:gd name="connsiteY35" fmla="*/ 9991 h 10032"/>
                  <a:gd name="connsiteX36" fmla="*/ 7520 w 10000"/>
                  <a:gd name="connsiteY36" fmla="*/ 9995 h 10032"/>
                  <a:gd name="connsiteX37" fmla="*/ 7592 w 10000"/>
                  <a:gd name="connsiteY37" fmla="*/ 9924 h 10032"/>
                  <a:gd name="connsiteX38" fmla="*/ 8242 w 10000"/>
                  <a:gd name="connsiteY38" fmla="*/ 9766 h 10032"/>
                  <a:gd name="connsiteX39" fmla="*/ 8320 w 10000"/>
                  <a:gd name="connsiteY39" fmla="*/ 9163 h 10032"/>
                  <a:gd name="connsiteX40" fmla="*/ 8503 w 10000"/>
                  <a:gd name="connsiteY40" fmla="*/ 8941 h 10032"/>
                  <a:gd name="connsiteX41" fmla="*/ 8346 w 10000"/>
                  <a:gd name="connsiteY41" fmla="*/ 8062 h 10032"/>
                  <a:gd name="connsiteX42" fmla="*/ 8789 w 10000"/>
                  <a:gd name="connsiteY42" fmla="*/ 7407 h 10032"/>
                  <a:gd name="connsiteX43" fmla="*/ 9180 w 10000"/>
                  <a:gd name="connsiteY43" fmla="*/ 6433 h 10032"/>
                  <a:gd name="connsiteX44" fmla="*/ 9466 w 10000"/>
                  <a:gd name="connsiteY44" fmla="*/ 5217 h 10032"/>
                  <a:gd name="connsiteX45" fmla="*/ 9987 w 10000"/>
                  <a:gd name="connsiteY45" fmla="*/ 2275 h 10032"/>
                  <a:gd name="connsiteX46" fmla="*/ 9492 w 10000"/>
                  <a:gd name="connsiteY46" fmla="*/ 0 h 10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0000" h="10032">
                    <a:moveTo>
                      <a:pt x="9492" y="0"/>
                    </a:moveTo>
                    <a:cubicBezTo>
                      <a:pt x="9492" y="0"/>
                      <a:pt x="9439" y="0"/>
                      <a:pt x="9362" y="10"/>
                    </a:cubicBezTo>
                    <a:cubicBezTo>
                      <a:pt x="8972" y="31"/>
                      <a:pt x="7669" y="116"/>
                      <a:pt x="7461" y="138"/>
                    </a:cubicBezTo>
                    <a:cubicBezTo>
                      <a:pt x="7201" y="169"/>
                      <a:pt x="5925" y="243"/>
                      <a:pt x="5795" y="243"/>
                    </a:cubicBezTo>
                    <a:cubicBezTo>
                      <a:pt x="5664" y="243"/>
                      <a:pt x="4623" y="297"/>
                      <a:pt x="4337" y="275"/>
                    </a:cubicBezTo>
                    <a:cubicBezTo>
                      <a:pt x="4050" y="254"/>
                      <a:pt x="2800" y="64"/>
                      <a:pt x="2436" y="0"/>
                    </a:cubicBezTo>
                    <a:cubicBezTo>
                      <a:pt x="2436" y="0"/>
                      <a:pt x="2384" y="21"/>
                      <a:pt x="2332" y="53"/>
                    </a:cubicBezTo>
                    <a:cubicBezTo>
                      <a:pt x="2201" y="116"/>
                      <a:pt x="2019" y="222"/>
                      <a:pt x="1968" y="286"/>
                    </a:cubicBezTo>
                    <a:cubicBezTo>
                      <a:pt x="1863" y="392"/>
                      <a:pt x="1343" y="920"/>
                      <a:pt x="1420" y="1090"/>
                    </a:cubicBezTo>
                    <a:cubicBezTo>
                      <a:pt x="1499" y="1259"/>
                      <a:pt x="1161" y="2010"/>
                      <a:pt x="1108" y="2116"/>
                    </a:cubicBezTo>
                    <a:cubicBezTo>
                      <a:pt x="1056" y="2222"/>
                      <a:pt x="744" y="3904"/>
                      <a:pt x="717" y="4031"/>
                    </a:cubicBezTo>
                    <a:cubicBezTo>
                      <a:pt x="692" y="4159"/>
                      <a:pt x="639" y="5502"/>
                      <a:pt x="535" y="5597"/>
                    </a:cubicBezTo>
                    <a:cubicBezTo>
                      <a:pt x="431" y="5693"/>
                      <a:pt x="67" y="6697"/>
                      <a:pt x="431" y="7131"/>
                    </a:cubicBezTo>
                    <a:cubicBezTo>
                      <a:pt x="796" y="7565"/>
                      <a:pt x="1186" y="8401"/>
                      <a:pt x="952" y="8623"/>
                    </a:cubicBezTo>
                    <a:cubicBezTo>
                      <a:pt x="717" y="8846"/>
                      <a:pt x="119" y="8761"/>
                      <a:pt x="93" y="9079"/>
                    </a:cubicBezTo>
                    <a:cubicBezTo>
                      <a:pt x="67" y="9310"/>
                      <a:pt x="-37" y="9396"/>
                      <a:pt x="15" y="9501"/>
                    </a:cubicBezTo>
                    <a:cubicBezTo>
                      <a:pt x="40" y="9533"/>
                      <a:pt x="19" y="9636"/>
                      <a:pt x="97" y="9677"/>
                    </a:cubicBezTo>
                    <a:cubicBezTo>
                      <a:pt x="940" y="9978"/>
                      <a:pt x="2599" y="10163"/>
                      <a:pt x="3354" y="9920"/>
                    </a:cubicBezTo>
                    <a:cubicBezTo>
                      <a:pt x="3823" y="9761"/>
                      <a:pt x="3738" y="9543"/>
                      <a:pt x="3790" y="9406"/>
                    </a:cubicBezTo>
                    <a:cubicBezTo>
                      <a:pt x="3790" y="9332"/>
                      <a:pt x="3816" y="9269"/>
                      <a:pt x="3921" y="9237"/>
                    </a:cubicBezTo>
                    <a:cubicBezTo>
                      <a:pt x="4180" y="9152"/>
                      <a:pt x="4284" y="8380"/>
                      <a:pt x="4337" y="8116"/>
                    </a:cubicBezTo>
                    <a:cubicBezTo>
                      <a:pt x="4388" y="7850"/>
                      <a:pt x="4363" y="7215"/>
                      <a:pt x="4284" y="7015"/>
                    </a:cubicBezTo>
                    <a:cubicBezTo>
                      <a:pt x="4206" y="6813"/>
                      <a:pt x="4129" y="5788"/>
                      <a:pt x="4154" y="5681"/>
                    </a:cubicBezTo>
                    <a:cubicBezTo>
                      <a:pt x="4180" y="5576"/>
                      <a:pt x="4519" y="5291"/>
                      <a:pt x="4597" y="5047"/>
                    </a:cubicBezTo>
                    <a:cubicBezTo>
                      <a:pt x="4675" y="4804"/>
                      <a:pt x="4675" y="4475"/>
                      <a:pt x="4806" y="4317"/>
                    </a:cubicBezTo>
                    <a:cubicBezTo>
                      <a:pt x="4936" y="4159"/>
                      <a:pt x="5118" y="3819"/>
                      <a:pt x="5301" y="3798"/>
                    </a:cubicBezTo>
                    <a:cubicBezTo>
                      <a:pt x="5482" y="3777"/>
                      <a:pt x="5405" y="4317"/>
                      <a:pt x="5430" y="4561"/>
                    </a:cubicBezTo>
                    <a:cubicBezTo>
                      <a:pt x="5456" y="4804"/>
                      <a:pt x="5977" y="5025"/>
                      <a:pt x="5925" y="5248"/>
                    </a:cubicBezTo>
                    <a:cubicBezTo>
                      <a:pt x="5873" y="5470"/>
                      <a:pt x="5639" y="5555"/>
                      <a:pt x="5405" y="5724"/>
                    </a:cubicBezTo>
                    <a:cubicBezTo>
                      <a:pt x="5170" y="5893"/>
                      <a:pt x="4832" y="6380"/>
                      <a:pt x="4857" y="7120"/>
                    </a:cubicBezTo>
                    <a:cubicBezTo>
                      <a:pt x="4883" y="7861"/>
                      <a:pt x="4519" y="7872"/>
                      <a:pt x="4467" y="8221"/>
                    </a:cubicBezTo>
                    <a:cubicBezTo>
                      <a:pt x="4415" y="8570"/>
                      <a:pt x="4441" y="8877"/>
                      <a:pt x="4649" y="9036"/>
                    </a:cubicBezTo>
                    <a:cubicBezTo>
                      <a:pt x="4857" y="9194"/>
                      <a:pt x="5014" y="9385"/>
                      <a:pt x="4832" y="9597"/>
                    </a:cubicBezTo>
                    <a:cubicBezTo>
                      <a:pt x="4701" y="9745"/>
                      <a:pt x="4675" y="9861"/>
                      <a:pt x="4883" y="9904"/>
                    </a:cubicBezTo>
                    <a:cubicBezTo>
                      <a:pt x="4961" y="9935"/>
                      <a:pt x="5091" y="9983"/>
                      <a:pt x="5301" y="9973"/>
                    </a:cubicBezTo>
                    <a:cubicBezTo>
                      <a:pt x="5972" y="9959"/>
                      <a:pt x="6642" y="10005"/>
                      <a:pt x="7313" y="9991"/>
                    </a:cubicBezTo>
                    <a:cubicBezTo>
                      <a:pt x="7345" y="9972"/>
                      <a:pt x="7474" y="10006"/>
                      <a:pt x="7520" y="9995"/>
                    </a:cubicBezTo>
                    <a:cubicBezTo>
                      <a:pt x="7566" y="9984"/>
                      <a:pt x="7487" y="9935"/>
                      <a:pt x="7592" y="9924"/>
                    </a:cubicBezTo>
                    <a:cubicBezTo>
                      <a:pt x="7826" y="9914"/>
                      <a:pt x="8190" y="9871"/>
                      <a:pt x="8242" y="9766"/>
                    </a:cubicBezTo>
                    <a:cubicBezTo>
                      <a:pt x="8320" y="9607"/>
                      <a:pt x="8320" y="9163"/>
                      <a:pt x="8320" y="9163"/>
                    </a:cubicBezTo>
                    <a:cubicBezTo>
                      <a:pt x="8320" y="9163"/>
                      <a:pt x="8554" y="9036"/>
                      <a:pt x="8503" y="8941"/>
                    </a:cubicBezTo>
                    <a:cubicBezTo>
                      <a:pt x="8450" y="8846"/>
                      <a:pt x="8164" y="8168"/>
                      <a:pt x="8346" y="8062"/>
                    </a:cubicBezTo>
                    <a:cubicBezTo>
                      <a:pt x="8528" y="7957"/>
                      <a:pt x="8711" y="7618"/>
                      <a:pt x="8789" y="7407"/>
                    </a:cubicBezTo>
                    <a:cubicBezTo>
                      <a:pt x="8867" y="7195"/>
                      <a:pt x="9205" y="6613"/>
                      <a:pt x="9180" y="6433"/>
                    </a:cubicBezTo>
                    <a:cubicBezTo>
                      <a:pt x="9153" y="6254"/>
                      <a:pt x="9439" y="5428"/>
                      <a:pt x="9466" y="5217"/>
                    </a:cubicBezTo>
                    <a:cubicBezTo>
                      <a:pt x="9492" y="5005"/>
                      <a:pt x="9961" y="2740"/>
                      <a:pt x="9987" y="2275"/>
                    </a:cubicBezTo>
                    <a:cubicBezTo>
                      <a:pt x="10012" y="1809"/>
                      <a:pt x="10065" y="371"/>
                      <a:pt x="9492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13">
                <a:extLst>
                  <a:ext uri="{FF2B5EF4-FFF2-40B4-BE49-F238E27FC236}">
                    <a16:creationId xmlns:a16="http://schemas.microsoft.com/office/drawing/2014/main" id="{0972E72C-7AFC-4BA3-80B5-DEAEBAF661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5927" y="2361100"/>
                <a:ext cx="309882" cy="336829"/>
              </a:xfrm>
              <a:custGeom>
                <a:avLst/>
                <a:gdLst>
                  <a:gd name="T0" fmla="*/ 75 w 95"/>
                  <a:gd name="T1" fmla="*/ 101 h 102"/>
                  <a:gd name="T2" fmla="*/ 95 w 95"/>
                  <a:gd name="T3" fmla="*/ 84 h 102"/>
                  <a:gd name="T4" fmla="*/ 72 w 95"/>
                  <a:gd name="T5" fmla="*/ 53 h 102"/>
                  <a:gd name="T6" fmla="*/ 68 w 95"/>
                  <a:gd name="T7" fmla="*/ 47 h 102"/>
                  <a:gd name="T8" fmla="*/ 53 w 95"/>
                  <a:gd name="T9" fmla="*/ 52 h 102"/>
                  <a:gd name="T10" fmla="*/ 47 w 95"/>
                  <a:gd name="T11" fmla="*/ 36 h 102"/>
                  <a:gd name="T12" fmla="*/ 54 w 95"/>
                  <a:gd name="T13" fmla="*/ 30 h 102"/>
                  <a:gd name="T14" fmla="*/ 35 w 95"/>
                  <a:gd name="T15" fmla="*/ 18 h 102"/>
                  <a:gd name="T16" fmla="*/ 11 w 95"/>
                  <a:gd name="T17" fmla="*/ 0 h 102"/>
                  <a:gd name="T18" fmla="*/ 7 w 95"/>
                  <a:gd name="T19" fmla="*/ 11 h 102"/>
                  <a:gd name="T20" fmla="*/ 18 w 95"/>
                  <a:gd name="T21" fmla="*/ 34 h 102"/>
                  <a:gd name="T22" fmla="*/ 26 w 95"/>
                  <a:gd name="T23" fmla="*/ 52 h 102"/>
                  <a:gd name="T24" fmla="*/ 75 w 95"/>
                  <a:gd name="T25" fmla="*/ 101 h 102"/>
                  <a:gd name="connsiteX0" fmla="*/ 7501 w 9723"/>
                  <a:gd name="connsiteY0" fmla="*/ 9902 h 9908"/>
                  <a:gd name="connsiteX1" fmla="*/ 9606 w 9723"/>
                  <a:gd name="connsiteY1" fmla="*/ 8235 h 9908"/>
                  <a:gd name="connsiteX2" fmla="*/ 9268 w 9723"/>
                  <a:gd name="connsiteY2" fmla="*/ 5684 h 9908"/>
                  <a:gd name="connsiteX3" fmla="*/ 6764 w 9723"/>
                  <a:gd name="connsiteY3" fmla="*/ 4608 h 9908"/>
                  <a:gd name="connsiteX4" fmla="*/ 5185 w 9723"/>
                  <a:gd name="connsiteY4" fmla="*/ 5098 h 9908"/>
                  <a:gd name="connsiteX5" fmla="*/ 4553 w 9723"/>
                  <a:gd name="connsiteY5" fmla="*/ 3529 h 9908"/>
                  <a:gd name="connsiteX6" fmla="*/ 5290 w 9723"/>
                  <a:gd name="connsiteY6" fmla="*/ 2941 h 9908"/>
                  <a:gd name="connsiteX7" fmla="*/ 3290 w 9723"/>
                  <a:gd name="connsiteY7" fmla="*/ 1765 h 9908"/>
                  <a:gd name="connsiteX8" fmla="*/ 764 w 9723"/>
                  <a:gd name="connsiteY8" fmla="*/ 0 h 9908"/>
                  <a:gd name="connsiteX9" fmla="*/ 343 w 9723"/>
                  <a:gd name="connsiteY9" fmla="*/ 1078 h 9908"/>
                  <a:gd name="connsiteX10" fmla="*/ 1501 w 9723"/>
                  <a:gd name="connsiteY10" fmla="*/ 3333 h 9908"/>
                  <a:gd name="connsiteX11" fmla="*/ 2343 w 9723"/>
                  <a:gd name="connsiteY11" fmla="*/ 5098 h 9908"/>
                  <a:gd name="connsiteX12" fmla="*/ 7501 w 9723"/>
                  <a:gd name="connsiteY12" fmla="*/ 9902 h 9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23" h="9908">
                    <a:moveTo>
                      <a:pt x="7501" y="9902"/>
                    </a:moveTo>
                    <a:cubicBezTo>
                      <a:pt x="7922" y="10000"/>
                      <a:pt x="9312" y="8938"/>
                      <a:pt x="9606" y="8235"/>
                    </a:cubicBezTo>
                    <a:cubicBezTo>
                      <a:pt x="9901" y="7532"/>
                      <a:pt x="9584" y="6370"/>
                      <a:pt x="9268" y="5684"/>
                    </a:cubicBezTo>
                    <a:cubicBezTo>
                      <a:pt x="8952" y="4998"/>
                      <a:pt x="7444" y="4706"/>
                      <a:pt x="6764" y="4608"/>
                    </a:cubicBezTo>
                    <a:cubicBezTo>
                      <a:pt x="6084" y="4510"/>
                      <a:pt x="6238" y="5000"/>
                      <a:pt x="5185" y="5098"/>
                    </a:cubicBezTo>
                    <a:cubicBezTo>
                      <a:pt x="4132" y="5196"/>
                      <a:pt x="3817" y="4216"/>
                      <a:pt x="4553" y="3529"/>
                    </a:cubicBezTo>
                    <a:cubicBezTo>
                      <a:pt x="4764" y="3333"/>
                      <a:pt x="5080" y="3137"/>
                      <a:pt x="5290" y="2941"/>
                    </a:cubicBezTo>
                    <a:cubicBezTo>
                      <a:pt x="4343" y="2353"/>
                      <a:pt x="3711" y="1863"/>
                      <a:pt x="3290" y="1765"/>
                    </a:cubicBezTo>
                    <a:cubicBezTo>
                      <a:pt x="2764" y="1667"/>
                      <a:pt x="764" y="0"/>
                      <a:pt x="764" y="0"/>
                    </a:cubicBezTo>
                    <a:cubicBezTo>
                      <a:pt x="-394" y="588"/>
                      <a:pt x="27" y="588"/>
                      <a:pt x="343" y="1078"/>
                    </a:cubicBezTo>
                    <a:cubicBezTo>
                      <a:pt x="659" y="1569"/>
                      <a:pt x="1290" y="2941"/>
                      <a:pt x="1501" y="3333"/>
                    </a:cubicBezTo>
                    <a:cubicBezTo>
                      <a:pt x="1606" y="3431"/>
                      <a:pt x="1922" y="4314"/>
                      <a:pt x="2343" y="5098"/>
                    </a:cubicBezTo>
                    <a:cubicBezTo>
                      <a:pt x="3817" y="6471"/>
                      <a:pt x="7080" y="9804"/>
                      <a:pt x="7501" y="9902"/>
                    </a:cubicBezTo>
                    <a:close/>
                  </a:path>
                </a:pathLst>
              </a:custGeom>
              <a:solidFill>
                <a:srgbClr val="33333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4">
                <a:extLst>
                  <a:ext uri="{FF2B5EF4-FFF2-40B4-BE49-F238E27FC236}">
                    <a16:creationId xmlns:a16="http://schemas.microsoft.com/office/drawing/2014/main" id="{9D82668E-0CAF-43DA-BC1A-9C7DF98D2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1421" y="2447507"/>
                <a:ext cx="960823" cy="436326"/>
              </a:xfrm>
              <a:custGeom>
                <a:avLst/>
                <a:gdLst>
                  <a:gd name="T0" fmla="*/ 295 w 309"/>
                  <a:gd name="T1" fmla="*/ 97 h 133"/>
                  <a:gd name="T2" fmla="*/ 257 w 309"/>
                  <a:gd name="T3" fmla="*/ 56 h 133"/>
                  <a:gd name="T4" fmla="*/ 209 w 309"/>
                  <a:gd name="T5" fmla="*/ 55 h 133"/>
                  <a:gd name="T6" fmla="*/ 166 w 309"/>
                  <a:gd name="T7" fmla="*/ 25 h 133"/>
                  <a:gd name="T8" fmla="*/ 118 w 309"/>
                  <a:gd name="T9" fmla="*/ 0 h 133"/>
                  <a:gd name="T10" fmla="*/ 102 w 309"/>
                  <a:gd name="T11" fmla="*/ 4 h 133"/>
                  <a:gd name="T12" fmla="*/ 95 w 309"/>
                  <a:gd name="T13" fmla="*/ 10 h 133"/>
                  <a:gd name="T14" fmla="*/ 101 w 309"/>
                  <a:gd name="T15" fmla="*/ 26 h 133"/>
                  <a:gd name="T16" fmla="*/ 118 w 309"/>
                  <a:gd name="T17" fmla="*/ 19 h 133"/>
                  <a:gd name="T18" fmla="*/ 120 w 309"/>
                  <a:gd name="T19" fmla="*/ 27 h 133"/>
                  <a:gd name="T20" fmla="*/ 143 w 309"/>
                  <a:gd name="T21" fmla="*/ 58 h 133"/>
                  <a:gd name="T22" fmla="*/ 123 w 309"/>
                  <a:gd name="T23" fmla="*/ 75 h 133"/>
                  <a:gd name="T24" fmla="*/ 74 w 309"/>
                  <a:gd name="T25" fmla="*/ 26 h 133"/>
                  <a:gd name="T26" fmla="*/ 68 w 309"/>
                  <a:gd name="T27" fmla="*/ 20 h 133"/>
                  <a:gd name="T28" fmla="*/ 50 w 309"/>
                  <a:gd name="T29" fmla="*/ 36 h 133"/>
                  <a:gd name="T30" fmla="*/ 24 w 309"/>
                  <a:gd name="T31" fmla="*/ 46 h 133"/>
                  <a:gd name="T32" fmla="*/ 59 w 309"/>
                  <a:gd name="T33" fmla="*/ 60 h 133"/>
                  <a:gd name="T34" fmla="*/ 76 w 309"/>
                  <a:gd name="T35" fmla="*/ 67 h 133"/>
                  <a:gd name="T36" fmla="*/ 39 w 309"/>
                  <a:gd name="T37" fmla="*/ 64 h 133"/>
                  <a:gd name="T38" fmla="*/ 32 w 309"/>
                  <a:gd name="T39" fmla="*/ 78 h 133"/>
                  <a:gd name="T40" fmla="*/ 81 w 309"/>
                  <a:gd name="T41" fmla="*/ 87 h 133"/>
                  <a:gd name="T42" fmla="*/ 50 w 309"/>
                  <a:gd name="T43" fmla="*/ 98 h 133"/>
                  <a:gd name="T44" fmla="*/ 66 w 309"/>
                  <a:gd name="T45" fmla="*/ 108 h 133"/>
                  <a:gd name="T46" fmla="*/ 148 w 309"/>
                  <a:gd name="T47" fmla="*/ 105 h 133"/>
                  <a:gd name="T48" fmla="*/ 234 w 309"/>
                  <a:gd name="T49" fmla="*/ 109 h 133"/>
                  <a:gd name="T50" fmla="*/ 263 w 309"/>
                  <a:gd name="T51" fmla="*/ 123 h 133"/>
                  <a:gd name="T52" fmla="*/ 263 w 309"/>
                  <a:gd name="T53" fmla="*/ 121 h 133"/>
                  <a:gd name="T54" fmla="*/ 303 w 309"/>
                  <a:gd name="T55" fmla="*/ 130 h 133"/>
                  <a:gd name="T56" fmla="*/ 295 w 309"/>
                  <a:gd name="T57" fmla="*/ 97 h 133"/>
                  <a:gd name="connsiteX0" fmla="*/ 8985 w 9292"/>
                  <a:gd name="connsiteY0" fmla="*/ 7293 h 9810"/>
                  <a:gd name="connsiteX1" fmla="*/ 7755 w 9292"/>
                  <a:gd name="connsiteY1" fmla="*/ 4211 h 9810"/>
                  <a:gd name="connsiteX2" fmla="*/ 6202 w 9292"/>
                  <a:gd name="connsiteY2" fmla="*/ 4135 h 9810"/>
                  <a:gd name="connsiteX3" fmla="*/ 4810 w 9292"/>
                  <a:gd name="connsiteY3" fmla="*/ 1880 h 9810"/>
                  <a:gd name="connsiteX4" fmla="*/ 3257 w 9292"/>
                  <a:gd name="connsiteY4" fmla="*/ 0 h 9810"/>
                  <a:gd name="connsiteX5" fmla="*/ 2739 w 9292"/>
                  <a:gd name="connsiteY5" fmla="*/ 301 h 9810"/>
                  <a:gd name="connsiteX6" fmla="*/ 2512 w 9292"/>
                  <a:gd name="connsiteY6" fmla="*/ 752 h 9810"/>
                  <a:gd name="connsiteX7" fmla="*/ 2506 w 9292"/>
                  <a:gd name="connsiteY7" fmla="*/ 2048 h 9810"/>
                  <a:gd name="connsiteX8" fmla="*/ 3257 w 9292"/>
                  <a:gd name="connsiteY8" fmla="*/ 1429 h 9810"/>
                  <a:gd name="connsiteX9" fmla="*/ 3321 w 9292"/>
                  <a:gd name="connsiteY9" fmla="*/ 2030 h 9810"/>
                  <a:gd name="connsiteX10" fmla="*/ 4066 w 9292"/>
                  <a:gd name="connsiteY10" fmla="*/ 4361 h 9810"/>
                  <a:gd name="connsiteX11" fmla="*/ 3419 w 9292"/>
                  <a:gd name="connsiteY11" fmla="*/ 5639 h 9810"/>
                  <a:gd name="connsiteX12" fmla="*/ 1833 w 9292"/>
                  <a:gd name="connsiteY12" fmla="*/ 1955 h 9810"/>
                  <a:gd name="connsiteX13" fmla="*/ 1639 w 9292"/>
                  <a:gd name="connsiteY13" fmla="*/ 1504 h 9810"/>
                  <a:gd name="connsiteX14" fmla="*/ 1056 w 9292"/>
                  <a:gd name="connsiteY14" fmla="*/ 2707 h 9810"/>
                  <a:gd name="connsiteX15" fmla="*/ 215 w 9292"/>
                  <a:gd name="connsiteY15" fmla="*/ 3459 h 9810"/>
                  <a:gd name="connsiteX16" fmla="*/ 1347 w 9292"/>
                  <a:gd name="connsiteY16" fmla="*/ 4511 h 9810"/>
                  <a:gd name="connsiteX17" fmla="*/ 1898 w 9292"/>
                  <a:gd name="connsiteY17" fmla="*/ 5038 h 9810"/>
                  <a:gd name="connsiteX18" fmla="*/ 700 w 9292"/>
                  <a:gd name="connsiteY18" fmla="*/ 4812 h 9810"/>
                  <a:gd name="connsiteX19" fmla="*/ 474 w 9292"/>
                  <a:gd name="connsiteY19" fmla="*/ 5865 h 9810"/>
                  <a:gd name="connsiteX20" fmla="*/ 2059 w 9292"/>
                  <a:gd name="connsiteY20" fmla="*/ 6541 h 9810"/>
                  <a:gd name="connsiteX21" fmla="*/ 1056 w 9292"/>
                  <a:gd name="connsiteY21" fmla="*/ 7368 h 9810"/>
                  <a:gd name="connsiteX22" fmla="*/ 1574 w 9292"/>
                  <a:gd name="connsiteY22" fmla="*/ 8120 h 9810"/>
                  <a:gd name="connsiteX23" fmla="*/ 4228 w 9292"/>
                  <a:gd name="connsiteY23" fmla="*/ 7895 h 9810"/>
                  <a:gd name="connsiteX24" fmla="*/ 7011 w 9292"/>
                  <a:gd name="connsiteY24" fmla="*/ 8195 h 9810"/>
                  <a:gd name="connsiteX25" fmla="*/ 7949 w 9292"/>
                  <a:gd name="connsiteY25" fmla="*/ 9248 h 9810"/>
                  <a:gd name="connsiteX26" fmla="*/ 7949 w 9292"/>
                  <a:gd name="connsiteY26" fmla="*/ 9098 h 9810"/>
                  <a:gd name="connsiteX27" fmla="*/ 9244 w 9292"/>
                  <a:gd name="connsiteY27" fmla="*/ 9774 h 9810"/>
                  <a:gd name="connsiteX28" fmla="*/ 8985 w 9292"/>
                  <a:gd name="connsiteY28" fmla="*/ 7293 h 9810"/>
                  <a:gd name="connsiteX0" fmla="*/ 9670 w 10000"/>
                  <a:gd name="connsiteY0" fmla="*/ 7434 h 10000"/>
                  <a:gd name="connsiteX1" fmla="*/ 8346 w 10000"/>
                  <a:gd name="connsiteY1" fmla="*/ 4293 h 10000"/>
                  <a:gd name="connsiteX2" fmla="*/ 6675 w 10000"/>
                  <a:gd name="connsiteY2" fmla="*/ 4215 h 10000"/>
                  <a:gd name="connsiteX3" fmla="*/ 5176 w 10000"/>
                  <a:gd name="connsiteY3" fmla="*/ 1916 h 10000"/>
                  <a:gd name="connsiteX4" fmla="*/ 3505 w 10000"/>
                  <a:gd name="connsiteY4" fmla="*/ 0 h 10000"/>
                  <a:gd name="connsiteX5" fmla="*/ 2948 w 10000"/>
                  <a:gd name="connsiteY5" fmla="*/ 307 h 10000"/>
                  <a:gd name="connsiteX6" fmla="*/ 2530 w 10000"/>
                  <a:gd name="connsiteY6" fmla="*/ 1147 h 10000"/>
                  <a:gd name="connsiteX7" fmla="*/ 2697 w 10000"/>
                  <a:gd name="connsiteY7" fmla="*/ 2088 h 10000"/>
                  <a:gd name="connsiteX8" fmla="*/ 3505 w 10000"/>
                  <a:gd name="connsiteY8" fmla="*/ 1457 h 10000"/>
                  <a:gd name="connsiteX9" fmla="*/ 3574 w 10000"/>
                  <a:gd name="connsiteY9" fmla="*/ 2069 h 10000"/>
                  <a:gd name="connsiteX10" fmla="*/ 4376 w 10000"/>
                  <a:gd name="connsiteY10" fmla="*/ 4445 h 10000"/>
                  <a:gd name="connsiteX11" fmla="*/ 3680 w 10000"/>
                  <a:gd name="connsiteY11" fmla="*/ 5748 h 10000"/>
                  <a:gd name="connsiteX12" fmla="*/ 1973 w 10000"/>
                  <a:gd name="connsiteY12" fmla="*/ 1993 h 10000"/>
                  <a:gd name="connsiteX13" fmla="*/ 1764 w 10000"/>
                  <a:gd name="connsiteY13" fmla="*/ 1533 h 10000"/>
                  <a:gd name="connsiteX14" fmla="*/ 1136 w 10000"/>
                  <a:gd name="connsiteY14" fmla="*/ 2759 h 10000"/>
                  <a:gd name="connsiteX15" fmla="*/ 231 w 10000"/>
                  <a:gd name="connsiteY15" fmla="*/ 3526 h 10000"/>
                  <a:gd name="connsiteX16" fmla="*/ 1450 w 10000"/>
                  <a:gd name="connsiteY16" fmla="*/ 4598 h 10000"/>
                  <a:gd name="connsiteX17" fmla="*/ 2043 w 10000"/>
                  <a:gd name="connsiteY17" fmla="*/ 5136 h 10000"/>
                  <a:gd name="connsiteX18" fmla="*/ 753 w 10000"/>
                  <a:gd name="connsiteY18" fmla="*/ 4905 h 10000"/>
                  <a:gd name="connsiteX19" fmla="*/ 510 w 10000"/>
                  <a:gd name="connsiteY19" fmla="*/ 5979 h 10000"/>
                  <a:gd name="connsiteX20" fmla="*/ 2216 w 10000"/>
                  <a:gd name="connsiteY20" fmla="*/ 6668 h 10000"/>
                  <a:gd name="connsiteX21" fmla="*/ 1136 w 10000"/>
                  <a:gd name="connsiteY21" fmla="*/ 7511 h 10000"/>
                  <a:gd name="connsiteX22" fmla="*/ 1694 w 10000"/>
                  <a:gd name="connsiteY22" fmla="*/ 8277 h 10000"/>
                  <a:gd name="connsiteX23" fmla="*/ 4550 w 10000"/>
                  <a:gd name="connsiteY23" fmla="*/ 8048 h 10000"/>
                  <a:gd name="connsiteX24" fmla="*/ 7545 w 10000"/>
                  <a:gd name="connsiteY24" fmla="*/ 8354 h 10000"/>
                  <a:gd name="connsiteX25" fmla="*/ 8555 w 10000"/>
                  <a:gd name="connsiteY25" fmla="*/ 9427 h 10000"/>
                  <a:gd name="connsiteX26" fmla="*/ 8555 w 10000"/>
                  <a:gd name="connsiteY26" fmla="*/ 9274 h 10000"/>
                  <a:gd name="connsiteX27" fmla="*/ 9948 w 10000"/>
                  <a:gd name="connsiteY27" fmla="*/ 9963 h 10000"/>
                  <a:gd name="connsiteX28" fmla="*/ 9670 w 10000"/>
                  <a:gd name="connsiteY28" fmla="*/ 7434 h 10000"/>
                  <a:gd name="connsiteX0" fmla="*/ 9670 w 10000"/>
                  <a:gd name="connsiteY0" fmla="*/ 7434 h 10000"/>
                  <a:gd name="connsiteX1" fmla="*/ 8346 w 10000"/>
                  <a:gd name="connsiteY1" fmla="*/ 4293 h 10000"/>
                  <a:gd name="connsiteX2" fmla="*/ 6675 w 10000"/>
                  <a:gd name="connsiteY2" fmla="*/ 4215 h 10000"/>
                  <a:gd name="connsiteX3" fmla="*/ 5176 w 10000"/>
                  <a:gd name="connsiteY3" fmla="*/ 1916 h 10000"/>
                  <a:gd name="connsiteX4" fmla="*/ 3505 w 10000"/>
                  <a:gd name="connsiteY4" fmla="*/ 0 h 10000"/>
                  <a:gd name="connsiteX5" fmla="*/ 2948 w 10000"/>
                  <a:gd name="connsiteY5" fmla="*/ 307 h 10000"/>
                  <a:gd name="connsiteX6" fmla="*/ 2530 w 10000"/>
                  <a:gd name="connsiteY6" fmla="*/ 1147 h 10000"/>
                  <a:gd name="connsiteX7" fmla="*/ 2697 w 10000"/>
                  <a:gd name="connsiteY7" fmla="*/ 2088 h 10000"/>
                  <a:gd name="connsiteX8" fmla="*/ 3635 w 10000"/>
                  <a:gd name="connsiteY8" fmla="*/ 1837 h 10000"/>
                  <a:gd name="connsiteX9" fmla="*/ 3574 w 10000"/>
                  <a:gd name="connsiteY9" fmla="*/ 2069 h 10000"/>
                  <a:gd name="connsiteX10" fmla="*/ 4376 w 10000"/>
                  <a:gd name="connsiteY10" fmla="*/ 4445 h 10000"/>
                  <a:gd name="connsiteX11" fmla="*/ 3680 w 10000"/>
                  <a:gd name="connsiteY11" fmla="*/ 5748 h 10000"/>
                  <a:gd name="connsiteX12" fmla="*/ 1973 w 10000"/>
                  <a:gd name="connsiteY12" fmla="*/ 1993 h 10000"/>
                  <a:gd name="connsiteX13" fmla="*/ 1764 w 10000"/>
                  <a:gd name="connsiteY13" fmla="*/ 1533 h 10000"/>
                  <a:gd name="connsiteX14" fmla="*/ 1136 w 10000"/>
                  <a:gd name="connsiteY14" fmla="*/ 2759 h 10000"/>
                  <a:gd name="connsiteX15" fmla="*/ 231 w 10000"/>
                  <a:gd name="connsiteY15" fmla="*/ 3526 h 10000"/>
                  <a:gd name="connsiteX16" fmla="*/ 1450 w 10000"/>
                  <a:gd name="connsiteY16" fmla="*/ 4598 h 10000"/>
                  <a:gd name="connsiteX17" fmla="*/ 2043 w 10000"/>
                  <a:gd name="connsiteY17" fmla="*/ 5136 h 10000"/>
                  <a:gd name="connsiteX18" fmla="*/ 753 w 10000"/>
                  <a:gd name="connsiteY18" fmla="*/ 4905 h 10000"/>
                  <a:gd name="connsiteX19" fmla="*/ 510 w 10000"/>
                  <a:gd name="connsiteY19" fmla="*/ 5979 h 10000"/>
                  <a:gd name="connsiteX20" fmla="*/ 2216 w 10000"/>
                  <a:gd name="connsiteY20" fmla="*/ 6668 h 10000"/>
                  <a:gd name="connsiteX21" fmla="*/ 1136 w 10000"/>
                  <a:gd name="connsiteY21" fmla="*/ 7511 h 10000"/>
                  <a:gd name="connsiteX22" fmla="*/ 1694 w 10000"/>
                  <a:gd name="connsiteY22" fmla="*/ 8277 h 10000"/>
                  <a:gd name="connsiteX23" fmla="*/ 4550 w 10000"/>
                  <a:gd name="connsiteY23" fmla="*/ 8048 h 10000"/>
                  <a:gd name="connsiteX24" fmla="*/ 7545 w 10000"/>
                  <a:gd name="connsiteY24" fmla="*/ 8354 h 10000"/>
                  <a:gd name="connsiteX25" fmla="*/ 8555 w 10000"/>
                  <a:gd name="connsiteY25" fmla="*/ 9427 h 10000"/>
                  <a:gd name="connsiteX26" fmla="*/ 8555 w 10000"/>
                  <a:gd name="connsiteY26" fmla="*/ 9274 h 10000"/>
                  <a:gd name="connsiteX27" fmla="*/ 9948 w 10000"/>
                  <a:gd name="connsiteY27" fmla="*/ 9963 h 10000"/>
                  <a:gd name="connsiteX28" fmla="*/ 9670 w 10000"/>
                  <a:gd name="connsiteY28" fmla="*/ 7434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000" h="10000">
                    <a:moveTo>
                      <a:pt x="9670" y="7434"/>
                    </a:moveTo>
                    <a:cubicBezTo>
                      <a:pt x="9286" y="5288"/>
                      <a:pt x="8695" y="4522"/>
                      <a:pt x="8346" y="4293"/>
                    </a:cubicBezTo>
                    <a:cubicBezTo>
                      <a:pt x="7720" y="4369"/>
                      <a:pt x="6988" y="4445"/>
                      <a:pt x="6675" y="4215"/>
                    </a:cubicBezTo>
                    <a:cubicBezTo>
                      <a:pt x="6047" y="3755"/>
                      <a:pt x="5873" y="2912"/>
                      <a:pt x="5176" y="1916"/>
                    </a:cubicBezTo>
                    <a:cubicBezTo>
                      <a:pt x="4480" y="919"/>
                      <a:pt x="3748" y="0"/>
                      <a:pt x="3505" y="0"/>
                    </a:cubicBezTo>
                    <a:cubicBezTo>
                      <a:pt x="3331" y="0"/>
                      <a:pt x="3156" y="153"/>
                      <a:pt x="2948" y="307"/>
                    </a:cubicBezTo>
                    <a:cubicBezTo>
                      <a:pt x="2878" y="460"/>
                      <a:pt x="2572" y="850"/>
                      <a:pt x="2530" y="1147"/>
                    </a:cubicBezTo>
                    <a:cubicBezTo>
                      <a:pt x="2488" y="1443"/>
                      <a:pt x="2513" y="1973"/>
                      <a:pt x="2697" y="2088"/>
                    </a:cubicBezTo>
                    <a:cubicBezTo>
                      <a:pt x="2881" y="2203"/>
                      <a:pt x="3489" y="1840"/>
                      <a:pt x="3635" y="1837"/>
                    </a:cubicBezTo>
                    <a:cubicBezTo>
                      <a:pt x="3782" y="1834"/>
                      <a:pt x="3451" y="1634"/>
                      <a:pt x="3574" y="2069"/>
                    </a:cubicBezTo>
                    <a:cubicBezTo>
                      <a:pt x="3697" y="2504"/>
                      <a:pt x="4376" y="4445"/>
                      <a:pt x="4376" y="4445"/>
                    </a:cubicBezTo>
                    <a:cubicBezTo>
                      <a:pt x="4376" y="4445"/>
                      <a:pt x="3818" y="5825"/>
                      <a:pt x="3680" y="5748"/>
                    </a:cubicBezTo>
                    <a:cubicBezTo>
                      <a:pt x="3540" y="5672"/>
                      <a:pt x="2460" y="3066"/>
                      <a:pt x="1973" y="1993"/>
                    </a:cubicBezTo>
                    <a:cubicBezTo>
                      <a:pt x="1903" y="1840"/>
                      <a:pt x="1834" y="1686"/>
                      <a:pt x="1764" y="1533"/>
                    </a:cubicBezTo>
                    <a:cubicBezTo>
                      <a:pt x="1554" y="1303"/>
                      <a:pt x="1136" y="1457"/>
                      <a:pt x="1136" y="2759"/>
                    </a:cubicBezTo>
                    <a:cubicBezTo>
                      <a:pt x="1136" y="2759"/>
                      <a:pt x="127" y="1762"/>
                      <a:pt x="231" y="3526"/>
                    </a:cubicBezTo>
                    <a:cubicBezTo>
                      <a:pt x="231" y="3526"/>
                      <a:pt x="1136" y="4062"/>
                      <a:pt x="1450" y="4598"/>
                    </a:cubicBezTo>
                    <a:cubicBezTo>
                      <a:pt x="1764" y="5136"/>
                      <a:pt x="1937" y="4982"/>
                      <a:pt x="2043" y="5136"/>
                    </a:cubicBezTo>
                    <a:cubicBezTo>
                      <a:pt x="2147" y="5288"/>
                      <a:pt x="1102" y="5136"/>
                      <a:pt x="753" y="4905"/>
                    </a:cubicBezTo>
                    <a:cubicBezTo>
                      <a:pt x="406" y="4675"/>
                      <a:pt x="-605" y="5212"/>
                      <a:pt x="510" y="5979"/>
                    </a:cubicBezTo>
                    <a:cubicBezTo>
                      <a:pt x="1624" y="6745"/>
                      <a:pt x="2216" y="6668"/>
                      <a:pt x="2216" y="6668"/>
                    </a:cubicBezTo>
                    <a:cubicBezTo>
                      <a:pt x="2216" y="6668"/>
                      <a:pt x="1415" y="6975"/>
                      <a:pt x="1136" y="7511"/>
                    </a:cubicBezTo>
                    <a:cubicBezTo>
                      <a:pt x="858" y="8048"/>
                      <a:pt x="753" y="8354"/>
                      <a:pt x="1694" y="8277"/>
                    </a:cubicBezTo>
                    <a:cubicBezTo>
                      <a:pt x="2635" y="8201"/>
                      <a:pt x="2948" y="8048"/>
                      <a:pt x="4550" y="8048"/>
                    </a:cubicBezTo>
                    <a:cubicBezTo>
                      <a:pt x="6152" y="8048"/>
                      <a:pt x="6813" y="7971"/>
                      <a:pt x="7545" y="8354"/>
                    </a:cubicBezTo>
                    <a:cubicBezTo>
                      <a:pt x="7824" y="8508"/>
                      <a:pt x="8207" y="8967"/>
                      <a:pt x="8555" y="9427"/>
                    </a:cubicBezTo>
                    <a:lnTo>
                      <a:pt x="8555" y="9274"/>
                    </a:lnTo>
                    <a:cubicBezTo>
                      <a:pt x="8555" y="9274"/>
                      <a:pt x="9740" y="10194"/>
                      <a:pt x="9948" y="9963"/>
                    </a:cubicBezTo>
                    <a:cubicBezTo>
                      <a:pt x="10157" y="9734"/>
                      <a:pt x="9670" y="7434"/>
                      <a:pt x="9670" y="7434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5">
                <a:extLst>
                  <a:ext uri="{FF2B5EF4-FFF2-40B4-BE49-F238E27FC236}">
                    <a16:creationId xmlns:a16="http://schemas.microsoft.com/office/drawing/2014/main" id="{01E065DB-4EE0-4D5D-9311-07622BE7F2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9602" y="6409417"/>
                <a:ext cx="422113" cy="164312"/>
              </a:xfrm>
              <a:custGeom>
                <a:avLst/>
                <a:gdLst>
                  <a:gd name="T0" fmla="*/ 9 w 126"/>
                  <a:gd name="T1" fmla="*/ 13 h 49"/>
                  <a:gd name="T2" fmla="*/ 43 w 126"/>
                  <a:gd name="T3" fmla="*/ 9 h 49"/>
                  <a:gd name="T4" fmla="*/ 65 w 126"/>
                  <a:gd name="T5" fmla="*/ 27 h 49"/>
                  <a:gd name="T6" fmla="*/ 113 w 126"/>
                  <a:gd name="T7" fmla="*/ 38 h 49"/>
                  <a:gd name="T8" fmla="*/ 116 w 126"/>
                  <a:gd name="T9" fmla="*/ 39 h 49"/>
                  <a:gd name="T10" fmla="*/ 61 w 126"/>
                  <a:gd name="T11" fmla="*/ 41 h 49"/>
                  <a:gd name="T12" fmla="*/ 33 w 126"/>
                  <a:gd name="T13" fmla="*/ 28 h 49"/>
                  <a:gd name="T14" fmla="*/ 1 w 126"/>
                  <a:gd name="T15" fmla="*/ 34 h 49"/>
                  <a:gd name="T16" fmla="*/ 9 w 126"/>
                  <a:gd name="T17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6" h="49">
                    <a:moveTo>
                      <a:pt x="9" y="13"/>
                    </a:moveTo>
                    <a:cubicBezTo>
                      <a:pt x="9" y="13"/>
                      <a:pt x="36" y="0"/>
                      <a:pt x="43" y="9"/>
                    </a:cubicBezTo>
                    <a:cubicBezTo>
                      <a:pt x="49" y="19"/>
                      <a:pt x="54" y="23"/>
                      <a:pt x="65" y="27"/>
                    </a:cubicBezTo>
                    <a:cubicBezTo>
                      <a:pt x="77" y="31"/>
                      <a:pt x="101" y="38"/>
                      <a:pt x="113" y="38"/>
                    </a:cubicBezTo>
                    <a:cubicBezTo>
                      <a:pt x="126" y="38"/>
                      <a:pt x="116" y="39"/>
                      <a:pt x="116" y="39"/>
                    </a:cubicBezTo>
                    <a:cubicBezTo>
                      <a:pt x="116" y="39"/>
                      <a:pt x="80" y="49"/>
                      <a:pt x="61" y="41"/>
                    </a:cubicBezTo>
                    <a:cubicBezTo>
                      <a:pt x="41" y="32"/>
                      <a:pt x="51" y="28"/>
                      <a:pt x="33" y="28"/>
                    </a:cubicBezTo>
                    <a:cubicBezTo>
                      <a:pt x="16" y="28"/>
                      <a:pt x="1" y="34"/>
                      <a:pt x="1" y="34"/>
                    </a:cubicBezTo>
                    <a:cubicBezTo>
                      <a:pt x="1" y="34"/>
                      <a:pt x="0" y="14"/>
                      <a:pt x="9" y="13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6">
                <a:extLst>
                  <a:ext uri="{FF2B5EF4-FFF2-40B4-BE49-F238E27FC236}">
                    <a16:creationId xmlns:a16="http://schemas.microsoft.com/office/drawing/2014/main" id="{D141BB2D-CD37-4CB3-9A56-1AF45D7593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06477" y="6323525"/>
                <a:ext cx="434861" cy="164312"/>
              </a:xfrm>
              <a:custGeom>
                <a:avLst/>
                <a:gdLst>
                  <a:gd name="T0" fmla="*/ 22 w 130"/>
                  <a:gd name="T1" fmla="*/ 0 h 49"/>
                  <a:gd name="T2" fmla="*/ 39 w 130"/>
                  <a:gd name="T3" fmla="*/ 22 h 49"/>
                  <a:gd name="T4" fmla="*/ 94 w 130"/>
                  <a:gd name="T5" fmla="*/ 33 h 49"/>
                  <a:gd name="T6" fmla="*/ 128 w 130"/>
                  <a:gd name="T7" fmla="*/ 47 h 49"/>
                  <a:gd name="T8" fmla="*/ 62 w 130"/>
                  <a:gd name="T9" fmla="*/ 45 h 49"/>
                  <a:gd name="T10" fmla="*/ 2 w 130"/>
                  <a:gd name="T11" fmla="*/ 15 h 49"/>
                  <a:gd name="T12" fmla="*/ 22 w 130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49">
                    <a:moveTo>
                      <a:pt x="22" y="0"/>
                    </a:moveTo>
                    <a:cubicBezTo>
                      <a:pt x="22" y="0"/>
                      <a:pt x="10" y="14"/>
                      <a:pt x="39" y="22"/>
                    </a:cubicBezTo>
                    <a:cubicBezTo>
                      <a:pt x="68" y="29"/>
                      <a:pt x="75" y="28"/>
                      <a:pt x="94" y="33"/>
                    </a:cubicBezTo>
                    <a:cubicBezTo>
                      <a:pt x="114" y="38"/>
                      <a:pt x="126" y="47"/>
                      <a:pt x="128" y="47"/>
                    </a:cubicBezTo>
                    <a:cubicBezTo>
                      <a:pt x="130" y="47"/>
                      <a:pt x="82" y="49"/>
                      <a:pt x="62" y="45"/>
                    </a:cubicBezTo>
                    <a:cubicBezTo>
                      <a:pt x="42" y="41"/>
                      <a:pt x="15" y="47"/>
                      <a:pt x="2" y="15"/>
                    </a:cubicBezTo>
                    <a:cubicBezTo>
                      <a:pt x="2" y="15"/>
                      <a:pt x="0" y="2"/>
                      <a:pt x="22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7">
                <a:extLst>
                  <a:ext uri="{FF2B5EF4-FFF2-40B4-BE49-F238E27FC236}">
                    <a16:creationId xmlns:a16="http://schemas.microsoft.com/office/drawing/2014/main" id="{1AC26346-832E-46A6-9019-C4B8A9591A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68803" y="6198360"/>
                <a:ext cx="345622" cy="140233"/>
              </a:xfrm>
              <a:custGeom>
                <a:avLst/>
                <a:gdLst>
                  <a:gd name="T0" fmla="*/ 26 w 103"/>
                  <a:gd name="T1" fmla="*/ 27 h 42"/>
                  <a:gd name="T2" fmla="*/ 35 w 103"/>
                  <a:gd name="T3" fmla="*/ 31 h 42"/>
                  <a:gd name="T4" fmla="*/ 66 w 103"/>
                  <a:gd name="T5" fmla="*/ 38 h 42"/>
                  <a:gd name="T6" fmla="*/ 81 w 103"/>
                  <a:gd name="T7" fmla="*/ 27 h 42"/>
                  <a:gd name="T8" fmla="*/ 100 w 103"/>
                  <a:gd name="T9" fmla="*/ 12 h 42"/>
                  <a:gd name="T10" fmla="*/ 103 w 103"/>
                  <a:gd name="T11" fmla="*/ 0 h 42"/>
                  <a:gd name="T12" fmla="*/ 26 w 103"/>
                  <a:gd name="T13" fmla="*/ 2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42">
                    <a:moveTo>
                      <a:pt x="26" y="27"/>
                    </a:moveTo>
                    <a:cubicBezTo>
                      <a:pt x="26" y="27"/>
                      <a:pt x="33" y="25"/>
                      <a:pt x="35" y="31"/>
                    </a:cubicBezTo>
                    <a:cubicBezTo>
                      <a:pt x="37" y="37"/>
                      <a:pt x="59" y="42"/>
                      <a:pt x="66" y="38"/>
                    </a:cubicBezTo>
                    <a:cubicBezTo>
                      <a:pt x="73" y="35"/>
                      <a:pt x="74" y="32"/>
                      <a:pt x="81" y="27"/>
                    </a:cubicBezTo>
                    <a:cubicBezTo>
                      <a:pt x="89" y="22"/>
                      <a:pt x="99" y="16"/>
                      <a:pt x="100" y="12"/>
                    </a:cubicBezTo>
                    <a:cubicBezTo>
                      <a:pt x="101" y="7"/>
                      <a:pt x="103" y="0"/>
                      <a:pt x="103" y="0"/>
                    </a:cubicBezTo>
                    <a:cubicBezTo>
                      <a:pt x="103" y="0"/>
                      <a:pt x="0" y="30"/>
                      <a:pt x="26" y="2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18">
                <a:extLst>
                  <a:ext uri="{FF2B5EF4-FFF2-40B4-BE49-F238E27FC236}">
                    <a16:creationId xmlns:a16="http://schemas.microsoft.com/office/drawing/2014/main" id="{789E8B2D-020B-4440-837C-FD7490CD75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7405" y="5449040"/>
                <a:ext cx="483022" cy="542514"/>
              </a:xfrm>
              <a:custGeom>
                <a:avLst/>
                <a:gdLst>
                  <a:gd name="T0" fmla="*/ 144 w 144"/>
                  <a:gd name="T1" fmla="*/ 0 h 162"/>
                  <a:gd name="T2" fmla="*/ 109 w 144"/>
                  <a:gd name="T3" fmla="*/ 16 h 162"/>
                  <a:gd name="T4" fmla="*/ 95 w 144"/>
                  <a:gd name="T5" fmla="*/ 35 h 162"/>
                  <a:gd name="T6" fmla="*/ 93 w 144"/>
                  <a:gd name="T7" fmla="*/ 17 h 162"/>
                  <a:gd name="T8" fmla="*/ 81 w 144"/>
                  <a:gd name="T9" fmla="*/ 37 h 162"/>
                  <a:gd name="T10" fmla="*/ 53 w 144"/>
                  <a:gd name="T11" fmla="*/ 94 h 162"/>
                  <a:gd name="T12" fmla="*/ 2 w 144"/>
                  <a:gd name="T13" fmla="*/ 156 h 162"/>
                  <a:gd name="T14" fmla="*/ 32 w 144"/>
                  <a:gd name="T15" fmla="*/ 152 h 162"/>
                  <a:gd name="T16" fmla="*/ 78 w 144"/>
                  <a:gd name="T17" fmla="*/ 102 h 162"/>
                  <a:gd name="T18" fmla="*/ 80 w 144"/>
                  <a:gd name="T19" fmla="*/ 69 h 162"/>
                  <a:gd name="T20" fmla="*/ 116 w 144"/>
                  <a:gd name="T21" fmla="*/ 28 h 162"/>
                  <a:gd name="T22" fmla="*/ 144 w 144"/>
                  <a:gd name="T23" fmla="*/ 11 h 162"/>
                  <a:gd name="T24" fmla="*/ 144 w 144"/>
                  <a:gd name="T2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62">
                    <a:moveTo>
                      <a:pt x="144" y="0"/>
                    </a:moveTo>
                    <a:cubicBezTo>
                      <a:pt x="144" y="0"/>
                      <a:pt x="118" y="4"/>
                      <a:pt x="109" y="16"/>
                    </a:cubicBezTo>
                    <a:cubicBezTo>
                      <a:pt x="100" y="28"/>
                      <a:pt x="97" y="34"/>
                      <a:pt x="95" y="35"/>
                    </a:cubicBezTo>
                    <a:cubicBezTo>
                      <a:pt x="93" y="36"/>
                      <a:pt x="96" y="24"/>
                      <a:pt x="93" y="17"/>
                    </a:cubicBezTo>
                    <a:cubicBezTo>
                      <a:pt x="90" y="10"/>
                      <a:pt x="87" y="14"/>
                      <a:pt x="81" y="37"/>
                    </a:cubicBezTo>
                    <a:cubicBezTo>
                      <a:pt x="75" y="60"/>
                      <a:pt x="59" y="82"/>
                      <a:pt x="53" y="94"/>
                    </a:cubicBezTo>
                    <a:cubicBezTo>
                      <a:pt x="47" y="107"/>
                      <a:pt x="0" y="149"/>
                      <a:pt x="2" y="156"/>
                    </a:cubicBezTo>
                    <a:cubicBezTo>
                      <a:pt x="4" y="162"/>
                      <a:pt x="24" y="161"/>
                      <a:pt x="32" y="152"/>
                    </a:cubicBezTo>
                    <a:cubicBezTo>
                      <a:pt x="41" y="144"/>
                      <a:pt x="78" y="116"/>
                      <a:pt x="78" y="102"/>
                    </a:cubicBezTo>
                    <a:cubicBezTo>
                      <a:pt x="78" y="89"/>
                      <a:pt x="71" y="83"/>
                      <a:pt x="80" y="69"/>
                    </a:cubicBezTo>
                    <a:cubicBezTo>
                      <a:pt x="88" y="55"/>
                      <a:pt x="106" y="44"/>
                      <a:pt x="116" y="28"/>
                    </a:cubicBezTo>
                    <a:cubicBezTo>
                      <a:pt x="127" y="12"/>
                      <a:pt x="144" y="11"/>
                      <a:pt x="144" y="11"/>
                    </a:cubicBezTo>
                    <a:lnTo>
                      <a:pt x="144" y="0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19">
                <a:extLst>
                  <a:ext uri="{FF2B5EF4-FFF2-40B4-BE49-F238E27FC236}">
                    <a16:creationId xmlns:a16="http://schemas.microsoft.com/office/drawing/2014/main" id="{A7CD9992-2E4E-49F7-A2EE-29C8A67B13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0830" y="6011384"/>
                <a:ext cx="301712" cy="189809"/>
              </a:xfrm>
              <a:custGeom>
                <a:avLst/>
                <a:gdLst>
                  <a:gd name="T0" fmla="*/ 0 w 90"/>
                  <a:gd name="T1" fmla="*/ 9 h 57"/>
                  <a:gd name="T2" fmla="*/ 41 w 90"/>
                  <a:gd name="T3" fmla="*/ 7 h 57"/>
                  <a:gd name="T4" fmla="*/ 86 w 90"/>
                  <a:gd name="T5" fmla="*/ 31 h 57"/>
                  <a:gd name="T6" fmla="*/ 80 w 90"/>
                  <a:gd name="T7" fmla="*/ 53 h 57"/>
                  <a:gd name="T8" fmla="*/ 40 w 90"/>
                  <a:gd name="T9" fmla="*/ 36 h 57"/>
                  <a:gd name="T10" fmla="*/ 14 w 90"/>
                  <a:gd name="T11" fmla="*/ 22 h 57"/>
                  <a:gd name="T12" fmla="*/ 0 w 90"/>
                  <a:gd name="T13" fmla="*/ 23 h 57"/>
                  <a:gd name="T14" fmla="*/ 0 w 90"/>
                  <a:gd name="T15" fmla="*/ 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57">
                    <a:moveTo>
                      <a:pt x="0" y="9"/>
                    </a:moveTo>
                    <a:cubicBezTo>
                      <a:pt x="0" y="9"/>
                      <a:pt x="25" y="0"/>
                      <a:pt x="41" y="7"/>
                    </a:cubicBezTo>
                    <a:cubicBezTo>
                      <a:pt x="57" y="14"/>
                      <a:pt x="84" y="24"/>
                      <a:pt x="86" y="31"/>
                    </a:cubicBezTo>
                    <a:cubicBezTo>
                      <a:pt x="88" y="38"/>
                      <a:pt x="90" y="57"/>
                      <a:pt x="80" y="53"/>
                    </a:cubicBezTo>
                    <a:cubicBezTo>
                      <a:pt x="70" y="49"/>
                      <a:pt x="51" y="49"/>
                      <a:pt x="40" y="36"/>
                    </a:cubicBezTo>
                    <a:cubicBezTo>
                      <a:pt x="28" y="22"/>
                      <a:pt x="22" y="22"/>
                      <a:pt x="14" y="22"/>
                    </a:cubicBezTo>
                    <a:cubicBezTo>
                      <a:pt x="6" y="23"/>
                      <a:pt x="0" y="23"/>
                      <a:pt x="0" y="23"/>
                    </a:cubicBez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20">
                <a:extLst>
                  <a:ext uri="{FF2B5EF4-FFF2-40B4-BE49-F238E27FC236}">
                    <a16:creationId xmlns:a16="http://schemas.microsoft.com/office/drawing/2014/main" id="{59848447-A765-45CF-B5C3-D5C8EBF48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90088" y="5974555"/>
                <a:ext cx="174228" cy="184143"/>
              </a:xfrm>
              <a:custGeom>
                <a:avLst/>
                <a:gdLst>
                  <a:gd name="T0" fmla="*/ 0 w 52"/>
                  <a:gd name="T1" fmla="*/ 0 h 55"/>
                  <a:gd name="T2" fmla="*/ 29 w 52"/>
                  <a:gd name="T3" fmla="*/ 10 h 55"/>
                  <a:gd name="T4" fmla="*/ 46 w 52"/>
                  <a:gd name="T5" fmla="*/ 23 h 55"/>
                  <a:gd name="T6" fmla="*/ 11 w 52"/>
                  <a:gd name="T7" fmla="*/ 55 h 55"/>
                  <a:gd name="T8" fmla="*/ 7 w 52"/>
                  <a:gd name="T9" fmla="*/ 21 h 55"/>
                  <a:gd name="T10" fmla="*/ 0 w 52"/>
                  <a:gd name="T1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55">
                    <a:moveTo>
                      <a:pt x="0" y="0"/>
                    </a:moveTo>
                    <a:cubicBezTo>
                      <a:pt x="0" y="0"/>
                      <a:pt x="10" y="8"/>
                      <a:pt x="29" y="10"/>
                    </a:cubicBezTo>
                    <a:cubicBezTo>
                      <a:pt x="48" y="12"/>
                      <a:pt x="52" y="18"/>
                      <a:pt x="46" y="23"/>
                    </a:cubicBezTo>
                    <a:cubicBezTo>
                      <a:pt x="39" y="29"/>
                      <a:pt x="11" y="55"/>
                      <a:pt x="11" y="55"/>
                    </a:cubicBezTo>
                    <a:cubicBezTo>
                      <a:pt x="11" y="55"/>
                      <a:pt x="13" y="36"/>
                      <a:pt x="7" y="21"/>
                    </a:cubicBezTo>
                    <a:cubicBezTo>
                      <a:pt x="1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21">
                <a:extLst>
                  <a:ext uri="{FF2B5EF4-FFF2-40B4-BE49-F238E27FC236}">
                    <a16:creationId xmlns:a16="http://schemas.microsoft.com/office/drawing/2014/main" id="{626EB1D6-987D-4EA5-A48A-9B5B0000AC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63175" y="5793245"/>
                <a:ext cx="437694" cy="331458"/>
              </a:xfrm>
              <a:custGeom>
                <a:avLst/>
                <a:gdLst>
                  <a:gd name="T0" fmla="*/ 0 w 131"/>
                  <a:gd name="T1" fmla="*/ 24 h 99"/>
                  <a:gd name="T2" fmla="*/ 30 w 131"/>
                  <a:gd name="T3" fmla="*/ 29 h 99"/>
                  <a:gd name="T4" fmla="*/ 121 w 131"/>
                  <a:gd name="T5" fmla="*/ 98 h 99"/>
                  <a:gd name="T6" fmla="*/ 108 w 131"/>
                  <a:gd name="T7" fmla="*/ 77 h 99"/>
                  <a:gd name="T8" fmla="*/ 74 w 131"/>
                  <a:gd name="T9" fmla="*/ 43 h 99"/>
                  <a:gd name="T10" fmla="*/ 46 w 131"/>
                  <a:gd name="T11" fmla="*/ 23 h 99"/>
                  <a:gd name="T12" fmla="*/ 20 w 131"/>
                  <a:gd name="T13" fmla="*/ 2 h 99"/>
                  <a:gd name="T14" fmla="*/ 2 w 131"/>
                  <a:gd name="T15" fmla="*/ 15 h 99"/>
                  <a:gd name="T16" fmla="*/ 0 w 131"/>
                  <a:gd name="T17" fmla="*/ 2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1" h="99">
                    <a:moveTo>
                      <a:pt x="0" y="24"/>
                    </a:moveTo>
                    <a:cubicBezTo>
                      <a:pt x="0" y="24"/>
                      <a:pt x="21" y="22"/>
                      <a:pt x="30" y="29"/>
                    </a:cubicBezTo>
                    <a:cubicBezTo>
                      <a:pt x="38" y="35"/>
                      <a:pt x="111" y="97"/>
                      <a:pt x="121" y="98"/>
                    </a:cubicBezTo>
                    <a:cubicBezTo>
                      <a:pt x="131" y="99"/>
                      <a:pt x="116" y="84"/>
                      <a:pt x="108" y="77"/>
                    </a:cubicBezTo>
                    <a:cubicBezTo>
                      <a:pt x="100" y="69"/>
                      <a:pt x="90" y="57"/>
                      <a:pt x="74" y="43"/>
                    </a:cubicBezTo>
                    <a:cubicBezTo>
                      <a:pt x="59" y="29"/>
                      <a:pt x="66" y="38"/>
                      <a:pt x="46" y="23"/>
                    </a:cubicBezTo>
                    <a:cubicBezTo>
                      <a:pt x="27" y="9"/>
                      <a:pt x="29" y="0"/>
                      <a:pt x="20" y="2"/>
                    </a:cubicBezTo>
                    <a:cubicBezTo>
                      <a:pt x="12" y="4"/>
                      <a:pt x="2" y="15"/>
                      <a:pt x="2" y="15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22">
                <a:extLst>
                  <a:ext uri="{FF2B5EF4-FFF2-40B4-BE49-F238E27FC236}">
                    <a16:creationId xmlns:a16="http://schemas.microsoft.com/office/drawing/2014/main" id="{A28490BB-B382-477C-9A34-A782C5186C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63745" y="6085041"/>
                <a:ext cx="327209" cy="106237"/>
              </a:xfrm>
              <a:custGeom>
                <a:avLst/>
                <a:gdLst>
                  <a:gd name="T0" fmla="*/ 0 w 98"/>
                  <a:gd name="T1" fmla="*/ 24 h 32"/>
                  <a:gd name="T2" fmla="*/ 33 w 98"/>
                  <a:gd name="T3" fmla="*/ 1 h 32"/>
                  <a:gd name="T4" fmla="*/ 89 w 98"/>
                  <a:gd name="T5" fmla="*/ 22 h 32"/>
                  <a:gd name="T6" fmla="*/ 76 w 98"/>
                  <a:gd name="T7" fmla="*/ 26 h 32"/>
                  <a:gd name="T8" fmla="*/ 54 w 98"/>
                  <a:gd name="T9" fmla="*/ 21 h 32"/>
                  <a:gd name="T10" fmla="*/ 0 w 98"/>
                  <a:gd name="T11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32">
                    <a:moveTo>
                      <a:pt x="0" y="24"/>
                    </a:moveTo>
                    <a:cubicBezTo>
                      <a:pt x="0" y="24"/>
                      <a:pt x="25" y="0"/>
                      <a:pt x="33" y="1"/>
                    </a:cubicBezTo>
                    <a:cubicBezTo>
                      <a:pt x="41" y="2"/>
                      <a:pt x="80" y="11"/>
                      <a:pt x="89" y="22"/>
                    </a:cubicBezTo>
                    <a:cubicBezTo>
                      <a:pt x="98" y="32"/>
                      <a:pt x="81" y="24"/>
                      <a:pt x="76" y="26"/>
                    </a:cubicBezTo>
                    <a:cubicBezTo>
                      <a:pt x="70" y="28"/>
                      <a:pt x="74" y="26"/>
                      <a:pt x="54" y="21"/>
                    </a:cubicBezTo>
                    <a:cubicBezTo>
                      <a:pt x="33" y="16"/>
                      <a:pt x="40" y="5"/>
                      <a:pt x="0" y="24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23">
                <a:extLst>
                  <a:ext uri="{FF2B5EF4-FFF2-40B4-BE49-F238E27FC236}">
                    <a16:creationId xmlns:a16="http://schemas.microsoft.com/office/drawing/2014/main" id="{1B7BE0F1-2C49-43F3-8B77-7033E66234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38543" y="5188406"/>
                <a:ext cx="203974" cy="223805"/>
              </a:xfrm>
              <a:custGeom>
                <a:avLst/>
                <a:gdLst>
                  <a:gd name="T0" fmla="*/ 57 w 61"/>
                  <a:gd name="T1" fmla="*/ 67 h 67"/>
                  <a:gd name="T2" fmla="*/ 26 w 61"/>
                  <a:gd name="T3" fmla="*/ 36 h 67"/>
                  <a:gd name="T4" fmla="*/ 5 w 61"/>
                  <a:gd name="T5" fmla="*/ 7 h 67"/>
                  <a:gd name="T6" fmla="*/ 30 w 61"/>
                  <a:gd name="T7" fmla="*/ 32 h 67"/>
                  <a:gd name="T8" fmla="*/ 61 w 61"/>
                  <a:gd name="T9" fmla="*/ 57 h 67"/>
                  <a:gd name="T10" fmla="*/ 57 w 61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67">
                    <a:moveTo>
                      <a:pt x="57" y="67"/>
                    </a:moveTo>
                    <a:cubicBezTo>
                      <a:pt x="57" y="67"/>
                      <a:pt x="36" y="45"/>
                      <a:pt x="26" y="36"/>
                    </a:cubicBezTo>
                    <a:cubicBezTo>
                      <a:pt x="16" y="26"/>
                      <a:pt x="10" y="14"/>
                      <a:pt x="5" y="7"/>
                    </a:cubicBezTo>
                    <a:cubicBezTo>
                      <a:pt x="0" y="0"/>
                      <a:pt x="20" y="26"/>
                      <a:pt x="30" y="32"/>
                    </a:cubicBezTo>
                    <a:cubicBezTo>
                      <a:pt x="41" y="39"/>
                      <a:pt x="61" y="57"/>
                      <a:pt x="61" y="57"/>
                    </a:cubicBezTo>
                    <a:lnTo>
                      <a:pt x="57" y="67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24">
                <a:extLst>
                  <a:ext uri="{FF2B5EF4-FFF2-40B4-BE49-F238E27FC236}">
                    <a16:creationId xmlns:a16="http://schemas.microsoft.com/office/drawing/2014/main" id="{F56715CF-192C-46C6-81EC-7175980443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747" y="5019844"/>
                <a:ext cx="203974" cy="114736"/>
              </a:xfrm>
              <a:custGeom>
                <a:avLst/>
                <a:gdLst>
                  <a:gd name="T0" fmla="*/ 5 w 61"/>
                  <a:gd name="T1" fmla="*/ 1 h 34"/>
                  <a:gd name="T2" fmla="*/ 34 w 61"/>
                  <a:gd name="T3" fmla="*/ 8 h 34"/>
                  <a:gd name="T4" fmla="*/ 59 w 61"/>
                  <a:gd name="T5" fmla="*/ 29 h 34"/>
                  <a:gd name="T6" fmla="*/ 37 w 61"/>
                  <a:gd name="T7" fmla="*/ 25 h 34"/>
                  <a:gd name="T8" fmla="*/ 7 w 61"/>
                  <a:gd name="T9" fmla="*/ 17 h 34"/>
                  <a:gd name="T10" fmla="*/ 5 w 61"/>
                  <a:gd name="T1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34">
                    <a:moveTo>
                      <a:pt x="5" y="1"/>
                    </a:moveTo>
                    <a:cubicBezTo>
                      <a:pt x="5" y="1"/>
                      <a:pt x="17" y="0"/>
                      <a:pt x="34" y="8"/>
                    </a:cubicBezTo>
                    <a:cubicBezTo>
                      <a:pt x="51" y="15"/>
                      <a:pt x="57" y="24"/>
                      <a:pt x="59" y="29"/>
                    </a:cubicBezTo>
                    <a:cubicBezTo>
                      <a:pt x="61" y="34"/>
                      <a:pt x="45" y="25"/>
                      <a:pt x="37" y="25"/>
                    </a:cubicBezTo>
                    <a:cubicBezTo>
                      <a:pt x="29" y="25"/>
                      <a:pt x="11" y="26"/>
                      <a:pt x="7" y="17"/>
                    </a:cubicBezTo>
                    <a:cubicBezTo>
                      <a:pt x="4" y="8"/>
                      <a:pt x="0" y="15"/>
                      <a:pt x="5" y="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5">
                <a:extLst>
                  <a:ext uri="{FF2B5EF4-FFF2-40B4-BE49-F238E27FC236}">
                    <a16:creationId xmlns:a16="http://schemas.microsoft.com/office/drawing/2014/main" id="{E7475A8F-60B2-4148-BFF2-E0BA91D1B0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3492" y="4839951"/>
                <a:ext cx="458941" cy="179894"/>
              </a:xfrm>
              <a:custGeom>
                <a:avLst/>
                <a:gdLst>
                  <a:gd name="T0" fmla="*/ 0 w 137"/>
                  <a:gd name="T1" fmla="*/ 43 h 54"/>
                  <a:gd name="T2" fmla="*/ 25 w 137"/>
                  <a:gd name="T3" fmla="*/ 28 h 54"/>
                  <a:gd name="T4" fmla="*/ 65 w 137"/>
                  <a:gd name="T5" fmla="*/ 14 h 54"/>
                  <a:gd name="T6" fmla="*/ 117 w 137"/>
                  <a:gd name="T7" fmla="*/ 2 h 54"/>
                  <a:gd name="T8" fmla="*/ 121 w 137"/>
                  <a:gd name="T9" fmla="*/ 16 h 54"/>
                  <a:gd name="T10" fmla="*/ 84 w 137"/>
                  <a:gd name="T11" fmla="*/ 37 h 54"/>
                  <a:gd name="T12" fmla="*/ 43 w 137"/>
                  <a:gd name="T13" fmla="*/ 46 h 54"/>
                  <a:gd name="T14" fmla="*/ 0 w 137"/>
                  <a:gd name="T15" fmla="*/ 4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7" h="54">
                    <a:moveTo>
                      <a:pt x="0" y="43"/>
                    </a:moveTo>
                    <a:cubicBezTo>
                      <a:pt x="0" y="43"/>
                      <a:pt x="11" y="36"/>
                      <a:pt x="25" y="28"/>
                    </a:cubicBezTo>
                    <a:cubicBezTo>
                      <a:pt x="38" y="20"/>
                      <a:pt x="47" y="14"/>
                      <a:pt x="65" y="14"/>
                    </a:cubicBezTo>
                    <a:cubicBezTo>
                      <a:pt x="83" y="13"/>
                      <a:pt x="103" y="4"/>
                      <a:pt x="117" y="2"/>
                    </a:cubicBezTo>
                    <a:cubicBezTo>
                      <a:pt x="131" y="0"/>
                      <a:pt x="137" y="12"/>
                      <a:pt x="121" y="16"/>
                    </a:cubicBezTo>
                    <a:cubicBezTo>
                      <a:pt x="105" y="21"/>
                      <a:pt x="93" y="28"/>
                      <a:pt x="84" y="37"/>
                    </a:cubicBezTo>
                    <a:cubicBezTo>
                      <a:pt x="75" y="46"/>
                      <a:pt x="67" y="50"/>
                      <a:pt x="43" y="46"/>
                    </a:cubicBezTo>
                    <a:cubicBezTo>
                      <a:pt x="20" y="43"/>
                      <a:pt x="1" y="54"/>
                      <a:pt x="0" y="4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6">
                <a:extLst>
                  <a:ext uri="{FF2B5EF4-FFF2-40B4-BE49-F238E27FC236}">
                    <a16:creationId xmlns:a16="http://schemas.microsoft.com/office/drawing/2014/main" id="{E9A39F9B-0B61-4633-9ADA-7307F14675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49856" y="5124664"/>
                <a:ext cx="83573" cy="96321"/>
              </a:xfrm>
              <a:custGeom>
                <a:avLst/>
                <a:gdLst>
                  <a:gd name="T0" fmla="*/ 25 w 25"/>
                  <a:gd name="T1" fmla="*/ 12 h 29"/>
                  <a:gd name="T2" fmla="*/ 8 w 25"/>
                  <a:gd name="T3" fmla="*/ 25 h 29"/>
                  <a:gd name="T4" fmla="*/ 24 w 25"/>
                  <a:gd name="T5" fmla="*/ 0 h 29"/>
                  <a:gd name="T6" fmla="*/ 25 w 25"/>
                  <a:gd name="T7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29">
                    <a:moveTo>
                      <a:pt x="25" y="12"/>
                    </a:moveTo>
                    <a:cubicBezTo>
                      <a:pt x="25" y="12"/>
                      <a:pt x="17" y="21"/>
                      <a:pt x="8" y="25"/>
                    </a:cubicBezTo>
                    <a:cubicBezTo>
                      <a:pt x="0" y="29"/>
                      <a:pt x="11" y="20"/>
                      <a:pt x="24" y="0"/>
                    </a:cubicBez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7">
                <a:extLst>
                  <a:ext uri="{FF2B5EF4-FFF2-40B4-BE49-F238E27FC236}">
                    <a16:creationId xmlns:a16="http://schemas.microsoft.com/office/drawing/2014/main" id="{60BC7C6F-1393-4455-B633-14C260B2A7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18694" y="5220985"/>
                <a:ext cx="131734" cy="93488"/>
              </a:xfrm>
              <a:custGeom>
                <a:avLst/>
                <a:gdLst>
                  <a:gd name="T0" fmla="*/ 32 w 39"/>
                  <a:gd name="T1" fmla="*/ 16 h 28"/>
                  <a:gd name="T2" fmla="*/ 9 w 39"/>
                  <a:gd name="T3" fmla="*/ 4 h 28"/>
                  <a:gd name="T4" fmla="*/ 11 w 39"/>
                  <a:gd name="T5" fmla="*/ 18 h 28"/>
                  <a:gd name="T6" fmla="*/ 24 w 39"/>
                  <a:gd name="T7" fmla="*/ 28 h 28"/>
                  <a:gd name="T8" fmla="*/ 35 w 39"/>
                  <a:gd name="T9" fmla="*/ 28 h 28"/>
                  <a:gd name="T10" fmla="*/ 32 w 39"/>
                  <a:gd name="T11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8">
                    <a:moveTo>
                      <a:pt x="32" y="16"/>
                    </a:moveTo>
                    <a:cubicBezTo>
                      <a:pt x="32" y="16"/>
                      <a:pt x="17" y="8"/>
                      <a:pt x="9" y="4"/>
                    </a:cubicBezTo>
                    <a:cubicBezTo>
                      <a:pt x="0" y="0"/>
                      <a:pt x="4" y="16"/>
                      <a:pt x="11" y="18"/>
                    </a:cubicBezTo>
                    <a:cubicBezTo>
                      <a:pt x="17" y="21"/>
                      <a:pt x="17" y="27"/>
                      <a:pt x="24" y="28"/>
                    </a:cubicBezTo>
                    <a:cubicBezTo>
                      <a:pt x="31" y="28"/>
                      <a:pt x="35" y="28"/>
                      <a:pt x="35" y="28"/>
                    </a:cubicBezTo>
                    <a:cubicBezTo>
                      <a:pt x="35" y="28"/>
                      <a:pt x="39" y="24"/>
                      <a:pt x="32" y="1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8">
                <a:extLst>
                  <a:ext uri="{FF2B5EF4-FFF2-40B4-BE49-F238E27FC236}">
                    <a16:creationId xmlns:a16="http://schemas.microsoft.com/office/drawing/2014/main" id="{3E1FA048-8907-46E7-A8D1-9F32699E5E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1654" y="5024094"/>
                <a:ext cx="211057" cy="96321"/>
              </a:xfrm>
              <a:custGeom>
                <a:avLst/>
                <a:gdLst>
                  <a:gd name="T0" fmla="*/ 0 w 63"/>
                  <a:gd name="T1" fmla="*/ 11 h 29"/>
                  <a:gd name="T2" fmla="*/ 20 w 63"/>
                  <a:gd name="T3" fmla="*/ 3 h 29"/>
                  <a:gd name="T4" fmla="*/ 45 w 63"/>
                  <a:gd name="T5" fmla="*/ 12 h 29"/>
                  <a:gd name="T6" fmla="*/ 42 w 63"/>
                  <a:gd name="T7" fmla="*/ 19 h 29"/>
                  <a:gd name="T8" fmla="*/ 25 w 63"/>
                  <a:gd name="T9" fmla="*/ 26 h 29"/>
                  <a:gd name="T10" fmla="*/ 7 w 63"/>
                  <a:gd name="T11" fmla="*/ 19 h 29"/>
                  <a:gd name="T12" fmla="*/ 0 w 63"/>
                  <a:gd name="T1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9">
                    <a:moveTo>
                      <a:pt x="0" y="11"/>
                    </a:moveTo>
                    <a:cubicBezTo>
                      <a:pt x="0" y="11"/>
                      <a:pt x="12" y="5"/>
                      <a:pt x="20" y="3"/>
                    </a:cubicBezTo>
                    <a:cubicBezTo>
                      <a:pt x="28" y="0"/>
                      <a:pt x="28" y="2"/>
                      <a:pt x="45" y="12"/>
                    </a:cubicBezTo>
                    <a:cubicBezTo>
                      <a:pt x="63" y="22"/>
                      <a:pt x="59" y="19"/>
                      <a:pt x="42" y="19"/>
                    </a:cubicBezTo>
                    <a:cubicBezTo>
                      <a:pt x="25" y="18"/>
                      <a:pt x="33" y="23"/>
                      <a:pt x="25" y="26"/>
                    </a:cubicBezTo>
                    <a:cubicBezTo>
                      <a:pt x="17" y="29"/>
                      <a:pt x="10" y="26"/>
                      <a:pt x="7" y="19"/>
                    </a:cubicBezTo>
                    <a:cubicBezTo>
                      <a:pt x="5" y="13"/>
                      <a:pt x="0" y="11"/>
                      <a:pt x="0" y="1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9">
                <a:extLst>
                  <a:ext uri="{FF2B5EF4-FFF2-40B4-BE49-F238E27FC236}">
                    <a16:creationId xmlns:a16="http://schemas.microsoft.com/office/drawing/2014/main" id="{8FE8B336-DCE7-444E-BF5C-15733E4A3F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5228" y="4746463"/>
                <a:ext cx="287547" cy="189809"/>
              </a:xfrm>
              <a:custGeom>
                <a:avLst/>
                <a:gdLst>
                  <a:gd name="T0" fmla="*/ 0 w 86"/>
                  <a:gd name="T1" fmla="*/ 46 h 57"/>
                  <a:gd name="T2" fmla="*/ 22 w 86"/>
                  <a:gd name="T3" fmla="*/ 30 h 57"/>
                  <a:gd name="T4" fmla="*/ 57 w 86"/>
                  <a:gd name="T5" fmla="*/ 8 h 57"/>
                  <a:gd name="T6" fmla="*/ 71 w 86"/>
                  <a:gd name="T7" fmla="*/ 16 h 57"/>
                  <a:gd name="T8" fmla="*/ 49 w 86"/>
                  <a:gd name="T9" fmla="*/ 22 h 57"/>
                  <a:gd name="T10" fmla="*/ 26 w 86"/>
                  <a:gd name="T11" fmla="*/ 42 h 57"/>
                  <a:gd name="T12" fmla="*/ 0 w 86"/>
                  <a:gd name="T13" fmla="*/ 4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57">
                    <a:moveTo>
                      <a:pt x="0" y="46"/>
                    </a:moveTo>
                    <a:cubicBezTo>
                      <a:pt x="0" y="46"/>
                      <a:pt x="6" y="40"/>
                      <a:pt x="22" y="30"/>
                    </a:cubicBezTo>
                    <a:cubicBezTo>
                      <a:pt x="38" y="19"/>
                      <a:pt x="28" y="17"/>
                      <a:pt x="57" y="8"/>
                    </a:cubicBezTo>
                    <a:cubicBezTo>
                      <a:pt x="86" y="0"/>
                      <a:pt x="82" y="11"/>
                      <a:pt x="71" y="16"/>
                    </a:cubicBezTo>
                    <a:cubicBezTo>
                      <a:pt x="60" y="22"/>
                      <a:pt x="63" y="12"/>
                      <a:pt x="49" y="22"/>
                    </a:cubicBezTo>
                    <a:cubicBezTo>
                      <a:pt x="35" y="32"/>
                      <a:pt x="38" y="40"/>
                      <a:pt x="26" y="42"/>
                    </a:cubicBezTo>
                    <a:cubicBezTo>
                      <a:pt x="13" y="44"/>
                      <a:pt x="4" y="57"/>
                      <a:pt x="0" y="4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30">
                <a:extLst>
                  <a:ext uri="{FF2B5EF4-FFF2-40B4-BE49-F238E27FC236}">
                    <a16:creationId xmlns:a16="http://schemas.microsoft.com/office/drawing/2014/main" id="{9BEE5B62-DDC2-4F4D-B6D9-D9449AE192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3153" y="4424920"/>
                <a:ext cx="230888" cy="287547"/>
              </a:xfrm>
              <a:custGeom>
                <a:avLst/>
                <a:gdLst>
                  <a:gd name="T0" fmla="*/ 0 w 69"/>
                  <a:gd name="T1" fmla="*/ 81 h 86"/>
                  <a:gd name="T2" fmla="*/ 37 w 69"/>
                  <a:gd name="T3" fmla="*/ 47 h 86"/>
                  <a:gd name="T4" fmla="*/ 55 w 69"/>
                  <a:gd name="T5" fmla="*/ 13 h 86"/>
                  <a:gd name="T6" fmla="*/ 55 w 69"/>
                  <a:gd name="T7" fmla="*/ 28 h 86"/>
                  <a:gd name="T8" fmla="*/ 43 w 69"/>
                  <a:gd name="T9" fmla="*/ 49 h 86"/>
                  <a:gd name="T10" fmla="*/ 2 w 69"/>
                  <a:gd name="T11" fmla="*/ 86 h 86"/>
                  <a:gd name="T12" fmla="*/ 0 w 69"/>
                  <a:gd name="T13" fmla="*/ 81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86">
                    <a:moveTo>
                      <a:pt x="0" y="81"/>
                    </a:moveTo>
                    <a:cubicBezTo>
                      <a:pt x="0" y="81"/>
                      <a:pt x="31" y="62"/>
                      <a:pt x="37" y="47"/>
                    </a:cubicBezTo>
                    <a:cubicBezTo>
                      <a:pt x="43" y="32"/>
                      <a:pt x="42" y="26"/>
                      <a:pt x="55" y="13"/>
                    </a:cubicBezTo>
                    <a:cubicBezTo>
                      <a:pt x="67" y="0"/>
                      <a:pt x="69" y="13"/>
                      <a:pt x="55" y="28"/>
                    </a:cubicBezTo>
                    <a:cubicBezTo>
                      <a:pt x="40" y="42"/>
                      <a:pt x="57" y="38"/>
                      <a:pt x="43" y="49"/>
                    </a:cubicBezTo>
                    <a:cubicBezTo>
                      <a:pt x="28" y="60"/>
                      <a:pt x="2" y="86"/>
                      <a:pt x="2" y="86"/>
                    </a:cubicBez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31">
                <a:extLst>
                  <a:ext uri="{FF2B5EF4-FFF2-40B4-BE49-F238E27FC236}">
                    <a16:creationId xmlns:a16="http://schemas.microsoft.com/office/drawing/2014/main" id="{FB610BCE-4CB5-4760-B49F-13937859A4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1463" y="3779003"/>
                <a:ext cx="409365" cy="743655"/>
              </a:xfrm>
              <a:custGeom>
                <a:avLst/>
                <a:gdLst>
                  <a:gd name="T0" fmla="*/ 102 w 122"/>
                  <a:gd name="T1" fmla="*/ 222 h 222"/>
                  <a:gd name="T2" fmla="*/ 93 w 122"/>
                  <a:gd name="T3" fmla="*/ 184 h 222"/>
                  <a:gd name="T4" fmla="*/ 98 w 122"/>
                  <a:gd name="T5" fmla="*/ 125 h 222"/>
                  <a:gd name="T6" fmla="*/ 92 w 122"/>
                  <a:gd name="T7" fmla="*/ 101 h 222"/>
                  <a:gd name="T8" fmla="*/ 75 w 122"/>
                  <a:gd name="T9" fmla="*/ 53 h 222"/>
                  <a:gd name="T10" fmla="*/ 8 w 122"/>
                  <a:gd name="T11" fmla="*/ 3 h 222"/>
                  <a:gd name="T12" fmla="*/ 65 w 122"/>
                  <a:gd name="T13" fmla="*/ 29 h 222"/>
                  <a:gd name="T14" fmla="*/ 58 w 122"/>
                  <a:gd name="T15" fmla="*/ 15 h 222"/>
                  <a:gd name="T16" fmla="*/ 101 w 122"/>
                  <a:gd name="T17" fmla="*/ 55 h 222"/>
                  <a:gd name="T18" fmla="*/ 116 w 122"/>
                  <a:gd name="T19" fmla="*/ 74 h 222"/>
                  <a:gd name="T20" fmla="*/ 120 w 122"/>
                  <a:gd name="T21" fmla="*/ 173 h 222"/>
                  <a:gd name="T22" fmla="*/ 102 w 122"/>
                  <a:gd name="T23" fmla="*/ 222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2" h="222">
                    <a:moveTo>
                      <a:pt x="102" y="222"/>
                    </a:moveTo>
                    <a:cubicBezTo>
                      <a:pt x="102" y="222"/>
                      <a:pt x="92" y="203"/>
                      <a:pt x="93" y="184"/>
                    </a:cubicBezTo>
                    <a:cubicBezTo>
                      <a:pt x="94" y="165"/>
                      <a:pt x="99" y="135"/>
                      <a:pt x="98" y="125"/>
                    </a:cubicBezTo>
                    <a:cubicBezTo>
                      <a:pt x="96" y="114"/>
                      <a:pt x="96" y="110"/>
                      <a:pt x="92" y="101"/>
                    </a:cubicBezTo>
                    <a:cubicBezTo>
                      <a:pt x="88" y="93"/>
                      <a:pt x="84" y="65"/>
                      <a:pt x="75" y="53"/>
                    </a:cubicBezTo>
                    <a:cubicBezTo>
                      <a:pt x="66" y="41"/>
                      <a:pt x="16" y="7"/>
                      <a:pt x="8" y="3"/>
                    </a:cubicBezTo>
                    <a:cubicBezTo>
                      <a:pt x="0" y="0"/>
                      <a:pt x="35" y="9"/>
                      <a:pt x="65" y="29"/>
                    </a:cubicBezTo>
                    <a:cubicBezTo>
                      <a:pt x="95" y="48"/>
                      <a:pt x="58" y="23"/>
                      <a:pt x="58" y="15"/>
                    </a:cubicBezTo>
                    <a:cubicBezTo>
                      <a:pt x="58" y="6"/>
                      <a:pt x="98" y="48"/>
                      <a:pt x="101" y="55"/>
                    </a:cubicBezTo>
                    <a:cubicBezTo>
                      <a:pt x="104" y="61"/>
                      <a:pt x="114" y="67"/>
                      <a:pt x="116" y="74"/>
                    </a:cubicBezTo>
                    <a:cubicBezTo>
                      <a:pt x="118" y="81"/>
                      <a:pt x="122" y="171"/>
                      <a:pt x="120" y="173"/>
                    </a:cubicBezTo>
                    <a:cubicBezTo>
                      <a:pt x="117" y="175"/>
                      <a:pt x="102" y="222"/>
                      <a:pt x="102" y="222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32">
                <a:extLst>
                  <a:ext uri="{FF2B5EF4-FFF2-40B4-BE49-F238E27FC236}">
                    <a16:creationId xmlns:a16="http://schemas.microsoft.com/office/drawing/2014/main" id="{C0F68545-989F-4A58-9303-004268AE53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5435" y="3199661"/>
                <a:ext cx="130317" cy="1589297"/>
              </a:xfrm>
              <a:custGeom>
                <a:avLst/>
                <a:gdLst>
                  <a:gd name="T0" fmla="*/ 4 w 39"/>
                  <a:gd name="T1" fmla="*/ 0 h 475"/>
                  <a:gd name="T2" fmla="*/ 20 w 39"/>
                  <a:gd name="T3" fmla="*/ 78 h 475"/>
                  <a:gd name="T4" fmla="*/ 33 w 39"/>
                  <a:gd name="T5" fmla="*/ 140 h 475"/>
                  <a:gd name="T6" fmla="*/ 15 w 39"/>
                  <a:gd name="T7" fmla="*/ 208 h 475"/>
                  <a:gd name="T8" fmla="*/ 5 w 39"/>
                  <a:gd name="T9" fmla="*/ 458 h 475"/>
                  <a:gd name="T10" fmla="*/ 7 w 39"/>
                  <a:gd name="T11" fmla="*/ 284 h 475"/>
                  <a:gd name="T12" fmla="*/ 29 w 39"/>
                  <a:gd name="T13" fmla="*/ 137 h 475"/>
                  <a:gd name="T14" fmla="*/ 26 w 39"/>
                  <a:gd name="T15" fmla="*/ 121 h 475"/>
                  <a:gd name="T16" fmla="*/ 4 w 39"/>
                  <a:gd name="T17" fmla="*/ 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475">
                    <a:moveTo>
                      <a:pt x="4" y="0"/>
                    </a:moveTo>
                    <a:cubicBezTo>
                      <a:pt x="4" y="0"/>
                      <a:pt x="16" y="60"/>
                      <a:pt x="20" y="78"/>
                    </a:cubicBezTo>
                    <a:cubicBezTo>
                      <a:pt x="24" y="95"/>
                      <a:pt x="39" y="132"/>
                      <a:pt x="33" y="140"/>
                    </a:cubicBezTo>
                    <a:cubicBezTo>
                      <a:pt x="27" y="149"/>
                      <a:pt x="15" y="186"/>
                      <a:pt x="15" y="208"/>
                    </a:cubicBezTo>
                    <a:cubicBezTo>
                      <a:pt x="15" y="229"/>
                      <a:pt x="7" y="442"/>
                      <a:pt x="5" y="458"/>
                    </a:cubicBezTo>
                    <a:cubicBezTo>
                      <a:pt x="3" y="475"/>
                      <a:pt x="6" y="296"/>
                      <a:pt x="7" y="284"/>
                    </a:cubicBezTo>
                    <a:cubicBezTo>
                      <a:pt x="9" y="272"/>
                      <a:pt x="3" y="167"/>
                      <a:pt x="29" y="137"/>
                    </a:cubicBezTo>
                    <a:cubicBezTo>
                      <a:pt x="29" y="137"/>
                      <a:pt x="28" y="128"/>
                      <a:pt x="26" y="121"/>
                    </a:cubicBezTo>
                    <a:cubicBezTo>
                      <a:pt x="24" y="114"/>
                      <a:pt x="0" y="8"/>
                      <a:pt x="4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33">
                <a:extLst>
                  <a:ext uri="{FF2B5EF4-FFF2-40B4-BE49-F238E27FC236}">
                    <a16:creationId xmlns:a16="http://schemas.microsoft.com/office/drawing/2014/main" id="{4FA05323-E220-4A92-B8B2-79A0F6212A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0257" y="3592027"/>
                <a:ext cx="334290" cy="211057"/>
              </a:xfrm>
              <a:custGeom>
                <a:avLst/>
                <a:gdLst>
                  <a:gd name="T0" fmla="*/ 100 w 100"/>
                  <a:gd name="T1" fmla="*/ 0 h 63"/>
                  <a:gd name="T2" fmla="*/ 26 w 100"/>
                  <a:gd name="T3" fmla="*/ 34 h 63"/>
                  <a:gd name="T4" fmla="*/ 24 w 100"/>
                  <a:gd name="T5" fmla="*/ 41 h 63"/>
                  <a:gd name="T6" fmla="*/ 100 w 100"/>
                  <a:gd name="T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63">
                    <a:moveTo>
                      <a:pt x="100" y="0"/>
                    </a:moveTo>
                    <a:cubicBezTo>
                      <a:pt x="100" y="0"/>
                      <a:pt x="52" y="5"/>
                      <a:pt x="26" y="34"/>
                    </a:cubicBezTo>
                    <a:cubicBezTo>
                      <a:pt x="0" y="63"/>
                      <a:pt x="20" y="45"/>
                      <a:pt x="24" y="41"/>
                    </a:cubicBezTo>
                    <a:cubicBezTo>
                      <a:pt x="29" y="37"/>
                      <a:pt x="44" y="25"/>
                      <a:pt x="100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34">
                <a:extLst>
                  <a:ext uri="{FF2B5EF4-FFF2-40B4-BE49-F238E27FC236}">
                    <a16:creationId xmlns:a16="http://schemas.microsoft.com/office/drawing/2014/main" id="{1A520084-5F71-404C-BC8C-D1C65292E7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2373" y="3230824"/>
                <a:ext cx="147314" cy="106237"/>
              </a:xfrm>
              <a:custGeom>
                <a:avLst/>
                <a:gdLst>
                  <a:gd name="T0" fmla="*/ 44 w 44"/>
                  <a:gd name="T1" fmla="*/ 21 h 32"/>
                  <a:gd name="T2" fmla="*/ 13 w 44"/>
                  <a:gd name="T3" fmla="*/ 9 h 32"/>
                  <a:gd name="T4" fmla="*/ 3 w 44"/>
                  <a:gd name="T5" fmla="*/ 0 h 32"/>
                  <a:gd name="T6" fmla="*/ 4 w 44"/>
                  <a:gd name="T7" fmla="*/ 11 h 32"/>
                  <a:gd name="T8" fmla="*/ 15 w 44"/>
                  <a:gd name="T9" fmla="*/ 24 h 32"/>
                  <a:gd name="T10" fmla="*/ 42 w 44"/>
                  <a:gd name="T11" fmla="*/ 32 h 32"/>
                  <a:gd name="T12" fmla="*/ 44 w 44"/>
                  <a:gd name="T13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32">
                    <a:moveTo>
                      <a:pt x="44" y="21"/>
                    </a:moveTo>
                    <a:cubicBezTo>
                      <a:pt x="44" y="21"/>
                      <a:pt x="17" y="15"/>
                      <a:pt x="13" y="9"/>
                    </a:cubicBezTo>
                    <a:cubicBezTo>
                      <a:pt x="9" y="2"/>
                      <a:pt x="6" y="0"/>
                      <a:pt x="3" y="0"/>
                    </a:cubicBezTo>
                    <a:cubicBezTo>
                      <a:pt x="0" y="0"/>
                      <a:pt x="6" y="7"/>
                      <a:pt x="4" y="11"/>
                    </a:cubicBezTo>
                    <a:cubicBezTo>
                      <a:pt x="1" y="14"/>
                      <a:pt x="1" y="17"/>
                      <a:pt x="15" y="24"/>
                    </a:cubicBezTo>
                    <a:cubicBezTo>
                      <a:pt x="29" y="31"/>
                      <a:pt x="42" y="32"/>
                      <a:pt x="42" y="32"/>
                    </a:cubicBezTo>
                    <a:cubicBezTo>
                      <a:pt x="42" y="32"/>
                      <a:pt x="44" y="32"/>
                      <a:pt x="44" y="2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35">
                <a:extLst>
                  <a:ext uri="{FF2B5EF4-FFF2-40B4-BE49-F238E27FC236}">
                    <a16:creationId xmlns:a16="http://schemas.microsoft.com/office/drawing/2014/main" id="{054C4ADF-4B82-41B0-94A3-879920F550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5923" y="2985771"/>
                <a:ext cx="726657" cy="228055"/>
              </a:xfrm>
              <a:custGeom>
                <a:avLst/>
                <a:gdLst>
                  <a:gd name="T0" fmla="*/ 217 w 217"/>
                  <a:gd name="T1" fmla="*/ 29 h 68"/>
                  <a:gd name="T2" fmla="*/ 191 w 217"/>
                  <a:gd name="T3" fmla="*/ 26 h 68"/>
                  <a:gd name="T4" fmla="*/ 130 w 217"/>
                  <a:gd name="T5" fmla="*/ 25 h 68"/>
                  <a:gd name="T6" fmla="*/ 80 w 217"/>
                  <a:gd name="T7" fmla="*/ 3 h 68"/>
                  <a:gd name="T8" fmla="*/ 84 w 217"/>
                  <a:gd name="T9" fmla="*/ 15 h 68"/>
                  <a:gd name="T10" fmla="*/ 83 w 217"/>
                  <a:gd name="T11" fmla="*/ 26 h 68"/>
                  <a:gd name="T12" fmla="*/ 41 w 217"/>
                  <a:gd name="T13" fmla="*/ 28 h 68"/>
                  <a:gd name="T14" fmla="*/ 7 w 217"/>
                  <a:gd name="T15" fmla="*/ 55 h 68"/>
                  <a:gd name="T16" fmla="*/ 33 w 217"/>
                  <a:gd name="T17" fmla="*/ 68 h 68"/>
                  <a:gd name="T18" fmla="*/ 184 w 217"/>
                  <a:gd name="T19" fmla="*/ 45 h 68"/>
                  <a:gd name="T20" fmla="*/ 192 w 217"/>
                  <a:gd name="T21" fmla="*/ 38 h 68"/>
                  <a:gd name="T22" fmla="*/ 217 w 217"/>
                  <a:gd name="T23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7" h="68">
                    <a:moveTo>
                      <a:pt x="217" y="29"/>
                    </a:moveTo>
                    <a:cubicBezTo>
                      <a:pt x="217" y="29"/>
                      <a:pt x="203" y="23"/>
                      <a:pt x="191" y="26"/>
                    </a:cubicBezTo>
                    <a:cubicBezTo>
                      <a:pt x="179" y="28"/>
                      <a:pt x="138" y="28"/>
                      <a:pt x="130" y="25"/>
                    </a:cubicBezTo>
                    <a:cubicBezTo>
                      <a:pt x="121" y="22"/>
                      <a:pt x="89" y="6"/>
                      <a:pt x="80" y="3"/>
                    </a:cubicBezTo>
                    <a:cubicBezTo>
                      <a:pt x="70" y="0"/>
                      <a:pt x="72" y="8"/>
                      <a:pt x="84" y="15"/>
                    </a:cubicBezTo>
                    <a:cubicBezTo>
                      <a:pt x="96" y="22"/>
                      <a:pt x="96" y="28"/>
                      <a:pt x="83" y="26"/>
                    </a:cubicBezTo>
                    <a:cubicBezTo>
                      <a:pt x="70" y="25"/>
                      <a:pt x="54" y="19"/>
                      <a:pt x="41" y="28"/>
                    </a:cubicBezTo>
                    <a:cubicBezTo>
                      <a:pt x="28" y="38"/>
                      <a:pt x="0" y="50"/>
                      <a:pt x="7" y="55"/>
                    </a:cubicBezTo>
                    <a:cubicBezTo>
                      <a:pt x="14" y="60"/>
                      <a:pt x="17" y="68"/>
                      <a:pt x="33" y="68"/>
                    </a:cubicBezTo>
                    <a:cubicBezTo>
                      <a:pt x="49" y="68"/>
                      <a:pt x="181" y="44"/>
                      <a:pt x="184" y="45"/>
                    </a:cubicBezTo>
                    <a:cubicBezTo>
                      <a:pt x="186" y="46"/>
                      <a:pt x="187" y="40"/>
                      <a:pt x="192" y="38"/>
                    </a:cubicBezTo>
                    <a:cubicBezTo>
                      <a:pt x="198" y="37"/>
                      <a:pt x="209" y="46"/>
                      <a:pt x="217" y="2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36">
                <a:extLst>
                  <a:ext uri="{FF2B5EF4-FFF2-40B4-BE49-F238E27FC236}">
                    <a16:creationId xmlns:a16="http://schemas.microsoft.com/office/drawing/2014/main" id="{DD414BC2-79C9-4FF1-88BA-B12F0369B2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2056" y="2329939"/>
                <a:ext cx="167145" cy="669998"/>
              </a:xfrm>
              <a:custGeom>
                <a:avLst/>
                <a:gdLst>
                  <a:gd name="T0" fmla="*/ 9 w 50"/>
                  <a:gd name="T1" fmla="*/ 200 h 200"/>
                  <a:gd name="T2" fmla="*/ 41 w 50"/>
                  <a:gd name="T3" fmla="*/ 137 h 200"/>
                  <a:gd name="T4" fmla="*/ 48 w 50"/>
                  <a:gd name="T5" fmla="*/ 61 h 200"/>
                  <a:gd name="T6" fmla="*/ 45 w 50"/>
                  <a:gd name="T7" fmla="*/ 11 h 200"/>
                  <a:gd name="T8" fmla="*/ 39 w 50"/>
                  <a:gd name="T9" fmla="*/ 87 h 200"/>
                  <a:gd name="T10" fmla="*/ 3 w 50"/>
                  <a:gd name="T11" fmla="*/ 186 h 200"/>
                  <a:gd name="T12" fmla="*/ 9 w 50"/>
                  <a:gd name="T1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200">
                    <a:moveTo>
                      <a:pt x="9" y="200"/>
                    </a:moveTo>
                    <a:cubicBezTo>
                      <a:pt x="9" y="200"/>
                      <a:pt x="37" y="153"/>
                      <a:pt x="41" y="137"/>
                    </a:cubicBezTo>
                    <a:cubicBezTo>
                      <a:pt x="44" y="121"/>
                      <a:pt x="50" y="76"/>
                      <a:pt x="48" y="61"/>
                    </a:cubicBezTo>
                    <a:cubicBezTo>
                      <a:pt x="46" y="46"/>
                      <a:pt x="45" y="22"/>
                      <a:pt x="45" y="11"/>
                    </a:cubicBezTo>
                    <a:cubicBezTo>
                      <a:pt x="46" y="0"/>
                      <a:pt x="40" y="73"/>
                      <a:pt x="39" y="87"/>
                    </a:cubicBezTo>
                    <a:cubicBezTo>
                      <a:pt x="39" y="101"/>
                      <a:pt x="0" y="184"/>
                      <a:pt x="3" y="186"/>
                    </a:cubicBezTo>
                    <a:cubicBezTo>
                      <a:pt x="5" y="188"/>
                      <a:pt x="9" y="200"/>
                      <a:pt x="9" y="20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37">
                <a:extLst>
                  <a:ext uri="{FF2B5EF4-FFF2-40B4-BE49-F238E27FC236}">
                    <a16:creationId xmlns:a16="http://schemas.microsoft.com/office/drawing/2014/main" id="{3E1DB724-DF1C-4ADD-B5E9-22ED3248CA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7913" y="2329939"/>
                <a:ext cx="201141" cy="235137"/>
              </a:xfrm>
              <a:custGeom>
                <a:avLst/>
                <a:gdLst>
                  <a:gd name="T0" fmla="*/ 38 w 60"/>
                  <a:gd name="T1" fmla="*/ 8 h 70"/>
                  <a:gd name="T2" fmla="*/ 52 w 60"/>
                  <a:gd name="T3" fmla="*/ 3 h 70"/>
                  <a:gd name="T4" fmla="*/ 58 w 60"/>
                  <a:gd name="T5" fmla="*/ 30 h 70"/>
                  <a:gd name="T6" fmla="*/ 47 w 60"/>
                  <a:gd name="T7" fmla="*/ 41 h 70"/>
                  <a:gd name="T8" fmla="*/ 27 w 60"/>
                  <a:gd name="T9" fmla="*/ 35 h 70"/>
                  <a:gd name="T10" fmla="*/ 36 w 60"/>
                  <a:gd name="T11" fmla="*/ 49 h 70"/>
                  <a:gd name="T12" fmla="*/ 37 w 60"/>
                  <a:gd name="T13" fmla="*/ 60 h 70"/>
                  <a:gd name="T14" fmla="*/ 18 w 60"/>
                  <a:gd name="T15" fmla="*/ 67 h 70"/>
                  <a:gd name="T16" fmla="*/ 14 w 60"/>
                  <a:gd name="T17" fmla="*/ 60 h 70"/>
                  <a:gd name="T18" fmla="*/ 4 w 60"/>
                  <a:gd name="T19" fmla="*/ 32 h 70"/>
                  <a:gd name="T20" fmla="*/ 38 w 60"/>
                  <a:gd name="T21" fmla="*/ 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" h="70">
                    <a:moveTo>
                      <a:pt x="38" y="8"/>
                    </a:moveTo>
                    <a:cubicBezTo>
                      <a:pt x="38" y="8"/>
                      <a:pt x="48" y="0"/>
                      <a:pt x="52" y="3"/>
                    </a:cubicBezTo>
                    <a:cubicBezTo>
                      <a:pt x="56" y="6"/>
                      <a:pt x="60" y="16"/>
                      <a:pt x="58" y="30"/>
                    </a:cubicBezTo>
                    <a:cubicBezTo>
                      <a:pt x="55" y="43"/>
                      <a:pt x="56" y="50"/>
                      <a:pt x="47" y="41"/>
                    </a:cubicBezTo>
                    <a:cubicBezTo>
                      <a:pt x="38" y="32"/>
                      <a:pt x="28" y="30"/>
                      <a:pt x="27" y="35"/>
                    </a:cubicBezTo>
                    <a:cubicBezTo>
                      <a:pt x="26" y="40"/>
                      <a:pt x="28" y="40"/>
                      <a:pt x="36" y="49"/>
                    </a:cubicBezTo>
                    <a:cubicBezTo>
                      <a:pt x="45" y="58"/>
                      <a:pt x="50" y="62"/>
                      <a:pt x="37" y="60"/>
                    </a:cubicBezTo>
                    <a:cubicBezTo>
                      <a:pt x="24" y="58"/>
                      <a:pt x="23" y="67"/>
                      <a:pt x="18" y="67"/>
                    </a:cubicBezTo>
                    <a:cubicBezTo>
                      <a:pt x="12" y="67"/>
                      <a:pt x="16" y="70"/>
                      <a:pt x="14" y="60"/>
                    </a:cubicBezTo>
                    <a:cubicBezTo>
                      <a:pt x="12" y="50"/>
                      <a:pt x="0" y="36"/>
                      <a:pt x="4" y="32"/>
                    </a:cubicBezTo>
                    <a:cubicBezTo>
                      <a:pt x="8" y="29"/>
                      <a:pt x="24" y="12"/>
                      <a:pt x="38" y="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38">
                <a:extLst>
                  <a:ext uri="{FF2B5EF4-FFF2-40B4-BE49-F238E27FC236}">
                    <a16:creationId xmlns:a16="http://schemas.microsoft.com/office/drawing/2014/main" id="{1DB5522D-AC46-416D-9764-896A00EF6A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2861" y="2695392"/>
                <a:ext cx="535431" cy="310211"/>
              </a:xfrm>
              <a:custGeom>
                <a:avLst/>
                <a:gdLst>
                  <a:gd name="T0" fmla="*/ 15 w 160"/>
                  <a:gd name="T1" fmla="*/ 54 h 93"/>
                  <a:gd name="T2" fmla="*/ 43 w 160"/>
                  <a:gd name="T3" fmla="*/ 55 h 93"/>
                  <a:gd name="T4" fmla="*/ 53 w 160"/>
                  <a:gd name="T5" fmla="*/ 55 h 93"/>
                  <a:gd name="T6" fmla="*/ 73 w 160"/>
                  <a:gd name="T7" fmla="*/ 67 h 93"/>
                  <a:gd name="T8" fmla="*/ 109 w 160"/>
                  <a:gd name="T9" fmla="*/ 55 h 93"/>
                  <a:gd name="T10" fmla="*/ 132 w 160"/>
                  <a:gd name="T11" fmla="*/ 39 h 93"/>
                  <a:gd name="T12" fmla="*/ 157 w 160"/>
                  <a:gd name="T13" fmla="*/ 7 h 93"/>
                  <a:gd name="T14" fmla="*/ 129 w 160"/>
                  <a:gd name="T15" fmla="*/ 71 h 93"/>
                  <a:gd name="T16" fmla="*/ 113 w 160"/>
                  <a:gd name="T17" fmla="*/ 78 h 93"/>
                  <a:gd name="T18" fmla="*/ 65 w 160"/>
                  <a:gd name="T19" fmla="*/ 84 h 93"/>
                  <a:gd name="T20" fmla="*/ 23 w 160"/>
                  <a:gd name="T21" fmla="*/ 85 h 93"/>
                  <a:gd name="T22" fmla="*/ 0 w 160"/>
                  <a:gd name="T23" fmla="*/ 51 h 93"/>
                  <a:gd name="T24" fmla="*/ 15 w 160"/>
                  <a:gd name="T25" fmla="*/ 5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93">
                    <a:moveTo>
                      <a:pt x="15" y="54"/>
                    </a:moveTo>
                    <a:cubicBezTo>
                      <a:pt x="15" y="54"/>
                      <a:pt x="40" y="61"/>
                      <a:pt x="43" y="55"/>
                    </a:cubicBezTo>
                    <a:cubicBezTo>
                      <a:pt x="45" y="49"/>
                      <a:pt x="49" y="50"/>
                      <a:pt x="53" y="55"/>
                    </a:cubicBezTo>
                    <a:cubicBezTo>
                      <a:pt x="57" y="61"/>
                      <a:pt x="55" y="67"/>
                      <a:pt x="73" y="67"/>
                    </a:cubicBezTo>
                    <a:cubicBezTo>
                      <a:pt x="92" y="67"/>
                      <a:pt x="105" y="65"/>
                      <a:pt x="109" y="55"/>
                    </a:cubicBezTo>
                    <a:cubicBezTo>
                      <a:pt x="112" y="44"/>
                      <a:pt x="127" y="44"/>
                      <a:pt x="132" y="39"/>
                    </a:cubicBezTo>
                    <a:cubicBezTo>
                      <a:pt x="137" y="33"/>
                      <a:pt x="155" y="15"/>
                      <a:pt x="157" y="7"/>
                    </a:cubicBezTo>
                    <a:cubicBezTo>
                      <a:pt x="160" y="0"/>
                      <a:pt x="133" y="69"/>
                      <a:pt x="129" y="71"/>
                    </a:cubicBezTo>
                    <a:cubicBezTo>
                      <a:pt x="126" y="74"/>
                      <a:pt x="125" y="72"/>
                      <a:pt x="113" y="78"/>
                    </a:cubicBezTo>
                    <a:cubicBezTo>
                      <a:pt x="101" y="84"/>
                      <a:pt x="81" y="93"/>
                      <a:pt x="65" y="84"/>
                    </a:cubicBezTo>
                    <a:cubicBezTo>
                      <a:pt x="65" y="84"/>
                      <a:pt x="49" y="71"/>
                      <a:pt x="23" y="85"/>
                    </a:cubicBezTo>
                    <a:cubicBezTo>
                      <a:pt x="23" y="85"/>
                      <a:pt x="5" y="73"/>
                      <a:pt x="0" y="51"/>
                    </a:cubicBezTo>
                    <a:lnTo>
                      <a:pt x="15" y="54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39">
                <a:extLst>
                  <a:ext uri="{FF2B5EF4-FFF2-40B4-BE49-F238E27FC236}">
                    <a16:creationId xmlns:a16="http://schemas.microsoft.com/office/drawing/2014/main" id="{18F3D660-2B03-4939-9D9B-6023E0977C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7913" y="2555160"/>
                <a:ext cx="186976" cy="167145"/>
              </a:xfrm>
              <a:custGeom>
                <a:avLst/>
                <a:gdLst>
                  <a:gd name="T0" fmla="*/ 2 w 56"/>
                  <a:gd name="T1" fmla="*/ 10 h 50"/>
                  <a:gd name="T2" fmla="*/ 43 w 56"/>
                  <a:gd name="T3" fmla="*/ 41 h 50"/>
                  <a:gd name="T4" fmla="*/ 40 w 56"/>
                  <a:gd name="T5" fmla="*/ 29 h 50"/>
                  <a:gd name="T6" fmla="*/ 2 w 56"/>
                  <a:gd name="T7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50">
                    <a:moveTo>
                      <a:pt x="2" y="10"/>
                    </a:moveTo>
                    <a:cubicBezTo>
                      <a:pt x="2" y="10"/>
                      <a:pt x="32" y="31"/>
                      <a:pt x="43" y="41"/>
                    </a:cubicBezTo>
                    <a:cubicBezTo>
                      <a:pt x="54" y="50"/>
                      <a:pt x="56" y="38"/>
                      <a:pt x="40" y="29"/>
                    </a:cubicBezTo>
                    <a:cubicBezTo>
                      <a:pt x="25" y="19"/>
                      <a:pt x="0" y="0"/>
                      <a:pt x="2" y="1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40">
                <a:extLst>
                  <a:ext uri="{FF2B5EF4-FFF2-40B4-BE49-F238E27FC236}">
                    <a16:creationId xmlns:a16="http://schemas.microsoft.com/office/drawing/2014/main" id="{8A3EEE8C-061C-423D-9439-D745EB7B3D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747" y="3420633"/>
                <a:ext cx="230888" cy="60909"/>
              </a:xfrm>
              <a:custGeom>
                <a:avLst/>
                <a:gdLst>
                  <a:gd name="T0" fmla="*/ 1 w 69"/>
                  <a:gd name="T1" fmla="*/ 13 h 18"/>
                  <a:gd name="T2" fmla="*/ 29 w 69"/>
                  <a:gd name="T3" fmla="*/ 6 h 18"/>
                  <a:gd name="T4" fmla="*/ 55 w 69"/>
                  <a:gd name="T5" fmla="*/ 3 h 18"/>
                  <a:gd name="T6" fmla="*/ 60 w 69"/>
                  <a:gd name="T7" fmla="*/ 14 h 18"/>
                  <a:gd name="T8" fmla="*/ 27 w 69"/>
                  <a:gd name="T9" fmla="*/ 13 h 18"/>
                  <a:gd name="T10" fmla="*/ 1 w 69"/>
                  <a:gd name="T11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8">
                    <a:moveTo>
                      <a:pt x="1" y="13"/>
                    </a:moveTo>
                    <a:cubicBezTo>
                      <a:pt x="1" y="13"/>
                      <a:pt x="12" y="6"/>
                      <a:pt x="29" y="6"/>
                    </a:cubicBezTo>
                    <a:cubicBezTo>
                      <a:pt x="47" y="5"/>
                      <a:pt x="41" y="0"/>
                      <a:pt x="55" y="3"/>
                    </a:cubicBezTo>
                    <a:cubicBezTo>
                      <a:pt x="69" y="6"/>
                      <a:pt x="69" y="12"/>
                      <a:pt x="60" y="14"/>
                    </a:cubicBezTo>
                    <a:cubicBezTo>
                      <a:pt x="51" y="15"/>
                      <a:pt x="48" y="12"/>
                      <a:pt x="27" y="13"/>
                    </a:cubicBezTo>
                    <a:cubicBezTo>
                      <a:pt x="5" y="14"/>
                      <a:pt x="0" y="18"/>
                      <a:pt x="1" y="1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41">
                <a:extLst>
                  <a:ext uri="{FF2B5EF4-FFF2-40B4-BE49-F238E27FC236}">
                    <a16:creationId xmlns:a16="http://schemas.microsoft.com/office/drawing/2014/main" id="{81A46B5F-A12B-4F6A-B893-9836AB8D9F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76551" y="3130767"/>
                <a:ext cx="471690" cy="84989"/>
              </a:xfrm>
              <a:custGeom>
                <a:avLst/>
                <a:gdLst>
                  <a:gd name="T0" fmla="*/ 135 w 141"/>
                  <a:gd name="T1" fmla="*/ 20 h 25"/>
                  <a:gd name="T2" fmla="*/ 121 w 141"/>
                  <a:gd name="T3" fmla="*/ 20 h 25"/>
                  <a:gd name="T4" fmla="*/ 86 w 141"/>
                  <a:gd name="T5" fmla="*/ 20 h 25"/>
                  <a:gd name="T6" fmla="*/ 11 w 141"/>
                  <a:gd name="T7" fmla="*/ 23 h 25"/>
                  <a:gd name="T8" fmla="*/ 127 w 141"/>
                  <a:gd name="T9" fmla="*/ 3 h 25"/>
                  <a:gd name="T10" fmla="*/ 130 w 141"/>
                  <a:gd name="T11" fmla="*/ 3 h 25"/>
                  <a:gd name="T12" fmla="*/ 135 w 141"/>
                  <a:gd name="T13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25">
                    <a:moveTo>
                      <a:pt x="135" y="20"/>
                    </a:moveTo>
                    <a:cubicBezTo>
                      <a:pt x="135" y="20"/>
                      <a:pt x="130" y="24"/>
                      <a:pt x="121" y="20"/>
                    </a:cubicBezTo>
                    <a:cubicBezTo>
                      <a:pt x="111" y="16"/>
                      <a:pt x="112" y="19"/>
                      <a:pt x="86" y="20"/>
                    </a:cubicBezTo>
                    <a:cubicBezTo>
                      <a:pt x="60" y="20"/>
                      <a:pt x="23" y="25"/>
                      <a:pt x="11" y="23"/>
                    </a:cubicBezTo>
                    <a:cubicBezTo>
                      <a:pt x="0" y="21"/>
                      <a:pt x="119" y="6"/>
                      <a:pt x="127" y="3"/>
                    </a:cubicBezTo>
                    <a:cubicBezTo>
                      <a:pt x="135" y="0"/>
                      <a:pt x="130" y="3"/>
                      <a:pt x="130" y="3"/>
                    </a:cubicBezTo>
                    <a:cubicBezTo>
                      <a:pt x="130" y="3"/>
                      <a:pt x="141" y="13"/>
                      <a:pt x="135" y="2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42">
                <a:extLst>
                  <a:ext uri="{FF2B5EF4-FFF2-40B4-BE49-F238E27FC236}">
                    <a16:creationId xmlns:a16="http://schemas.microsoft.com/office/drawing/2014/main" id="{1A9C70C4-5206-4394-8256-B36D821F0E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925" y="2594821"/>
                <a:ext cx="174228" cy="417864"/>
              </a:xfrm>
              <a:custGeom>
                <a:avLst/>
                <a:gdLst>
                  <a:gd name="T0" fmla="*/ 24 w 52"/>
                  <a:gd name="T1" fmla="*/ 6 h 125"/>
                  <a:gd name="T2" fmla="*/ 11 w 52"/>
                  <a:gd name="T3" fmla="*/ 40 h 125"/>
                  <a:gd name="T4" fmla="*/ 29 w 52"/>
                  <a:gd name="T5" fmla="*/ 86 h 125"/>
                  <a:gd name="T6" fmla="*/ 50 w 52"/>
                  <a:gd name="T7" fmla="*/ 119 h 125"/>
                  <a:gd name="T8" fmla="*/ 28 w 52"/>
                  <a:gd name="T9" fmla="*/ 96 h 125"/>
                  <a:gd name="T10" fmla="*/ 4 w 52"/>
                  <a:gd name="T11" fmla="*/ 25 h 125"/>
                  <a:gd name="T12" fmla="*/ 24 w 52"/>
                  <a:gd name="T13" fmla="*/ 6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125">
                    <a:moveTo>
                      <a:pt x="24" y="6"/>
                    </a:moveTo>
                    <a:cubicBezTo>
                      <a:pt x="24" y="6"/>
                      <a:pt x="6" y="15"/>
                      <a:pt x="11" y="40"/>
                    </a:cubicBezTo>
                    <a:cubicBezTo>
                      <a:pt x="16" y="65"/>
                      <a:pt x="17" y="77"/>
                      <a:pt x="29" y="86"/>
                    </a:cubicBezTo>
                    <a:cubicBezTo>
                      <a:pt x="41" y="95"/>
                      <a:pt x="52" y="114"/>
                      <a:pt x="50" y="119"/>
                    </a:cubicBezTo>
                    <a:cubicBezTo>
                      <a:pt x="48" y="125"/>
                      <a:pt x="36" y="101"/>
                      <a:pt x="28" y="96"/>
                    </a:cubicBezTo>
                    <a:cubicBezTo>
                      <a:pt x="20" y="91"/>
                      <a:pt x="0" y="54"/>
                      <a:pt x="4" y="25"/>
                    </a:cubicBezTo>
                    <a:cubicBezTo>
                      <a:pt x="4" y="25"/>
                      <a:pt x="12" y="0"/>
                      <a:pt x="24" y="6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43">
                <a:extLst>
                  <a:ext uri="{FF2B5EF4-FFF2-40B4-BE49-F238E27FC236}">
                    <a16:creationId xmlns:a16="http://schemas.microsoft.com/office/drawing/2014/main" id="{D4880E62-EF50-4297-B326-86B158848D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47794" y="2196789"/>
                <a:ext cx="167145" cy="358371"/>
              </a:xfrm>
              <a:custGeom>
                <a:avLst/>
                <a:gdLst>
                  <a:gd name="T0" fmla="*/ 0 w 50"/>
                  <a:gd name="T1" fmla="*/ 0 h 107"/>
                  <a:gd name="T2" fmla="*/ 10 w 50"/>
                  <a:gd name="T3" fmla="*/ 22 h 107"/>
                  <a:gd name="T4" fmla="*/ 26 w 50"/>
                  <a:gd name="T5" fmla="*/ 59 h 107"/>
                  <a:gd name="T6" fmla="*/ 29 w 50"/>
                  <a:gd name="T7" fmla="*/ 74 h 107"/>
                  <a:gd name="T8" fmla="*/ 48 w 50"/>
                  <a:gd name="T9" fmla="*/ 104 h 107"/>
                  <a:gd name="T10" fmla="*/ 36 w 50"/>
                  <a:gd name="T11" fmla="*/ 98 h 107"/>
                  <a:gd name="T12" fmla="*/ 20 w 50"/>
                  <a:gd name="T13" fmla="*/ 64 h 107"/>
                  <a:gd name="T14" fmla="*/ 0 w 50"/>
                  <a:gd name="T15" fmla="*/ 10 h 107"/>
                  <a:gd name="T16" fmla="*/ 0 w 50"/>
                  <a:gd name="T17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107">
                    <a:moveTo>
                      <a:pt x="0" y="0"/>
                    </a:moveTo>
                    <a:cubicBezTo>
                      <a:pt x="0" y="0"/>
                      <a:pt x="6" y="7"/>
                      <a:pt x="10" y="22"/>
                    </a:cubicBezTo>
                    <a:cubicBezTo>
                      <a:pt x="14" y="38"/>
                      <a:pt x="20" y="54"/>
                      <a:pt x="26" y="59"/>
                    </a:cubicBezTo>
                    <a:cubicBezTo>
                      <a:pt x="26" y="59"/>
                      <a:pt x="27" y="66"/>
                      <a:pt x="29" y="74"/>
                    </a:cubicBezTo>
                    <a:cubicBezTo>
                      <a:pt x="31" y="82"/>
                      <a:pt x="45" y="102"/>
                      <a:pt x="48" y="104"/>
                    </a:cubicBezTo>
                    <a:cubicBezTo>
                      <a:pt x="50" y="107"/>
                      <a:pt x="39" y="102"/>
                      <a:pt x="36" y="98"/>
                    </a:cubicBezTo>
                    <a:cubicBezTo>
                      <a:pt x="34" y="94"/>
                      <a:pt x="21" y="72"/>
                      <a:pt x="20" y="64"/>
                    </a:cubicBezTo>
                    <a:cubicBezTo>
                      <a:pt x="18" y="55"/>
                      <a:pt x="1" y="38"/>
                      <a:pt x="0" y="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44">
                <a:extLst>
                  <a:ext uri="{FF2B5EF4-FFF2-40B4-BE49-F238E27FC236}">
                    <a16:creationId xmlns:a16="http://schemas.microsoft.com/office/drawing/2014/main" id="{791A3AA3-DA89-459C-8193-8624EF5420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4318" y="1998481"/>
                <a:ext cx="100571" cy="184143"/>
              </a:xfrm>
              <a:custGeom>
                <a:avLst/>
                <a:gdLst>
                  <a:gd name="T0" fmla="*/ 11 w 30"/>
                  <a:gd name="T1" fmla="*/ 0 h 55"/>
                  <a:gd name="T2" fmla="*/ 18 w 30"/>
                  <a:gd name="T3" fmla="*/ 21 h 55"/>
                  <a:gd name="T4" fmla="*/ 26 w 30"/>
                  <a:gd name="T5" fmla="*/ 37 h 55"/>
                  <a:gd name="T6" fmla="*/ 0 w 30"/>
                  <a:gd name="T7" fmla="*/ 55 h 55"/>
                  <a:gd name="T8" fmla="*/ 11 w 30"/>
                  <a:gd name="T9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1" y="0"/>
                    </a:moveTo>
                    <a:cubicBezTo>
                      <a:pt x="11" y="0"/>
                      <a:pt x="12" y="15"/>
                      <a:pt x="18" y="21"/>
                    </a:cubicBezTo>
                    <a:cubicBezTo>
                      <a:pt x="24" y="27"/>
                      <a:pt x="30" y="34"/>
                      <a:pt x="26" y="37"/>
                    </a:cubicBezTo>
                    <a:cubicBezTo>
                      <a:pt x="22" y="39"/>
                      <a:pt x="0" y="55"/>
                      <a:pt x="0" y="55"/>
                    </a:cubicBezTo>
                    <a:cubicBezTo>
                      <a:pt x="0" y="55"/>
                      <a:pt x="4" y="11"/>
                      <a:pt x="11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45">
                <a:extLst>
                  <a:ext uri="{FF2B5EF4-FFF2-40B4-BE49-F238E27FC236}">
                    <a16:creationId xmlns:a16="http://schemas.microsoft.com/office/drawing/2014/main" id="{209E7552-24F1-41CB-BBEB-19C2A5DD2B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8268" y="1774677"/>
                <a:ext cx="33996" cy="381035"/>
              </a:xfrm>
              <a:custGeom>
                <a:avLst/>
                <a:gdLst>
                  <a:gd name="T0" fmla="*/ 9 w 10"/>
                  <a:gd name="T1" fmla="*/ 0 h 114"/>
                  <a:gd name="T2" fmla="*/ 8 w 10"/>
                  <a:gd name="T3" fmla="*/ 72 h 114"/>
                  <a:gd name="T4" fmla="*/ 2 w 10"/>
                  <a:gd name="T5" fmla="*/ 112 h 114"/>
                  <a:gd name="T6" fmla="*/ 0 w 10"/>
                  <a:gd name="T7" fmla="*/ 64 h 114"/>
                  <a:gd name="T8" fmla="*/ 9 w 10"/>
                  <a:gd name="T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4">
                    <a:moveTo>
                      <a:pt x="9" y="0"/>
                    </a:moveTo>
                    <a:cubicBezTo>
                      <a:pt x="9" y="0"/>
                      <a:pt x="10" y="60"/>
                      <a:pt x="8" y="72"/>
                    </a:cubicBezTo>
                    <a:cubicBezTo>
                      <a:pt x="5" y="83"/>
                      <a:pt x="2" y="109"/>
                      <a:pt x="2" y="112"/>
                    </a:cubicBezTo>
                    <a:cubicBezTo>
                      <a:pt x="2" y="114"/>
                      <a:pt x="0" y="77"/>
                      <a:pt x="0" y="64"/>
                    </a:cubicBezTo>
                    <a:cubicBezTo>
                      <a:pt x="1" y="52"/>
                      <a:pt x="10" y="9"/>
                      <a:pt x="9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46">
                <a:extLst>
                  <a:ext uri="{FF2B5EF4-FFF2-40B4-BE49-F238E27FC236}">
                    <a16:creationId xmlns:a16="http://schemas.microsoft.com/office/drawing/2014/main" id="{9088DF32-BF25-45C4-BB84-7DC453BE3A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0016" y="2170390"/>
                <a:ext cx="609089" cy="847058"/>
              </a:xfrm>
              <a:custGeom>
                <a:avLst/>
                <a:gdLst>
                  <a:gd name="T0" fmla="*/ 12 w 182"/>
                  <a:gd name="T1" fmla="*/ 9 h 253"/>
                  <a:gd name="T2" fmla="*/ 11 w 182"/>
                  <a:gd name="T3" fmla="*/ 25 h 253"/>
                  <a:gd name="T4" fmla="*/ 65 w 182"/>
                  <a:gd name="T5" fmla="*/ 119 h 253"/>
                  <a:gd name="T6" fmla="*/ 100 w 182"/>
                  <a:gd name="T7" fmla="*/ 153 h 253"/>
                  <a:gd name="T8" fmla="*/ 106 w 182"/>
                  <a:gd name="T9" fmla="*/ 161 h 253"/>
                  <a:gd name="T10" fmla="*/ 68 w 182"/>
                  <a:gd name="T11" fmla="*/ 204 h 253"/>
                  <a:gd name="T12" fmla="*/ 82 w 182"/>
                  <a:gd name="T13" fmla="*/ 222 h 253"/>
                  <a:gd name="T14" fmla="*/ 115 w 182"/>
                  <a:gd name="T15" fmla="*/ 253 h 253"/>
                  <a:gd name="T16" fmla="*/ 144 w 182"/>
                  <a:gd name="T17" fmla="*/ 205 h 253"/>
                  <a:gd name="T18" fmla="*/ 164 w 182"/>
                  <a:gd name="T19" fmla="*/ 133 h 253"/>
                  <a:gd name="T20" fmla="*/ 174 w 182"/>
                  <a:gd name="T21" fmla="*/ 134 h 253"/>
                  <a:gd name="T22" fmla="*/ 176 w 182"/>
                  <a:gd name="T23" fmla="*/ 113 h 253"/>
                  <a:gd name="T24" fmla="*/ 118 w 182"/>
                  <a:gd name="T25" fmla="*/ 79 h 253"/>
                  <a:gd name="T26" fmla="*/ 80 w 182"/>
                  <a:gd name="T27" fmla="*/ 41 h 253"/>
                  <a:gd name="T28" fmla="*/ 58 w 182"/>
                  <a:gd name="T29" fmla="*/ 20 h 253"/>
                  <a:gd name="T30" fmla="*/ 25 w 182"/>
                  <a:gd name="T31" fmla="*/ 19 h 253"/>
                  <a:gd name="T32" fmla="*/ 12 w 182"/>
                  <a:gd name="T33" fmla="*/ 9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253">
                    <a:moveTo>
                      <a:pt x="12" y="9"/>
                    </a:moveTo>
                    <a:cubicBezTo>
                      <a:pt x="12" y="9"/>
                      <a:pt x="0" y="0"/>
                      <a:pt x="11" y="25"/>
                    </a:cubicBezTo>
                    <a:cubicBezTo>
                      <a:pt x="22" y="49"/>
                      <a:pt x="54" y="93"/>
                      <a:pt x="65" y="119"/>
                    </a:cubicBezTo>
                    <a:cubicBezTo>
                      <a:pt x="76" y="144"/>
                      <a:pt x="87" y="157"/>
                      <a:pt x="100" y="153"/>
                    </a:cubicBezTo>
                    <a:cubicBezTo>
                      <a:pt x="114" y="150"/>
                      <a:pt x="109" y="158"/>
                      <a:pt x="106" y="161"/>
                    </a:cubicBezTo>
                    <a:cubicBezTo>
                      <a:pt x="104" y="165"/>
                      <a:pt x="74" y="199"/>
                      <a:pt x="68" y="204"/>
                    </a:cubicBezTo>
                    <a:cubicBezTo>
                      <a:pt x="61" y="209"/>
                      <a:pt x="70" y="213"/>
                      <a:pt x="82" y="222"/>
                    </a:cubicBezTo>
                    <a:cubicBezTo>
                      <a:pt x="94" y="231"/>
                      <a:pt x="105" y="253"/>
                      <a:pt x="115" y="253"/>
                    </a:cubicBezTo>
                    <a:cubicBezTo>
                      <a:pt x="125" y="253"/>
                      <a:pt x="144" y="213"/>
                      <a:pt x="144" y="205"/>
                    </a:cubicBezTo>
                    <a:cubicBezTo>
                      <a:pt x="144" y="197"/>
                      <a:pt x="150" y="140"/>
                      <a:pt x="164" y="133"/>
                    </a:cubicBezTo>
                    <a:cubicBezTo>
                      <a:pt x="174" y="134"/>
                      <a:pt x="174" y="134"/>
                      <a:pt x="174" y="134"/>
                    </a:cubicBezTo>
                    <a:cubicBezTo>
                      <a:pt x="174" y="134"/>
                      <a:pt x="182" y="117"/>
                      <a:pt x="176" y="113"/>
                    </a:cubicBezTo>
                    <a:cubicBezTo>
                      <a:pt x="170" y="109"/>
                      <a:pt x="137" y="100"/>
                      <a:pt x="118" y="79"/>
                    </a:cubicBezTo>
                    <a:cubicBezTo>
                      <a:pt x="98" y="59"/>
                      <a:pt x="85" y="55"/>
                      <a:pt x="80" y="41"/>
                    </a:cubicBezTo>
                    <a:cubicBezTo>
                      <a:pt x="76" y="28"/>
                      <a:pt x="66" y="20"/>
                      <a:pt x="58" y="20"/>
                    </a:cubicBezTo>
                    <a:cubicBezTo>
                      <a:pt x="50" y="20"/>
                      <a:pt x="32" y="25"/>
                      <a:pt x="25" y="19"/>
                    </a:cubicBezTo>
                    <a:cubicBezTo>
                      <a:pt x="18" y="13"/>
                      <a:pt x="12" y="9"/>
                      <a:pt x="12" y="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47">
                <a:extLst>
                  <a:ext uri="{FF2B5EF4-FFF2-40B4-BE49-F238E27FC236}">
                    <a16:creationId xmlns:a16="http://schemas.microsoft.com/office/drawing/2014/main" id="{8DDC6223-E65A-489E-AC55-E9008A557C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0381" y="2580656"/>
                <a:ext cx="80740" cy="164312"/>
              </a:xfrm>
              <a:custGeom>
                <a:avLst/>
                <a:gdLst>
                  <a:gd name="T0" fmla="*/ 0 w 24"/>
                  <a:gd name="T1" fmla="*/ 0 h 49"/>
                  <a:gd name="T2" fmla="*/ 12 w 24"/>
                  <a:gd name="T3" fmla="*/ 40 h 49"/>
                  <a:gd name="T4" fmla="*/ 14 w 24"/>
                  <a:gd name="T5" fmla="*/ 47 h 49"/>
                  <a:gd name="T6" fmla="*/ 18 w 24"/>
                  <a:gd name="T7" fmla="*/ 23 h 49"/>
                  <a:gd name="T8" fmla="*/ 0 w 24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9">
                    <a:moveTo>
                      <a:pt x="0" y="0"/>
                    </a:moveTo>
                    <a:cubicBezTo>
                      <a:pt x="0" y="0"/>
                      <a:pt x="13" y="25"/>
                      <a:pt x="12" y="40"/>
                    </a:cubicBezTo>
                    <a:cubicBezTo>
                      <a:pt x="12" y="40"/>
                      <a:pt x="12" y="45"/>
                      <a:pt x="14" y="47"/>
                    </a:cubicBezTo>
                    <a:cubicBezTo>
                      <a:pt x="16" y="49"/>
                      <a:pt x="24" y="33"/>
                      <a:pt x="18" y="23"/>
                    </a:cubicBezTo>
                    <a:cubicBezTo>
                      <a:pt x="13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48">
                <a:extLst>
                  <a:ext uri="{FF2B5EF4-FFF2-40B4-BE49-F238E27FC236}">
                    <a16:creationId xmlns:a16="http://schemas.microsoft.com/office/drawing/2014/main" id="{9BDAC7C2-8EA1-4AA5-8821-87CD7C038D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2837" y="1968735"/>
                <a:ext cx="100571" cy="689829"/>
              </a:xfrm>
              <a:custGeom>
                <a:avLst/>
                <a:gdLst>
                  <a:gd name="T0" fmla="*/ 18 w 30"/>
                  <a:gd name="T1" fmla="*/ 19 h 206"/>
                  <a:gd name="T2" fmla="*/ 0 w 30"/>
                  <a:gd name="T3" fmla="*/ 108 h 206"/>
                  <a:gd name="T4" fmla="*/ 1 w 30"/>
                  <a:gd name="T5" fmla="*/ 206 h 206"/>
                  <a:gd name="T6" fmla="*/ 8 w 30"/>
                  <a:gd name="T7" fmla="*/ 92 h 206"/>
                  <a:gd name="T8" fmla="*/ 18 w 30"/>
                  <a:gd name="T9" fmla="*/ 19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6">
                    <a:moveTo>
                      <a:pt x="18" y="19"/>
                    </a:moveTo>
                    <a:cubicBezTo>
                      <a:pt x="18" y="19"/>
                      <a:pt x="0" y="86"/>
                      <a:pt x="0" y="108"/>
                    </a:cubicBezTo>
                    <a:cubicBezTo>
                      <a:pt x="0" y="130"/>
                      <a:pt x="1" y="206"/>
                      <a:pt x="1" y="206"/>
                    </a:cubicBezTo>
                    <a:cubicBezTo>
                      <a:pt x="1" y="206"/>
                      <a:pt x="6" y="106"/>
                      <a:pt x="8" y="92"/>
                    </a:cubicBezTo>
                    <a:cubicBezTo>
                      <a:pt x="10" y="77"/>
                      <a:pt x="30" y="0"/>
                      <a:pt x="18" y="1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49">
                <a:extLst>
                  <a:ext uri="{FF2B5EF4-FFF2-40B4-BE49-F238E27FC236}">
                    <a16:creationId xmlns:a16="http://schemas.microsoft.com/office/drawing/2014/main" id="{7FA9D05E-E364-4D11-88C3-D5780CD85B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7149" y="1480048"/>
                <a:ext cx="318710" cy="314460"/>
              </a:xfrm>
              <a:custGeom>
                <a:avLst/>
                <a:gdLst>
                  <a:gd name="T0" fmla="*/ 92 w 95"/>
                  <a:gd name="T1" fmla="*/ 0 h 94"/>
                  <a:gd name="T2" fmla="*/ 0 w 95"/>
                  <a:gd name="T3" fmla="*/ 94 h 94"/>
                  <a:gd name="T4" fmla="*/ 51 w 95"/>
                  <a:gd name="T5" fmla="*/ 54 h 94"/>
                  <a:gd name="T6" fmla="*/ 95 w 95"/>
                  <a:gd name="T7" fmla="*/ 3 h 94"/>
                  <a:gd name="T8" fmla="*/ 92 w 95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4">
                    <a:moveTo>
                      <a:pt x="92" y="0"/>
                    </a:moveTo>
                    <a:cubicBezTo>
                      <a:pt x="92" y="0"/>
                      <a:pt x="15" y="76"/>
                      <a:pt x="0" y="94"/>
                    </a:cubicBezTo>
                    <a:cubicBezTo>
                      <a:pt x="0" y="94"/>
                      <a:pt x="39" y="66"/>
                      <a:pt x="51" y="54"/>
                    </a:cubicBezTo>
                    <a:cubicBezTo>
                      <a:pt x="63" y="43"/>
                      <a:pt x="95" y="3"/>
                      <a:pt x="95" y="3"/>
                    </a:cubicBezTo>
                    <a:lnTo>
                      <a:pt x="92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50">
                <a:extLst>
                  <a:ext uri="{FF2B5EF4-FFF2-40B4-BE49-F238E27FC236}">
                    <a16:creationId xmlns:a16="http://schemas.microsoft.com/office/drawing/2014/main" id="{EEC56F6D-AFBA-4DEE-A949-4C01F5F321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5923" y="1577785"/>
                <a:ext cx="141649" cy="213890"/>
              </a:xfrm>
              <a:custGeom>
                <a:avLst/>
                <a:gdLst>
                  <a:gd name="T0" fmla="*/ 26 w 42"/>
                  <a:gd name="T1" fmla="*/ 1 h 64"/>
                  <a:gd name="T2" fmla="*/ 10 w 42"/>
                  <a:gd name="T3" fmla="*/ 64 h 64"/>
                  <a:gd name="T4" fmla="*/ 22 w 42"/>
                  <a:gd name="T5" fmla="*/ 47 h 64"/>
                  <a:gd name="T6" fmla="*/ 40 w 42"/>
                  <a:gd name="T7" fmla="*/ 37 h 64"/>
                  <a:gd name="T8" fmla="*/ 42 w 42"/>
                  <a:gd name="T9" fmla="*/ 7 h 64"/>
                  <a:gd name="T10" fmla="*/ 26 w 42"/>
                  <a:gd name="T11" fmla="*/ 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4">
                    <a:moveTo>
                      <a:pt x="26" y="1"/>
                    </a:moveTo>
                    <a:cubicBezTo>
                      <a:pt x="26" y="1"/>
                      <a:pt x="0" y="34"/>
                      <a:pt x="10" y="64"/>
                    </a:cubicBezTo>
                    <a:cubicBezTo>
                      <a:pt x="10" y="64"/>
                      <a:pt x="14" y="52"/>
                      <a:pt x="22" y="47"/>
                    </a:cubicBezTo>
                    <a:cubicBezTo>
                      <a:pt x="30" y="41"/>
                      <a:pt x="37" y="41"/>
                      <a:pt x="40" y="37"/>
                    </a:cubicBezTo>
                    <a:cubicBezTo>
                      <a:pt x="42" y="32"/>
                      <a:pt x="42" y="7"/>
                      <a:pt x="42" y="7"/>
                    </a:cubicBezTo>
                    <a:cubicBezTo>
                      <a:pt x="42" y="7"/>
                      <a:pt x="40" y="0"/>
                      <a:pt x="26" y="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51">
                <a:extLst>
                  <a:ext uri="{FF2B5EF4-FFF2-40B4-BE49-F238E27FC236}">
                    <a16:creationId xmlns:a16="http://schemas.microsoft.com/office/drawing/2014/main" id="{7D6D67C4-ADAF-4928-84C3-FD1F138783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29180" y="1536707"/>
                <a:ext cx="80740" cy="254967"/>
              </a:xfrm>
              <a:custGeom>
                <a:avLst/>
                <a:gdLst>
                  <a:gd name="T0" fmla="*/ 13 w 24"/>
                  <a:gd name="T1" fmla="*/ 0 h 76"/>
                  <a:gd name="T2" fmla="*/ 18 w 24"/>
                  <a:gd name="T3" fmla="*/ 61 h 76"/>
                  <a:gd name="T4" fmla="*/ 24 w 24"/>
                  <a:gd name="T5" fmla="*/ 76 h 76"/>
                  <a:gd name="T6" fmla="*/ 13 w 24"/>
                  <a:gd name="T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76">
                    <a:moveTo>
                      <a:pt x="13" y="0"/>
                    </a:moveTo>
                    <a:cubicBezTo>
                      <a:pt x="13" y="0"/>
                      <a:pt x="16" y="46"/>
                      <a:pt x="18" y="61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76"/>
                      <a:pt x="0" y="59"/>
                      <a:pt x="13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52">
                <a:extLst>
                  <a:ext uri="{FF2B5EF4-FFF2-40B4-BE49-F238E27FC236}">
                    <a16:creationId xmlns:a16="http://schemas.microsoft.com/office/drawing/2014/main" id="{B59F8FFF-0E3D-4518-A976-010601991B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79346" y="2056557"/>
                <a:ext cx="186976" cy="344206"/>
              </a:xfrm>
              <a:custGeom>
                <a:avLst/>
                <a:gdLst>
                  <a:gd name="T0" fmla="*/ 46 w 56"/>
                  <a:gd name="T1" fmla="*/ 26 h 103"/>
                  <a:gd name="T2" fmla="*/ 48 w 56"/>
                  <a:gd name="T3" fmla="*/ 12 h 103"/>
                  <a:gd name="T4" fmla="*/ 42 w 56"/>
                  <a:gd name="T5" fmla="*/ 1 h 103"/>
                  <a:gd name="T6" fmla="*/ 20 w 56"/>
                  <a:gd name="T7" fmla="*/ 14 h 103"/>
                  <a:gd name="T8" fmla="*/ 2 w 56"/>
                  <a:gd name="T9" fmla="*/ 36 h 103"/>
                  <a:gd name="T10" fmla="*/ 19 w 56"/>
                  <a:gd name="T11" fmla="*/ 101 h 103"/>
                  <a:gd name="T12" fmla="*/ 23 w 56"/>
                  <a:gd name="T13" fmla="*/ 37 h 103"/>
                  <a:gd name="T14" fmla="*/ 33 w 56"/>
                  <a:gd name="T15" fmla="*/ 14 h 103"/>
                  <a:gd name="T16" fmla="*/ 46 w 56"/>
                  <a:gd name="T17" fmla="*/ 2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03">
                    <a:moveTo>
                      <a:pt x="46" y="26"/>
                    </a:moveTo>
                    <a:cubicBezTo>
                      <a:pt x="46" y="26"/>
                      <a:pt x="39" y="16"/>
                      <a:pt x="48" y="12"/>
                    </a:cubicBezTo>
                    <a:cubicBezTo>
                      <a:pt x="56" y="8"/>
                      <a:pt x="52" y="0"/>
                      <a:pt x="42" y="1"/>
                    </a:cubicBezTo>
                    <a:cubicBezTo>
                      <a:pt x="31" y="2"/>
                      <a:pt x="25" y="8"/>
                      <a:pt x="20" y="14"/>
                    </a:cubicBezTo>
                    <a:cubicBezTo>
                      <a:pt x="14" y="21"/>
                      <a:pt x="0" y="23"/>
                      <a:pt x="2" y="36"/>
                    </a:cubicBezTo>
                    <a:cubicBezTo>
                      <a:pt x="4" y="48"/>
                      <a:pt x="22" y="100"/>
                      <a:pt x="19" y="101"/>
                    </a:cubicBezTo>
                    <a:cubicBezTo>
                      <a:pt x="15" y="103"/>
                      <a:pt x="22" y="54"/>
                      <a:pt x="23" y="37"/>
                    </a:cubicBezTo>
                    <a:cubicBezTo>
                      <a:pt x="23" y="37"/>
                      <a:pt x="26" y="11"/>
                      <a:pt x="33" y="14"/>
                    </a:cubicBezTo>
                    <a:cubicBezTo>
                      <a:pt x="33" y="14"/>
                      <a:pt x="43" y="23"/>
                      <a:pt x="46" y="26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53">
                <a:extLst>
                  <a:ext uri="{FF2B5EF4-FFF2-40B4-BE49-F238E27FC236}">
                    <a16:creationId xmlns:a16="http://schemas.microsoft.com/office/drawing/2014/main" id="{7E8F79B8-15C1-4969-9F8C-9E5FEA4BA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29493" y="2140130"/>
                <a:ext cx="150147" cy="186976"/>
              </a:xfrm>
              <a:custGeom>
                <a:avLst/>
                <a:gdLst>
                  <a:gd name="T0" fmla="*/ 0 w 45"/>
                  <a:gd name="T1" fmla="*/ 39 h 56"/>
                  <a:gd name="T2" fmla="*/ 16 w 45"/>
                  <a:gd name="T3" fmla="*/ 19 h 56"/>
                  <a:gd name="T4" fmla="*/ 32 w 45"/>
                  <a:gd name="T5" fmla="*/ 1 h 56"/>
                  <a:gd name="T6" fmla="*/ 40 w 45"/>
                  <a:gd name="T7" fmla="*/ 12 h 56"/>
                  <a:gd name="T8" fmla="*/ 0 w 45"/>
                  <a:gd name="T9" fmla="*/ 3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6">
                    <a:moveTo>
                      <a:pt x="0" y="39"/>
                    </a:moveTo>
                    <a:cubicBezTo>
                      <a:pt x="0" y="39"/>
                      <a:pt x="13" y="27"/>
                      <a:pt x="16" y="19"/>
                    </a:cubicBezTo>
                    <a:cubicBezTo>
                      <a:pt x="19" y="12"/>
                      <a:pt x="29" y="1"/>
                      <a:pt x="32" y="1"/>
                    </a:cubicBezTo>
                    <a:cubicBezTo>
                      <a:pt x="35" y="0"/>
                      <a:pt x="45" y="7"/>
                      <a:pt x="40" y="12"/>
                    </a:cubicBezTo>
                    <a:cubicBezTo>
                      <a:pt x="35" y="17"/>
                      <a:pt x="2" y="56"/>
                      <a:pt x="0" y="39"/>
                    </a:cubicBezTo>
                    <a:close/>
                  </a:path>
                </a:pathLst>
              </a:custGeom>
              <a:solidFill>
                <a:srgbClr val="A0C1D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54">
                <a:extLst>
                  <a:ext uri="{FF2B5EF4-FFF2-40B4-BE49-F238E27FC236}">
                    <a16:creationId xmlns:a16="http://schemas.microsoft.com/office/drawing/2014/main" id="{931836E0-E119-45B2-B59E-C9E4C65461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1718" y="1934739"/>
                <a:ext cx="83573" cy="392367"/>
              </a:xfrm>
              <a:custGeom>
                <a:avLst/>
                <a:gdLst>
                  <a:gd name="T0" fmla="*/ 25 w 25"/>
                  <a:gd name="T1" fmla="*/ 1 h 117"/>
                  <a:gd name="T2" fmla="*/ 19 w 25"/>
                  <a:gd name="T3" fmla="*/ 96 h 117"/>
                  <a:gd name="T4" fmla="*/ 25 w 25"/>
                  <a:gd name="T5" fmla="*/ 117 h 117"/>
                  <a:gd name="T6" fmla="*/ 7 w 25"/>
                  <a:gd name="T7" fmla="*/ 40 h 117"/>
                  <a:gd name="T8" fmla="*/ 25 w 25"/>
                  <a:gd name="T9" fmla="*/ 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17">
                    <a:moveTo>
                      <a:pt x="25" y="1"/>
                    </a:moveTo>
                    <a:cubicBezTo>
                      <a:pt x="25" y="1"/>
                      <a:pt x="3" y="44"/>
                      <a:pt x="19" y="96"/>
                    </a:cubicBezTo>
                    <a:cubicBezTo>
                      <a:pt x="25" y="117"/>
                      <a:pt x="25" y="117"/>
                      <a:pt x="25" y="117"/>
                    </a:cubicBezTo>
                    <a:cubicBezTo>
                      <a:pt x="25" y="117"/>
                      <a:pt x="0" y="82"/>
                      <a:pt x="7" y="40"/>
                    </a:cubicBezTo>
                    <a:cubicBezTo>
                      <a:pt x="7" y="40"/>
                      <a:pt x="13" y="0"/>
                      <a:pt x="25" y="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55">
                <a:extLst>
                  <a:ext uri="{FF2B5EF4-FFF2-40B4-BE49-F238E27FC236}">
                    <a16:creationId xmlns:a16="http://schemas.microsoft.com/office/drawing/2014/main" id="{800F2033-1563-4480-96D1-BBAED73B9F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2373" y="2786047"/>
                <a:ext cx="427779" cy="194059"/>
              </a:xfrm>
              <a:custGeom>
                <a:avLst/>
                <a:gdLst>
                  <a:gd name="T0" fmla="*/ 0 w 128"/>
                  <a:gd name="T1" fmla="*/ 58 h 58"/>
                  <a:gd name="T2" fmla="*/ 29 w 128"/>
                  <a:gd name="T3" fmla="*/ 18 h 58"/>
                  <a:gd name="T4" fmla="*/ 49 w 128"/>
                  <a:gd name="T5" fmla="*/ 1 h 58"/>
                  <a:gd name="T6" fmla="*/ 102 w 128"/>
                  <a:gd name="T7" fmla="*/ 28 h 58"/>
                  <a:gd name="T8" fmla="*/ 54 w 128"/>
                  <a:gd name="T9" fmla="*/ 12 h 58"/>
                  <a:gd name="T10" fmla="*/ 44 w 128"/>
                  <a:gd name="T11" fmla="*/ 16 h 58"/>
                  <a:gd name="T12" fmla="*/ 32 w 128"/>
                  <a:gd name="T13" fmla="*/ 36 h 58"/>
                  <a:gd name="T14" fmla="*/ 0 w 128"/>
                  <a:gd name="T1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58">
                    <a:moveTo>
                      <a:pt x="0" y="58"/>
                    </a:moveTo>
                    <a:cubicBezTo>
                      <a:pt x="0" y="58"/>
                      <a:pt x="28" y="26"/>
                      <a:pt x="29" y="18"/>
                    </a:cubicBezTo>
                    <a:cubicBezTo>
                      <a:pt x="30" y="9"/>
                      <a:pt x="37" y="0"/>
                      <a:pt x="49" y="1"/>
                    </a:cubicBezTo>
                    <a:cubicBezTo>
                      <a:pt x="61" y="2"/>
                      <a:pt x="77" y="24"/>
                      <a:pt x="102" y="28"/>
                    </a:cubicBezTo>
                    <a:cubicBezTo>
                      <a:pt x="128" y="32"/>
                      <a:pt x="62" y="32"/>
                      <a:pt x="54" y="12"/>
                    </a:cubicBezTo>
                    <a:cubicBezTo>
                      <a:pt x="54" y="12"/>
                      <a:pt x="46" y="6"/>
                      <a:pt x="44" y="16"/>
                    </a:cubicBezTo>
                    <a:cubicBezTo>
                      <a:pt x="41" y="26"/>
                      <a:pt x="38" y="32"/>
                      <a:pt x="32" y="36"/>
                    </a:cubicBezTo>
                    <a:cubicBezTo>
                      <a:pt x="25" y="39"/>
                      <a:pt x="10" y="58"/>
                      <a:pt x="0" y="5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56">
                <a:extLst>
                  <a:ext uri="{FF2B5EF4-FFF2-40B4-BE49-F238E27FC236}">
                    <a16:creationId xmlns:a16="http://schemas.microsoft.com/office/drawing/2014/main" id="{085853C9-F85C-4141-87E5-F5E76B9A06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2882" y="2791713"/>
                <a:ext cx="314460" cy="90655"/>
              </a:xfrm>
              <a:custGeom>
                <a:avLst/>
                <a:gdLst>
                  <a:gd name="T0" fmla="*/ 0 w 94"/>
                  <a:gd name="T1" fmla="*/ 2 h 27"/>
                  <a:gd name="T2" fmla="*/ 54 w 94"/>
                  <a:gd name="T3" fmla="*/ 10 h 27"/>
                  <a:gd name="T4" fmla="*/ 89 w 94"/>
                  <a:gd name="T5" fmla="*/ 16 h 27"/>
                  <a:gd name="T6" fmla="*/ 88 w 94"/>
                  <a:gd name="T7" fmla="*/ 27 h 27"/>
                  <a:gd name="T8" fmla="*/ 39 w 94"/>
                  <a:gd name="T9" fmla="*/ 15 h 27"/>
                  <a:gd name="T10" fmla="*/ 0 w 94"/>
                  <a:gd name="T1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27">
                    <a:moveTo>
                      <a:pt x="0" y="2"/>
                    </a:moveTo>
                    <a:cubicBezTo>
                      <a:pt x="0" y="2"/>
                      <a:pt x="32" y="0"/>
                      <a:pt x="54" y="10"/>
                    </a:cubicBezTo>
                    <a:cubicBezTo>
                      <a:pt x="76" y="19"/>
                      <a:pt x="89" y="16"/>
                      <a:pt x="89" y="16"/>
                    </a:cubicBezTo>
                    <a:cubicBezTo>
                      <a:pt x="89" y="16"/>
                      <a:pt x="94" y="27"/>
                      <a:pt x="88" y="27"/>
                    </a:cubicBezTo>
                    <a:cubicBezTo>
                      <a:pt x="88" y="27"/>
                      <a:pt x="50" y="24"/>
                      <a:pt x="39" y="15"/>
                    </a:cubicBezTo>
                    <a:cubicBezTo>
                      <a:pt x="39" y="15"/>
                      <a:pt x="25" y="6"/>
                      <a:pt x="0" y="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57">
                <a:extLst>
                  <a:ext uri="{FF2B5EF4-FFF2-40B4-BE49-F238E27FC236}">
                    <a16:creationId xmlns:a16="http://schemas.microsoft.com/office/drawing/2014/main" id="{0FF05BCC-32E5-48EC-B789-BCAB16B3C4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193" y="2497084"/>
                <a:ext cx="263466" cy="254967"/>
              </a:xfrm>
              <a:custGeom>
                <a:avLst/>
                <a:gdLst>
                  <a:gd name="T0" fmla="*/ 44 w 79"/>
                  <a:gd name="T1" fmla="*/ 4 h 76"/>
                  <a:gd name="T2" fmla="*/ 49 w 79"/>
                  <a:gd name="T3" fmla="*/ 4 h 76"/>
                  <a:gd name="T4" fmla="*/ 58 w 79"/>
                  <a:gd name="T5" fmla="*/ 16 h 76"/>
                  <a:gd name="T6" fmla="*/ 76 w 79"/>
                  <a:gd name="T7" fmla="*/ 44 h 76"/>
                  <a:gd name="T8" fmla="*/ 73 w 79"/>
                  <a:gd name="T9" fmla="*/ 56 h 76"/>
                  <a:gd name="T10" fmla="*/ 57 w 79"/>
                  <a:gd name="T11" fmla="*/ 64 h 76"/>
                  <a:gd name="T12" fmla="*/ 9 w 79"/>
                  <a:gd name="T13" fmla="*/ 28 h 76"/>
                  <a:gd name="T14" fmla="*/ 0 w 79"/>
                  <a:gd name="T15" fmla="*/ 11 h 76"/>
                  <a:gd name="T16" fmla="*/ 45 w 79"/>
                  <a:gd name="T17" fmla="*/ 59 h 76"/>
                  <a:gd name="T18" fmla="*/ 69 w 79"/>
                  <a:gd name="T19" fmla="*/ 43 h 76"/>
                  <a:gd name="T20" fmla="*/ 44 w 79"/>
                  <a:gd name="T21" fmla="*/ 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76">
                    <a:moveTo>
                      <a:pt x="44" y="4"/>
                    </a:moveTo>
                    <a:cubicBezTo>
                      <a:pt x="44" y="4"/>
                      <a:pt x="43" y="0"/>
                      <a:pt x="49" y="4"/>
                    </a:cubicBezTo>
                    <a:cubicBezTo>
                      <a:pt x="54" y="8"/>
                      <a:pt x="53" y="9"/>
                      <a:pt x="58" y="16"/>
                    </a:cubicBezTo>
                    <a:cubicBezTo>
                      <a:pt x="63" y="24"/>
                      <a:pt x="76" y="42"/>
                      <a:pt x="76" y="44"/>
                    </a:cubicBezTo>
                    <a:cubicBezTo>
                      <a:pt x="76" y="46"/>
                      <a:pt x="79" y="55"/>
                      <a:pt x="73" y="56"/>
                    </a:cubicBezTo>
                    <a:cubicBezTo>
                      <a:pt x="67" y="58"/>
                      <a:pt x="64" y="63"/>
                      <a:pt x="57" y="64"/>
                    </a:cubicBezTo>
                    <a:cubicBezTo>
                      <a:pt x="51" y="66"/>
                      <a:pt x="47" y="76"/>
                      <a:pt x="9" y="28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45" y="59"/>
                      <a:pt x="49" y="68"/>
                      <a:pt x="69" y="43"/>
                    </a:cubicBezTo>
                    <a:cubicBezTo>
                      <a:pt x="69" y="43"/>
                      <a:pt x="46" y="16"/>
                      <a:pt x="44" y="4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58">
                <a:extLst>
                  <a:ext uri="{FF2B5EF4-FFF2-40B4-BE49-F238E27FC236}">
                    <a16:creationId xmlns:a16="http://schemas.microsoft.com/office/drawing/2014/main" id="{A10AEFE7-4F1A-4551-A218-C50D00AE95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2165" y="2624568"/>
                <a:ext cx="133150" cy="66575"/>
              </a:xfrm>
              <a:custGeom>
                <a:avLst/>
                <a:gdLst>
                  <a:gd name="T0" fmla="*/ 37 w 40"/>
                  <a:gd name="T1" fmla="*/ 0 h 20"/>
                  <a:gd name="T2" fmla="*/ 34 w 40"/>
                  <a:gd name="T3" fmla="*/ 10 h 20"/>
                  <a:gd name="T4" fmla="*/ 13 w 40"/>
                  <a:gd name="T5" fmla="*/ 18 h 20"/>
                  <a:gd name="T6" fmla="*/ 11 w 40"/>
                  <a:gd name="T7" fmla="*/ 11 h 20"/>
                  <a:gd name="T8" fmla="*/ 37 w 40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0">
                    <a:moveTo>
                      <a:pt x="37" y="0"/>
                    </a:moveTo>
                    <a:cubicBezTo>
                      <a:pt x="37" y="0"/>
                      <a:pt x="40" y="8"/>
                      <a:pt x="34" y="10"/>
                    </a:cubicBezTo>
                    <a:cubicBezTo>
                      <a:pt x="28" y="12"/>
                      <a:pt x="25" y="16"/>
                      <a:pt x="13" y="18"/>
                    </a:cubicBezTo>
                    <a:cubicBezTo>
                      <a:pt x="0" y="20"/>
                      <a:pt x="7" y="14"/>
                      <a:pt x="11" y="11"/>
                    </a:cubicBezTo>
                    <a:cubicBezTo>
                      <a:pt x="14" y="8"/>
                      <a:pt x="24" y="10"/>
                      <a:pt x="37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59">
                <a:extLst>
                  <a:ext uri="{FF2B5EF4-FFF2-40B4-BE49-F238E27FC236}">
                    <a16:creationId xmlns:a16="http://schemas.microsoft.com/office/drawing/2014/main" id="{D5459BC4-B12A-41AF-8266-69EDCD0F73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0369" y="2722305"/>
                <a:ext cx="130317" cy="49577"/>
              </a:xfrm>
              <a:custGeom>
                <a:avLst/>
                <a:gdLst>
                  <a:gd name="T0" fmla="*/ 3 w 39"/>
                  <a:gd name="T1" fmla="*/ 2 h 15"/>
                  <a:gd name="T2" fmla="*/ 34 w 39"/>
                  <a:gd name="T3" fmla="*/ 2 h 15"/>
                  <a:gd name="T4" fmla="*/ 35 w 39"/>
                  <a:gd name="T5" fmla="*/ 11 h 15"/>
                  <a:gd name="T6" fmla="*/ 2 w 39"/>
                  <a:gd name="T7" fmla="*/ 13 h 15"/>
                  <a:gd name="T8" fmla="*/ 23 w 39"/>
                  <a:gd name="T9" fmla="*/ 7 h 15"/>
                  <a:gd name="T10" fmla="*/ 3 w 39"/>
                  <a:gd name="T11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5">
                    <a:moveTo>
                      <a:pt x="3" y="2"/>
                    </a:moveTo>
                    <a:cubicBezTo>
                      <a:pt x="3" y="2"/>
                      <a:pt x="28" y="0"/>
                      <a:pt x="34" y="2"/>
                    </a:cubicBezTo>
                    <a:cubicBezTo>
                      <a:pt x="39" y="4"/>
                      <a:pt x="38" y="9"/>
                      <a:pt x="35" y="11"/>
                    </a:cubicBezTo>
                    <a:cubicBezTo>
                      <a:pt x="32" y="13"/>
                      <a:pt x="4" y="11"/>
                      <a:pt x="2" y="13"/>
                    </a:cubicBezTo>
                    <a:cubicBezTo>
                      <a:pt x="0" y="15"/>
                      <a:pt x="12" y="8"/>
                      <a:pt x="23" y="7"/>
                    </a:cubicBezTo>
                    <a:cubicBezTo>
                      <a:pt x="23" y="7"/>
                      <a:pt x="10" y="3"/>
                      <a:pt x="3" y="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60">
                <a:extLst>
                  <a:ext uri="{FF2B5EF4-FFF2-40B4-BE49-F238E27FC236}">
                    <a16:creationId xmlns:a16="http://schemas.microsoft.com/office/drawing/2014/main" id="{974EAFB1-840F-4E32-881C-132502166D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620" y="2631650"/>
                <a:ext cx="160063" cy="66575"/>
              </a:xfrm>
              <a:custGeom>
                <a:avLst/>
                <a:gdLst>
                  <a:gd name="T0" fmla="*/ 0 w 48"/>
                  <a:gd name="T1" fmla="*/ 12 h 20"/>
                  <a:gd name="T2" fmla="*/ 33 w 48"/>
                  <a:gd name="T3" fmla="*/ 18 h 20"/>
                  <a:gd name="T4" fmla="*/ 33 w 48"/>
                  <a:gd name="T5" fmla="*/ 6 h 20"/>
                  <a:gd name="T6" fmla="*/ 4 w 48"/>
                  <a:gd name="T7" fmla="*/ 0 h 20"/>
                  <a:gd name="T8" fmla="*/ 24 w 48"/>
                  <a:gd name="T9" fmla="*/ 12 h 20"/>
                  <a:gd name="T10" fmla="*/ 0 w 48"/>
                  <a:gd name="T11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20">
                    <a:moveTo>
                      <a:pt x="0" y="12"/>
                    </a:moveTo>
                    <a:cubicBezTo>
                      <a:pt x="0" y="12"/>
                      <a:pt x="18" y="20"/>
                      <a:pt x="33" y="18"/>
                    </a:cubicBezTo>
                    <a:cubicBezTo>
                      <a:pt x="48" y="15"/>
                      <a:pt x="38" y="9"/>
                      <a:pt x="33" y="6"/>
                    </a:cubicBezTo>
                    <a:cubicBezTo>
                      <a:pt x="28" y="4"/>
                      <a:pt x="4" y="0"/>
                      <a:pt x="4" y="0"/>
                    </a:cubicBezTo>
                    <a:cubicBezTo>
                      <a:pt x="4" y="0"/>
                      <a:pt x="18" y="10"/>
                      <a:pt x="24" y="12"/>
                    </a:cubicBezTo>
                    <a:cubicBezTo>
                      <a:pt x="24" y="12"/>
                      <a:pt x="34" y="16"/>
                      <a:pt x="0" y="1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61">
                <a:extLst>
                  <a:ext uri="{FF2B5EF4-FFF2-40B4-BE49-F238E27FC236}">
                    <a16:creationId xmlns:a16="http://schemas.microsoft.com/office/drawing/2014/main" id="{00FD10DF-F13A-4EA1-B6F0-4613F1C968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0453" y="2557993"/>
                <a:ext cx="114736" cy="56659"/>
              </a:xfrm>
              <a:custGeom>
                <a:avLst/>
                <a:gdLst>
                  <a:gd name="T0" fmla="*/ 1 w 34"/>
                  <a:gd name="T1" fmla="*/ 0 h 17"/>
                  <a:gd name="T2" fmla="*/ 15 w 34"/>
                  <a:gd name="T3" fmla="*/ 4 h 17"/>
                  <a:gd name="T4" fmla="*/ 31 w 34"/>
                  <a:gd name="T5" fmla="*/ 16 h 17"/>
                  <a:gd name="T6" fmla="*/ 0 w 34"/>
                  <a:gd name="T7" fmla="*/ 3 h 17"/>
                  <a:gd name="T8" fmla="*/ 1 w 34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1" y="0"/>
                    </a:moveTo>
                    <a:cubicBezTo>
                      <a:pt x="1" y="0"/>
                      <a:pt x="9" y="0"/>
                      <a:pt x="15" y="4"/>
                    </a:cubicBezTo>
                    <a:cubicBezTo>
                      <a:pt x="21" y="8"/>
                      <a:pt x="29" y="16"/>
                      <a:pt x="31" y="16"/>
                    </a:cubicBezTo>
                    <a:cubicBezTo>
                      <a:pt x="34" y="16"/>
                      <a:pt x="4" y="17"/>
                      <a:pt x="0" y="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62">
                <a:extLst>
                  <a:ext uri="{FF2B5EF4-FFF2-40B4-BE49-F238E27FC236}">
                    <a16:creationId xmlns:a16="http://schemas.microsoft.com/office/drawing/2014/main" id="{20B47F43-AEF2-4242-9719-83EE709F42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2897" y="2182624"/>
                <a:ext cx="87822" cy="127484"/>
              </a:xfrm>
              <a:custGeom>
                <a:avLst/>
                <a:gdLst>
                  <a:gd name="T0" fmla="*/ 26 w 26"/>
                  <a:gd name="T1" fmla="*/ 0 h 38"/>
                  <a:gd name="T2" fmla="*/ 6 w 26"/>
                  <a:gd name="T3" fmla="*/ 26 h 38"/>
                  <a:gd name="T4" fmla="*/ 12 w 26"/>
                  <a:gd name="T5" fmla="*/ 32 h 38"/>
                  <a:gd name="T6" fmla="*/ 22 w 26"/>
                  <a:gd name="T7" fmla="*/ 17 h 38"/>
                  <a:gd name="T8" fmla="*/ 26 w 26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8">
                    <a:moveTo>
                      <a:pt x="26" y="0"/>
                    </a:moveTo>
                    <a:cubicBezTo>
                      <a:pt x="26" y="0"/>
                      <a:pt x="11" y="19"/>
                      <a:pt x="6" y="26"/>
                    </a:cubicBezTo>
                    <a:cubicBezTo>
                      <a:pt x="0" y="32"/>
                      <a:pt x="4" y="38"/>
                      <a:pt x="12" y="32"/>
                    </a:cubicBezTo>
                    <a:cubicBezTo>
                      <a:pt x="20" y="25"/>
                      <a:pt x="22" y="17"/>
                      <a:pt x="22" y="17"/>
                    </a:cubicBez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63">
                <a:extLst>
                  <a:ext uri="{FF2B5EF4-FFF2-40B4-BE49-F238E27FC236}">
                    <a16:creationId xmlns:a16="http://schemas.microsoft.com/office/drawing/2014/main" id="{F9BCA5C5-2F15-4F5A-A399-6EAA396BC6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2728" y="2270446"/>
                <a:ext cx="100571" cy="113319"/>
              </a:xfrm>
              <a:custGeom>
                <a:avLst/>
                <a:gdLst>
                  <a:gd name="T0" fmla="*/ 30 w 30"/>
                  <a:gd name="T1" fmla="*/ 0 h 34"/>
                  <a:gd name="T2" fmla="*/ 7 w 30"/>
                  <a:gd name="T3" fmla="*/ 20 h 34"/>
                  <a:gd name="T4" fmla="*/ 10 w 30"/>
                  <a:gd name="T5" fmla="*/ 30 h 34"/>
                  <a:gd name="T6" fmla="*/ 23 w 30"/>
                  <a:gd name="T7" fmla="*/ 10 h 34"/>
                  <a:gd name="T8" fmla="*/ 30 w 30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4">
                    <a:moveTo>
                      <a:pt x="30" y="0"/>
                    </a:moveTo>
                    <a:cubicBezTo>
                      <a:pt x="30" y="0"/>
                      <a:pt x="14" y="6"/>
                      <a:pt x="7" y="20"/>
                    </a:cubicBezTo>
                    <a:cubicBezTo>
                      <a:pt x="0" y="34"/>
                      <a:pt x="7" y="32"/>
                      <a:pt x="10" y="30"/>
                    </a:cubicBezTo>
                    <a:cubicBezTo>
                      <a:pt x="14" y="27"/>
                      <a:pt x="21" y="11"/>
                      <a:pt x="23" y="10"/>
                    </a:cubicBezTo>
                    <a:cubicBezTo>
                      <a:pt x="24" y="10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64">
                <a:extLst>
                  <a:ext uri="{FF2B5EF4-FFF2-40B4-BE49-F238E27FC236}">
                    <a16:creationId xmlns:a16="http://schemas.microsoft.com/office/drawing/2014/main" id="{857A4E9B-FF51-416A-8A83-92670C78DF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66893" y="2363935"/>
                <a:ext cx="80740" cy="106237"/>
              </a:xfrm>
              <a:custGeom>
                <a:avLst/>
                <a:gdLst>
                  <a:gd name="T0" fmla="*/ 24 w 24"/>
                  <a:gd name="T1" fmla="*/ 0 h 32"/>
                  <a:gd name="T2" fmla="*/ 2 w 24"/>
                  <a:gd name="T3" fmla="*/ 20 h 32"/>
                  <a:gd name="T4" fmla="*/ 4 w 24"/>
                  <a:gd name="T5" fmla="*/ 32 h 32"/>
                  <a:gd name="T6" fmla="*/ 13 w 24"/>
                  <a:gd name="T7" fmla="*/ 16 h 32"/>
                  <a:gd name="T8" fmla="*/ 24 w 24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2">
                    <a:moveTo>
                      <a:pt x="24" y="0"/>
                    </a:moveTo>
                    <a:cubicBezTo>
                      <a:pt x="24" y="0"/>
                      <a:pt x="4" y="15"/>
                      <a:pt x="2" y="20"/>
                    </a:cubicBezTo>
                    <a:cubicBezTo>
                      <a:pt x="0" y="24"/>
                      <a:pt x="2" y="32"/>
                      <a:pt x="4" y="32"/>
                    </a:cubicBezTo>
                    <a:cubicBezTo>
                      <a:pt x="6" y="32"/>
                      <a:pt x="8" y="23"/>
                      <a:pt x="13" y="16"/>
                    </a:cubicBezTo>
                    <a:cubicBezTo>
                      <a:pt x="18" y="1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65">
                <a:extLst>
                  <a:ext uri="{FF2B5EF4-FFF2-40B4-BE49-F238E27FC236}">
                    <a16:creationId xmlns:a16="http://schemas.microsoft.com/office/drawing/2014/main" id="{154551CB-4785-43E8-9588-3DD0961C05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05413" y="2497084"/>
                <a:ext cx="181310" cy="100571"/>
              </a:xfrm>
              <a:custGeom>
                <a:avLst/>
                <a:gdLst>
                  <a:gd name="T0" fmla="*/ 41 w 54"/>
                  <a:gd name="T1" fmla="*/ 10 h 30"/>
                  <a:gd name="T2" fmla="*/ 14 w 54"/>
                  <a:gd name="T3" fmla="*/ 23 h 30"/>
                  <a:gd name="T4" fmla="*/ 19 w 54"/>
                  <a:gd name="T5" fmla="*/ 28 h 30"/>
                  <a:gd name="T6" fmla="*/ 41 w 54"/>
                  <a:gd name="T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30">
                    <a:moveTo>
                      <a:pt x="41" y="10"/>
                    </a:moveTo>
                    <a:cubicBezTo>
                      <a:pt x="41" y="10"/>
                      <a:pt x="24" y="24"/>
                      <a:pt x="14" y="23"/>
                    </a:cubicBezTo>
                    <a:cubicBezTo>
                      <a:pt x="14" y="23"/>
                      <a:pt x="0" y="30"/>
                      <a:pt x="19" y="28"/>
                    </a:cubicBezTo>
                    <a:cubicBezTo>
                      <a:pt x="38" y="26"/>
                      <a:pt x="54" y="0"/>
                      <a:pt x="41" y="1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66">
                <a:extLst>
                  <a:ext uri="{FF2B5EF4-FFF2-40B4-BE49-F238E27FC236}">
                    <a16:creationId xmlns:a16="http://schemas.microsoft.com/office/drawing/2014/main" id="{270733FC-1914-4A4D-A065-C1468DA110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79917" y="2202455"/>
                <a:ext cx="46744" cy="97738"/>
              </a:xfrm>
              <a:custGeom>
                <a:avLst/>
                <a:gdLst>
                  <a:gd name="T0" fmla="*/ 0 w 14"/>
                  <a:gd name="T1" fmla="*/ 4 h 29"/>
                  <a:gd name="T2" fmla="*/ 8 w 14"/>
                  <a:gd name="T3" fmla="*/ 4 h 29"/>
                  <a:gd name="T4" fmla="*/ 8 w 14"/>
                  <a:gd name="T5" fmla="*/ 22 h 29"/>
                  <a:gd name="T6" fmla="*/ 0 w 14"/>
                  <a:gd name="T7" fmla="*/ 14 h 29"/>
                  <a:gd name="T8" fmla="*/ 0 w 14"/>
                  <a:gd name="T9" fmla="*/ 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9">
                    <a:moveTo>
                      <a:pt x="0" y="4"/>
                    </a:moveTo>
                    <a:cubicBezTo>
                      <a:pt x="0" y="4"/>
                      <a:pt x="6" y="1"/>
                      <a:pt x="8" y="4"/>
                    </a:cubicBezTo>
                    <a:cubicBezTo>
                      <a:pt x="10" y="8"/>
                      <a:pt x="14" y="18"/>
                      <a:pt x="8" y="22"/>
                    </a:cubicBezTo>
                    <a:cubicBezTo>
                      <a:pt x="3" y="27"/>
                      <a:pt x="1" y="29"/>
                      <a:pt x="0" y="14"/>
                    </a:cubicBezTo>
                    <a:cubicBezTo>
                      <a:pt x="0" y="0"/>
                      <a:pt x="3" y="8"/>
                      <a:pt x="0" y="4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67">
                <a:extLst>
                  <a:ext uri="{FF2B5EF4-FFF2-40B4-BE49-F238E27FC236}">
                    <a16:creationId xmlns:a16="http://schemas.microsoft.com/office/drawing/2014/main" id="{F913A7AD-B65E-40EE-988C-1FBA26C66C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7002" y="1280323"/>
                <a:ext cx="310211" cy="186976"/>
              </a:xfrm>
              <a:custGeom>
                <a:avLst/>
                <a:gdLst>
                  <a:gd name="T0" fmla="*/ 0 w 93"/>
                  <a:gd name="T1" fmla="*/ 48 h 56"/>
                  <a:gd name="T2" fmla="*/ 54 w 93"/>
                  <a:gd name="T3" fmla="*/ 38 h 56"/>
                  <a:gd name="T4" fmla="*/ 93 w 93"/>
                  <a:gd name="T5" fmla="*/ 3 h 56"/>
                  <a:gd name="T6" fmla="*/ 34 w 93"/>
                  <a:gd name="T7" fmla="*/ 53 h 56"/>
                  <a:gd name="T8" fmla="*/ 6 w 93"/>
                  <a:gd name="T9" fmla="*/ 56 h 56"/>
                  <a:gd name="T10" fmla="*/ 0 w 93"/>
                  <a:gd name="T11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56">
                    <a:moveTo>
                      <a:pt x="0" y="48"/>
                    </a:moveTo>
                    <a:cubicBezTo>
                      <a:pt x="0" y="48"/>
                      <a:pt x="38" y="47"/>
                      <a:pt x="54" y="38"/>
                    </a:cubicBezTo>
                    <a:cubicBezTo>
                      <a:pt x="70" y="28"/>
                      <a:pt x="93" y="6"/>
                      <a:pt x="93" y="3"/>
                    </a:cubicBezTo>
                    <a:cubicBezTo>
                      <a:pt x="93" y="0"/>
                      <a:pt x="76" y="43"/>
                      <a:pt x="34" y="53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6"/>
                      <a:pt x="8" y="51"/>
                      <a:pt x="0" y="48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68">
                <a:extLst>
                  <a:ext uri="{FF2B5EF4-FFF2-40B4-BE49-F238E27FC236}">
                    <a16:creationId xmlns:a16="http://schemas.microsoft.com/office/drawing/2014/main" id="{DD65F5E3-7CFB-41C0-8ACA-1358537606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36576" y="2665770"/>
                <a:ext cx="179894" cy="174228"/>
              </a:xfrm>
              <a:custGeom>
                <a:avLst/>
                <a:gdLst>
                  <a:gd name="T0" fmla="*/ 0 w 54"/>
                  <a:gd name="T1" fmla="*/ 28 h 52"/>
                  <a:gd name="T2" fmla="*/ 17 w 54"/>
                  <a:gd name="T3" fmla="*/ 33 h 52"/>
                  <a:gd name="T4" fmla="*/ 38 w 54"/>
                  <a:gd name="T5" fmla="*/ 21 h 52"/>
                  <a:gd name="T6" fmla="*/ 51 w 54"/>
                  <a:gd name="T7" fmla="*/ 1 h 52"/>
                  <a:gd name="T8" fmla="*/ 37 w 54"/>
                  <a:gd name="T9" fmla="*/ 40 h 52"/>
                  <a:gd name="T10" fmla="*/ 0 w 54"/>
                  <a:gd name="T11" fmla="*/ 2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2">
                    <a:moveTo>
                      <a:pt x="0" y="28"/>
                    </a:moveTo>
                    <a:cubicBezTo>
                      <a:pt x="0" y="28"/>
                      <a:pt x="7" y="28"/>
                      <a:pt x="17" y="33"/>
                    </a:cubicBezTo>
                    <a:cubicBezTo>
                      <a:pt x="28" y="38"/>
                      <a:pt x="34" y="26"/>
                      <a:pt x="38" y="21"/>
                    </a:cubicBezTo>
                    <a:cubicBezTo>
                      <a:pt x="42" y="16"/>
                      <a:pt x="49" y="2"/>
                      <a:pt x="51" y="1"/>
                    </a:cubicBezTo>
                    <a:cubicBezTo>
                      <a:pt x="54" y="0"/>
                      <a:pt x="45" y="38"/>
                      <a:pt x="37" y="40"/>
                    </a:cubicBezTo>
                    <a:cubicBezTo>
                      <a:pt x="30" y="43"/>
                      <a:pt x="5" y="52"/>
                      <a:pt x="0" y="28"/>
                    </a:cubicBezTo>
                    <a:close/>
                  </a:path>
                </a:pathLst>
              </a:custGeom>
              <a:solidFill>
                <a:srgbClr val="A0C1D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69">
                <a:extLst>
                  <a:ext uri="{FF2B5EF4-FFF2-40B4-BE49-F238E27FC236}">
                    <a16:creationId xmlns:a16="http://schemas.microsoft.com/office/drawing/2014/main" id="{03ED89F8-7E8E-4922-B89F-20B3A8A5EA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9078" y="2705307"/>
                <a:ext cx="216723" cy="93488"/>
              </a:xfrm>
              <a:custGeom>
                <a:avLst/>
                <a:gdLst>
                  <a:gd name="T0" fmla="*/ 0 w 65"/>
                  <a:gd name="T1" fmla="*/ 28 h 28"/>
                  <a:gd name="T2" fmla="*/ 41 w 65"/>
                  <a:gd name="T3" fmla="*/ 8 h 28"/>
                  <a:gd name="T4" fmla="*/ 23 w 65"/>
                  <a:gd name="T5" fmla="*/ 27 h 28"/>
                  <a:gd name="T6" fmla="*/ 0 w 65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28">
                    <a:moveTo>
                      <a:pt x="0" y="28"/>
                    </a:moveTo>
                    <a:cubicBezTo>
                      <a:pt x="0" y="28"/>
                      <a:pt x="35" y="16"/>
                      <a:pt x="41" y="8"/>
                    </a:cubicBezTo>
                    <a:cubicBezTo>
                      <a:pt x="41" y="8"/>
                      <a:pt x="65" y="0"/>
                      <a:pt x="23" y="27"/>
                    </a:cubicBez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71">
                <a:extLst>
                  <a:ext uri="{FF2B5EF4-FFF2-40B4-BE49-F238E27FC236}">
                    <a16:creationId xmlns:a16="http://schemas.microsoft.com/office/drawing/2014/main" id="{83B3A729-AE55-48E1-904C-CF3534717B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03407" y="1715184"/>
                <a:ext cx="70824" cy="79323"/>
              </a:xfrm>
              <a:custGeom>
                <a:avLst/>
                <a:gdLst>
                  <a:gd name="T0" fmla="*/ 7 w 21"/>
                  <a:gd name="T1" fmla="*/ 0 h 24"/>
                  <a:gd name="T2" fmla="*/ 19 w 21"/>
                  <a:gd name="T3" fmla="*/ 24 h 24"/>
                  <a:gd name="T4" fmla="*/ 7 w 2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24">
                    <a:moveTo>
                      <a:pt x="7" y="0"/>
                    </a:moveTo>
                    <a:cubicBezTo>
                      <a:pt x="7" y="0"/>
                      <a:pt x="17" y="23"/>
                      <a:pt x="19" y="24"/>
                    </a:cubicBezTo>
                    <a:cubicBezTo>
                      <a:pt x="21" y="24"/>
                      <a:pt x="0" y="20"/>
                      <a:pt x="7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72">
                <a:extLst>
                  <a:ext uri="{FF2B5EF4-FFF2-40B4-BE49-F238E27FC236}">
                    <a16:creationId xmlns:a16="http://schemas.microsoft.com/office/drawing/2014/main" id="{C90173F7-1DC1-4A73-9F99-BAE46373D8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86685" y="3762005"/>
                <a:ext cx="257800" cy="287547"/>
              </a:xfrm>
              <a:custGeom>
                <a:avLst/>
                <a:gdLst>
                  <a:gd name="T0" fmla="*/ 50 w 77"/>
                  <a:gd name="T1" fmla="*/ 84 h 86"/>
                  <a:gd name="T2" fmla="*/ 57 w 77"/>
                  <a:gd name="T3" fmla="*/ 57 h 86"/>
                  <a:gd name="T4" fmla="*/ 37 w 77"/>
                  <a:gd name="T5" fmla="*/ 42 h 86"/>
                  <a:gd name="T6" fmla="*/ 77 w 77"/>
                  <a:gd name="T7" fmla="*/ 6 h 86"/>
                  <a:gd name="T8" fmla="*/ 58 w 77"/>
                  <a:gd name="T9" fmla="*/ 9 h 86"/>
                  <a:gd name="T10" fmla="*/ 31 w 77"/>
                  <a:gd name="T11" fmla="*/ 18 h 86"/>
                  <a:gd name="T12" fmla="*/ 3 w 77"/>
                  <a:gd name="T13" fmla="*/ 26 h 86"/>
                  <a:gd name="T14" fmla="*/ 50 w 77"/>
                  <a:gd name="T15" fmla="*/ 8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86">
                    <a:moveTo>
                      <a:pt x="50" y="84"/>
                    </a:moveTo>
                    <a:cubicBezTo>
                      <a:pt x="50" y="84"/>
                      <a:pt x="61" y="59"/>
                      <a:pt x="57" y="57"/>
                    </a:cubicBezTo>
                    <a:cubicBezTo>
                      <a:pt x="53" y="55"/>
                      <a:pt x="23" y="53"/>
                      <a:pt x="37" y="42"/>
                    </a:cubicBezTo>
                    <a:cubicBezTo>
                      <a:pt x="51" y="31"/>
                      <a:pt x="77" y="6"/>
                      <a:pt x="77" y="6"/>
                    </a:cubicBezTo>
                    <a:cubicBezTo>
                      <a:pt x="77" y="6"/>
                      <a:pt x="69" y="0"/>
                      <a:pt x="58" y="9"/>
                    </a:cubicBezTo>
                    <a:cubicBezTo>
                      <a:pt x="47" y="18"/>
                      <a:pt x="47" y="23"/>
                      <a:pt x="31" y="18"/>
                    </a:cubicBezTo>
                    <a:cubicBezTo>
                      <a:pt x="15" y="13"/>
                      <a:pt x="0" y="20"/>
                      <a:pt x="3" y="26"/>
                    </a:cubicBezTo>
                    <a:cubicBezTo>
                      <a:pt x="6" y="32"/>
                      <a:pt x="38" y="86"/>
                      <a:pt x="50" y="84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73">
                <a:extLst>
                  <a:ext uri="{FF2B5EF4-FFF2-40B4-BE49-F238E27FC236}">
                    <a16:creationId xmlns:a16="http://schemas.microsoft.com/office/drawing/2014/main" id="{1C05F754-5A81-4FCA-B17A-A835C0E402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04804" y="3341309"/>
                <a:ext cx="271965" cy="199725"/>
              </a:xfrm>
              <a:custGeom>
                <a:avLst/>
                <a:gdLst>
                  <a:gd name="T0" fmla="*/ 16 w 81"/>
                  <a:gd name="T1" fmla="*/ 1 h 60"/>
                  <a:gd name="T2" fmla="*/ 7 w 81"/>
                  <a:gd name="T3" fmla="*/ 20 h 60"/>
                  <a:gd name="T4" fmla="*/ 36 w 81"/>
                  <a:gd name="T5" fmla="*/ 36 h 60"/>
                  <a:gd name="T6" fmla="*/ 73 w 81"/>
                  <a:gd name="T7" fmla="*/ 57 h 60"/>
                  <a:gd name="T8" fmla="*/ 56 w 81"/>
                  <a:gd name="T9" fmla="*/ 37 h 60"/>
                  <a:gd name="T10" fmla="*/ 19 w 81"/>
                  <a:gd name="T11" fmla="*/ 13 h 60"/>
                  <a:gd name="T12" fmla="*/ 16 w 81"/>
                  <a:gd name="T13" fmla="*/ 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60">
                    <a:moveTo>
                      <a:pt x="16" y="1"/>
                    </a:moveTo>
                    <a:cubicBezTo>
                      <a:pt x="16" y="1"/>
                      <a:pt x="0" y="16"/>
                      <a:pt x="7" y="20"/>
                    </a:cubicBezTo>
                    <a:cubicBezTo>
                      <a:pt x="14" y="24"/>
                      <a:pt x="25" y="28"/>
                      <a:pt x="36" y="36"/>
                    </a:cubicBezTo>
                    <a:cubicBezTo>
                      <a:pt x="47" y="44"/>
                      <a:pt x="65" y="60"/>
                      <a:pt x="73" y="57"/>
                    </a:cubicBezTo>
                    <a:cubicBezTo>
                      <a:pt x="81" y="54"/>
                      <a:pt x="65" y="42"/>
                      <a:pt x="56" y="37"/>
                    </a:cubicBezTo>
                    <a:cubicBezTo>
                      <a:pt x="47" y="32"/>
                      <a:pt x="20" y="19"/>
                      <a:pt x="19" y="13"/>
                    </a:cubicBezTo>
                    <a:cubicBezTo>
                      <a:pt x="18" y="7"/>
                      <a:pt x="24" y="0"/>
                      <a:pt x="16" y="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74">
                <a:extLst>
                  <a:ext uri="{FF2B5EF4-FFF2-40B4-BE49-F238E27FC236}">
                    <a16:creationId xmlns:a16="http://schemas.microsoft.com/office/drawing/2014/main" id="{D0305CFF-FBA7-4971-8531-1280F4483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1314" y="3300231"/>
                <a:ext cx="226638" cy="107653"/>
              </a:xfrm>
              <a:custGeom>
                <a:avLst/>
                <a:gdLst>
                  <a:gd name="T0" fmla="*/ 4 w 68"/>
                  <a:gd name="T1" fmla="*/ 8 h 32"/>
                  <a:gd name="T2" fmla="*/ 34 w 68"/>
                  <a:gd name="T3" fmla="*/ 32 h 32"/>
                  <a:gd name="T4" fmla="*/ 42 w 68"/>
                  <a:gd name="T5" fmla="*/ 23 h 32"/>
                  <a:gd name="T6" fmla="*/ 23 w 68"/>
                  <a:gd name="T7" fmla="*/ 23 h 32"/>
                  <a:gd name="T8" fmla="*/ 20 w 68"/>
                  <a:gd name="T9" fmla="*/ 10 h 32"/>
                  <a:gd name="T10" fmla="*/ 37 w 68"/>
                  <a:gd name="T11" fmla="*/ 4 h 32"/>
                  <a:gd name="T12" fmla="*/ 4 w 68"/>
                  <a:gd name="T13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32">
                    <a:moveTo>
                      <a:pt x="4" y="8"/>
                    </a:moveTo>
                    <a:cubicBezTo>
                      <a:pt x="4" y="8"/>
                      <a:pt x="0" y="32"/>
                      <a:pt x="34" y="32"/>
                    </a:cubicBezTo>
                    <a:cubicBezTo>
                      <a:pt x="68" y="32"/>
                      <a:pt x="42" y="23"/>
                      <a:pt x="42" y="23"/>
                    </a:cubicBezTo>
                    <a:cubicBezTo>
                      <a:pt x="42" y="23"/>
                      <a:pt x="28" y="23"/>
                      <a:pt x="23" y="23"/>
                    </a:cubicBezTo>
                    <a:cubicBezTo>
                      <a:pt x="18" y="23"/>
                      <a:pt x="9" y="13"/>
                      <a:pt x="20" y="10"/>
                    </a:cubicBezTo>
                    <a:cubicBezTo>
                      <a:pt x="31" y="7"/>
                      <a:pt x="37" y="4"/>
                      <a:pt x="37" y="4"/>
                    </a:cubicBezTo>
                    <a:cubicBezTo>
                      <a:pt x="37" y="4"/>
                      <a:pt x="2" y="0"/>
                      <a:pt x="4" y="8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75">
                <a:extLst>
                  <a:ext uri="{FF2B5EF4-FFF2-40B4-BE49-F238E27FC236}">
                    <a16:creationId xmlns:a16="http://schemas.microsoft.com/office/drawing/2014/main" id="{7FA130B6-25AB-4CA2-87A2-E6AD65DE5F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94062" y="4368261"/>
                <a:ext cx="354121" cy="619005"/>
              </a:xfrm>
              <a:custGeom>
                <a:avLst/>
                <a:gdLst>
                  <a:gd name="T0" fmla="*/ 9 w 106"/>
                  <a:gd name="T1" fmla="*/ 157 h 185"/>
                  <a:gd name="T2" fmla="*/ 60 w 106"/>
                  <a:gd name="T3" fmla="*/ 66 h 185"/>
                  <a:gd name="T4" fmla="*/ 101 w 106"/>
                  <a:gd name="T5" fmla="*/ 2 h 185"/>
                  <a:gd name="T6" fmla="*/ 91 w 106"/>
                  <a:gd name="T7" fmla="*/ 34 h 185"/>
                  <a:gd name="T8" fmla="*/ 82 w 106"/>
                  <a:gd name="T9" fmla="*/ 70 h 185"/>
                  <a:gd name="T10" fmla="*/ 65 w 106"/>
                  <a:gd name="T11" fmla="*/ 107 h 185"/>
                  <a:gd name="T12" fmla="*/ 9 w 106"/>
                  <a:gd name="T13" fmla="*/ 15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85">
                    <a:moveTo>
                      <a:pt x="9" y="157"/>
                    </a:moveTo>
                    <a:cubicBezTo>
                      <a:pt x="9" y="157"/>
                      <a:pt x="56" y="78"/>
                      <a:pt x="60" y="66"/>
                    </a:cubicBezTo>
                    <a:cubicBezTo>
                      <a:pt x="64" y="54"/>
                      <a:pt x="96" y="4"/>
                      <a:pt x="101" y="2"/>
                    </a:cubicBezTo>
                    <a:cubicBezTo>
                      <a:pt x="106" y="0"/>
                      <a:pt x="94" y="28"/>
                      <a:pt x="91" y="34"/>
                    </a:cubicBezTo>
                    <a:cubicBezTo>
                      <a:pt x="88" y="40"/>
                      <a:pt x="82" y="63"/>
                      <a:pt x="82" y="70"/>
                    </a:cubicBezTo>
                    <a:cubicBezTo>
                      <a:pt x="82" y="77"/>
                      <a:pt x="72" y="98"/>
                      <a:pt x="65" y="107"/>
                    </a:cubicBezTo>
                    <a:cubicBezTo>
                      <a:pt x="58" y="116"/>
                      <a:pt x="0" y="185"/>
                      <a:pt x="9" y="157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76">
                <a:extLst>
                  <a:ext uri="{FF2B5EF4-FFF2-40B4-BE49-F238E27FC236}">
                    <a16:creationId xmlns:a16="http://schemas.microsoft.com/office/drawing/2014/main" id="{F1E1727C-7681-4DB8-A463-413EB1EF00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8230" y="4422087"/>
                <a:ext cx="351288" cy="430612"/>
              </a:xfrm>
              <a:custGeom>
                <a:avLst/>
                <a:gdLst>
                  <a:gd name="T0" fmla="*/ 18 w 105"/>
                  <a:gd name="T1" fmla="*/ 76 h 129"/>
                  <a:gd name="T2" fmla="*/ 1 w 105"/>
                  <a:gd name="T3" fmla="*/ 107 h 129"/>
                  <a:gd name="T4" fmla="*/ 20 w 105"/>
                  <a:gd name="T5" fmla="*/ 113 h 129"/>
                  <a:gd name="T6" fmla="*/ 44 w 105"/>
                  <a:gd name="T7" fmla="*/ 78 h 129"/>
                  <a:gd name="T8" fmla="*/ 98 w 105"/>
                  <a:gd name="T9" fmla="*/ 22 h 129"/>
                  <a:gd name="T10" fmla="*/ 96 w 105"/>
                  <a:gd name="T11" fmla="*/ 3 h 129"/>
                  <a:gd name="T12" fmla="*/ 83 w 105"/>
                  <a:gd name="T13" fmla="*/ 26 h 129"/>
                  <a:gd name="T14" fmla="*/ 18 w 105"/>
                  <a:gd name="T15" fmla="*/ 76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29">
                    <a:moveTo>
                      <a:pt x="18" y="76"/>
                    </a:moveTo>
                    <a:cubicBezTo>
                      <a:pt x="18" y="76"/>
                      <a:pt x="2" y="92"/>
                      <a:pt x="1" y="107"/>
                    </a:cubicBezTo>
                    <a:cubicBezTo>
                      <a:pt x="0" y="122"/>
                      <a:pt x="4" y="129"/>
                      <a:pt x="20" y="113"/>
                    </a:cubicBezTo>
                    <a:cubicBezTo>
                      <a:pt x="36" y="97"/>
                      <a:pt x="25" y="94"/>
                      <a:pt x="44" y="78"/>
                    </a:cubicBezTo>
                    <a:cubicBezTo>
                      <a:pt x="63" y="62"/>
                      <a:pt x="91" y="43"/>
                      <a:pt x="98" y="22"/>
                    </a:cubicBezTo>
                    <a:cubicBezTo>
                      <a:pt x="105" y="1"/>
                      <a:pt x="100" y="0"/>
                      <a:pt x="96" y="3"/>
                    </a:cubicBezTo>
                    <a:cubicBezTo>
                      <a:pt x="92" y="6"/>
                      <a:pt x="97" y="11"/>
                      <a:pt x="83" y="26"/>
                    </a:cubicBezTo>
                    <a:cubicBezTo>
                      <a:pt x="69" y="41"/>
                      <a:pt x="28" y="82"/>
                      <a:pt x="18" y="7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77">
                <a:extLst>
                  <a:ext uri="{FF2B5EF4-FFF2-40B4-BE49-F238E27FC236}">
                    <a16:creationId xmlns:a16="http://schemas.microsoft.com/office/drawing/2014/main" id="{A86D23A7-1CEC-48FD-97CB-24EEA432F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8060" y="1941822"/>
                <a:ext cx="124651" cy="990124"/>
              </a:xfrm>
              <a:custGeom>
                <a:avLst/>
                <a:gdLst>
                  <a:gd name="T0" fmla="*/ 15 w 37"/>
                  <a:gd name="T1" fmla="*/ 0 h 296"/>
                  <a:gd name="T2" fmla="*/ 12 w 37"/>
                  <a:gd name="T3" fmla="*/ 86 h 296"/>
                  <a:gd name="T4" fmla="*/ 16 w 37"/>
                  <a:gd name="T5" fmla="*/ 174 h 296"/>
                  <a:gd name="T6" fmla="*/ 11 w 37"/>
                  <a:gd name="T7" fmla="*/ 296 h 296"/>
                  <a:gd name="T8" fmla="*/ 13 w 37"/>
                  <a:gd name="T9" fmla="*/ 187 h 296"/>
                  <a:gd name="T10" fmla="*/ 15 w 37"/>
                  <a:gd name="T11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296">
                    <a:moveTo>
                      <a:pt x="15" y="0"/>
                    </a:moveTo>
                    <a:cubicBezTo>
                      <a:pt x="15" y="0"/>
                      <a:pt x="14" y="73"/>
                      <a:pt x="12" y="86"/>
                    </a:cubicBezTo>
                    <a:cubicBezTo>
                      <a:pt x="10" y="99"/>
                      <a:pt x="13" y="157"/>
                      <a:pt x="16" y="174"/>
                    </a:cubicBezTo>
                    <a:cubicBezTo>
                      <a:pt x="16" y="174"/>
                      <a:pt x="37" y="270"/>
                      <a:pt x="11" y="296"/>
                    </a:cubicBezTo>
                    <a:cubicBezTo>
                      <a:pt x="11" y="296"/>
                      <a:pt x="26" y="246"/>
                      <a:pt x="13" y="187"/>
                    </a:cubicBezTo>
                    <a:cubicBezTo>
                      <a:pt x="0" y="128"/>
                      <a:pt x="4" y="42"/>
                      <a:pt x="15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78">
                <a:extLst>
                  <a:ext uri="{FF2B5EF4-FFF2-40B4-BE49-F238E27FC236}">
                    <a16:creationId xmlns:a16="http://schemas.microsoft.com/office/drawing/2014/main" id="{474DD384-C5D4-4215-BB07-6EFDB037EF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24635" y="3056595"/>
                <a:ext cx="456108" cy="167145"/>
              </a:xfrm>
              <a:custGeom>
                <a:avLst/>
                <a:gdLst>
                  <a:gd name="T0" fmla="*/ 19 w 136"/>
                  <a:gd name="T1" fmla="*/ 25 h 50"/>
                  <a:gd name="T2" fmla="*/ 14 w 136"/>
                  <a:gd name="T3" fmla="*/ 1 h 50"/>
                  <a:gd name="T4" fmla="*/ 37 w 136"/>
                  <a:gd name="T5" fmla="*/ 14 h 50"/>
                  <a:gd name="T6" fmla="*/ 82 w 136"/>
                  <a:gd name="T7" fmla="*/ 36 h 50"/>
                  <a:gd name="T8" fmla="*/ 122 w 136"/>
                  <a:gd name="T9" fmla="*/ 43 h 50"/>
                  <a:gd name="T10" fmla="*/ 117 w 136"/>
                  <a:gd name="T11" fmla="*/ 49 h 50"/>
                  <a:gd name="T12" fmla="*/ 34 w 136"/>
                  <a:gd name="T13" fmla="*/ 28 h 50"/>
                  <a:gd name="T14" fmla="*/ 19 w 136"/>
                  <a:gd name="T15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50">
                    <a:moveTo>
                      <a:pt x="19" y="25"/>
                    </a:moveTo>
                    <a:cubicBezTo>
                      <a:pt x="19" y="25"/>
                      <a:pt x="0" y="0"/>
                      <a:pt x="14" y="1"/>
                    </a:cubicBezTo>
                    <a:cubicBezTo>
                      <a:pt x="28" y="2"/>
                      <a:pt x="26" y="12"/>
                      <a:pt x="37" y="14"/>
                    </a:cubicBezTo>
                    <a:cubicBezTo>
                      <a:pt x="48" y="16"/>
                      <a:pt x="64" y="29"/>
                      <a:pt x="82" y="36"/>
                    </a:cubicBezTo>
                    <a:cubicBezTo>
                      <a:pt x="100" y="43"/>
                      <a:pt x="122" y="43"/>
                      <a:pt x="122" y="43"/>
                    </a:cubicBezTo>
                    <a:cubicBezTo>
                      <a:pt x="122" y="43"/>
                      <a:pt x="136" y="48"/>
                      <a:pt x="117" y="49"/>
                    </a:cubicBezTo>
                    <a:cubicBezTo>
                      <a:pt x="98" y="50"/>
                      <a:pt x="88" y="47"/>
                      <a:pt x="34" y="28"/>
                    </a:cubicBezTo>
                    <a:cubicBezTo>
                      <a:pt x="34" y="28"/>
                      <a:pt x="28" y="21"/>
                      <a:pt x="19" y="25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79">
                <a:extLst>
                  <a:ext uri="{FF2B5EF4-FFF2-40B4-BE49-F238E27FC236}">
                    <a16:creationId xmlns:a16="http://schemas.microsoft.com/office/drawing/2014/main" id="{F371C689-A82E-4B97-AC7B-DF91CCBDAB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1463" y="6058128"/>
                <a:ext cx="220972" cy="253551"/>
              </a:xfrm>
              <a:custGeom>
                <a:avLst/>
                <a:gdLst>
                  <a:gd name="T0" fmla="*/ 66 w 66"/>
                  <a:gd name="T1" fmla="*/ 0 h 76"/>
                  <a:gd name="T2" fmla="*/ 45 w 66"/>
                  <a:gd name="T3" fmla="*/ 30 h 76"/>
                  <a:gd name="T4" fmla="*/ 8 w 66"/>
                  <a:gd name="T5" fmla="*/ 68 h 76"/>
                  <a:gd name="T6" fmla="*/ 58 w 66"/>
                  <a:gd name="T7" fmla="*/ 46 h 76"/>
                  <a:gd name="T8" fmla="*/ 66 w 66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76">
                    <a:moveTo>
                      <a:pt x="66" y="0"/>
                    </a:moveTo>
                    <a:cubicBezTo>
                      <a:pt x="66" y="0"/>
                      <a:pt x="49" y="22"/>
                      <a:pt x="45" y="30"/>
                    </a:cubicBezTo>
                    <a:cubicBezTo>
                      <a:pt x="41" y="38"/>
                      <a:pt x="16" y="66"/>
                      <a:pt x="8" y="68"/>
                    </a:cubicBezTo>
                    <a:cubicBezTo>
                      <a:pt x="0" y="71"/>
                      <a:pt x="38" y="76"/>
                      <a:pt x="58" y="46"/>
                    </a:cubicBezTo>
                    <a:cubicBezTo>
                      <a:pt x="58" y="46"/>
                      <a:pt x="65" y="42"/>
                      <a:pt x="66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80">
                <a:extLst>
                  <a:ext uri="{FF2B5EF4-FFF2-40B4-BE49-F238E27FC236}">
                    <a16:creationId xmlns:a16="http://schemas.microsoft.com/office/drawing/2014/main" id="{5BCAAF57-F7B3-49FE-8804-99ACCD82CE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7997" y="6107705"/>
                <a:ext cx="240802" cy="171395"/>
              </a:xfrm>
              <a:custGeom>
                <a:avLst/>
                <a:gdLst>
                  <a:gd name="T0" fmla="*/ 0 w 72"/>
                  <a:gd name="T1" fmla="*/ 10 h 51"/>
                  <a:gd name="T2" fmla="*/ 20 w 72"/>
                  <a:gd name="T3" fmla="*/ 8 h 51"/>
                  <a:gd name="T4" fmla="*/ 51 w 72"/>
                  <a:gd name="T5" fmla="*/ 27 h 51"/>
                  <a:gd name="T6" fmla="*/ 65 w 72"/>
                  <a:gd name="T7" fmla="*/ 51 h 51"/>
                  <a:gd name="T8" fmla="*/ 0 w 72"/>
                  <a:gd name="T9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51">
                    <a:moveTo>
                      <a:pt x="0" y="10"/>
                    </a:moveTo>
                    <a:cubicBezTo>
                      <a:pt x="0" y="10"/>
                      <a:pt x="13" y="0"/>
                      <a:pt x="20" y="8"/>
                    </a:cubicBezTo>
                    <a:cubicBezTo>
                      <a:pt x="27" y="16"/>
                      <a:pt x="43" y="28"/>
                      <a:pt x="51" y="27"/>
                    </a:cubicBezTo>
                    <a:cubicBezTo>
                      <a:pt x="59" y="25"/>
                      <a:pt x="72" y="47"/>
                      <a:pt x="65" y="51"/>
                    </a:cubicBezTo>
                    <a:cubicBezTo>
                      <a:pt x="65" y="51"/>
                      <a:pt x="4" y="35"/>
                      <a:pt x="0" y="1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81">
                <a:extLst>
                  <a:ext uri="{FF2B5EF4-FFF2-40B4-BE49-F238E27FC236}">
                    <a16:creationId xmlns:a16="http://schemas.microsoft.com/office/drawing/2014/main" id="{94770FA4-EAA6-40BC-9E8F-250E545719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0200" y="2361102"/>
                <a:ext cx="97738" cy="93488"/>
              </a:xfrm>
              <a:custGeom>
                <a:avLst/>
                <a:gdLst>
                  <a:gd name="T0" fmla="*/ 0 w 29"/>
                  <a:gd name="T1" fmla="*/ 0 h 28"/>
                  <a:gd name="T2" fmla="*/ 21 w 29"/>
                  <a:gd name="T3" fmla="*/ 28 h 28"/>
                  <a:gd name="T4" fmla="*/ 24 w 29"/>
                  <a:gd name="T5" fmla="*/ 18 h 28"/>
                  <a:gd name="T6" fmla="*/ 0 w 29"/>
                  <a:gd name="T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8">
                    <a:moveTo>
                      <a:pt x="0" y="0"/>
                    </a:moveTo>
                    <a:cubicBezTo>
                      <a:pt x="0" y="0"/>
                      <a:pt x="13" y="28"/>
                      <a:pt x="21" y="28"/>
                    </a:cubicBezTo>
                    <a:cubicBezTo>
                      <a:pt x="29" y="28"/>
                      <a:pt x="24" y="18"/>
                      <a:pt x="24" y="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6125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uppieren 30">
            <a:extLst>
              <a:ext uri="{FF2B5EF4-FFF2-40B4-BE49-F238E27FC236}">
                <a16:creationId xmlns:a16="http://schemas.microsoft.com/office/drawing/2014/main" id="{C4554CAF-3F44-40DC-965F-8DFE8824D2E5}"/>
              </a:ext>
            </a:extLst>
          </p:cNvPr>
          <p:cNvGrpSpPr/>
          <p:nvPr/>
        </p:nvGrpSpPr>
        <p:grpSpPr bwMode="gray">
          <a:xfrm>
            <a:off x="539646" y="883589"/>
            <a:ext cx="3533211" cy="3009191"/>
            <a:chOff x="1497013" y="1450975"/>
            <a:chExt cx="6382493" cy="5435890"/>
          </a:xfrm>
        </p:grpSpPr>
        <p:sp>
          <p:nvSpPr>
            <p:cNvPr id="3" name="Freeform 111">
              <a:extLst>
                <a:ext uri="{FF2B5EF4-FFF2-40B4-BE49-F238E27FC236}">
                  <a16:creationId xmlns:a16="http://schemas.microsoft.com/office/drawing/2014/main" id="{33734204-77C0-41F9-A288-1D21B05CD59C}"/>
                </a:ext>
              </a:extLst>
            </p:cNvPr>
            <p:cNvSpPr>
              <a:spLocks/>
            </p:cNvSpPr>
            <p:nvPr/>
          </p:nvSpPr>
          <p:spPr bwMode="gray">
            <a:xfrm>
              <a:off x="1795776" y="5170018"/>
              <a:ext cx="1176337" cy="1051394"/>
            </a:xfrm>
            <a:custGeom>
              <a:avLst/>
              <a:gdLst>
                <a:gd name="T0" fmla="*/ 310 w 314"/>
                <a:gd name="T1" fmla="*/ 38 h 265"/>
                <a:gd name="T2" fmla="*/ 311 w 314"/>
                <a:gd name="T3" fmla="*/ 99 h 265"/>
                <a:gd name="T4" fmla="*/ 309 w 314"/>
                <a:gd name="T5" fmla="*/ 178 h 265"/>
                <a:gd name="T6" fmla="*/ 309 w 314"/>
                <a:gd name="T7" fmla="*/ 255 h 265"/>
                <a:gd name="T8" fmla="*/ 307 w 314"/>
                <a:gd name="T9" fmla="*/ 263 h 265"/>
                <a:gd name="T10" fmla="*/ 178 w 314"/>
                <a:gd name="T11" fmla="*/ 264 h 265"/>
                <a:gd name="T12" fmla="*/ 34 w 314"/>
                <a:gd name="T13" fmla="*/ 263 h 265"/>
                <a:gd name="T14" fmla="*/ 34 w 314"/>
                <a:gd name="T15" fmla="*/ 146 h 265"/>
                <a:gd name="T16" fmla="*/ 0 w 314"/>
                <a:gd name="T17" fmla="*/ 62 h 265"/>
                <a:gd name="T18" fmla="*/ 89 w 314"/>
                <a:gd name="T19" fmla="*/ 30 h 265"/>
                <a:gd name="T20" fmla="*/ 258 w 314"/>
                <a:gd name="T21" fmla="*/ 29 h 265"/>
                <a:gd name="T22" fmla="*/ 296 w 314"/>
                <a:gd name="T23" fmla="*/ 0 h 265"/>
                <a:gd name="T24" fmla="*/ 310 w 314"/>
                <a:gd name="T25" fmla="*/ 3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4" h="265">
                  <a:moveTo>
                    <a:pt x="310" y="38"/>
                  </a:moveTo>
                  <a:cubicBezTo>
                    <a:pt x="312" y="57"/>
                    <a:pt x="314" y="75"/>
                    <a:pt x="311" y="99"/>
                  </a:cubicBezTo>
                  <a:cubicBezTo>
                    <a:pt x="309" y="123"/>
                    <a:pt x="307" y="153"/>
                    <a:pt x="309" y="178"/>
                  </a:cubicBezTo>
                  <a:cubicBezTo>
                    <a:pt x="310" y="202"/>
                    <a:pt x="307" y="235"/>
                    <a:pt x="309" y="255"/>
                  </a:cubicBezTo>
                  <a:cubicBezTo>
                    <a:pt x="310" y="258"/>
                    <a:pt x="311" y="262"/>
                    <a:pt x="307" y="263"/>
                  </a:cubicBezTo>
                  <a:cubicBezTo>
                    <a:pt x="283" y="264"/>
                    <a:pt x="224" y="265"/>
                    <a:pt x="178" y="264"/>
                  </a:cubicBezTo>
                  <a:cubicBezTo>
                    <a:pt x="125" y="262"/>
                    <a:pt x="34" y="263"/>
                    <a:pt x="34" y="263"/>
                  </a:cubicBezTo>
                  <a:cubicBezTo>
                    <a:pt x="34" y="263"/>
                    <a:pt x="43" y="177"/>
                    <a:pt x="34" y="146"/>
                  </a:cubicBezTo>
                  <a:cubicBezTo>
                    <a:pt x="24" y="114"/>
                    <a:pt x="0" y="63"/>
                    <a:pt x="0" y="62"/>
                  </a:cubicBezTo>
                  <a:cubicBezTo>
                    <a:pt x="0" y="60"/>
                    <a:pt x="34" y="30"/>
                    <a:pt x="89" y="30"/>
                  </a:cubicBezTo>
                  <a:cubicBezTo>
                    <a:pt x="144" y="30"/>
                    <a:pt x="247" y="33"/>
                    <a:pt x="258" y="29"/>
                  </a:cubicBezTo>
                  <a:cubicBezTo>
                    <a:pt x="269" y="24"/>
                    <a:pt x="296" y="0"/>
                    <a:pt x="296" y="0"/>
                  </a:cubicBezTo>
                  <a:lnTo>
                    <a:pt x="310" y="38"/>
                  </a:lnTo>
                  <a:close/>
                </a:path>
              </a:pathLst>
            </a:custGeom>
            <a:solidFill>
              <a:srgbClr val="585C5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" name="Freeform 112">
              <a:extLst>
                <a:ext uri="{FF2B5EF4-FFF2-40B4-BE49-F238E27FC236}">
                  <a16:creationId xmlns:a16="http://schemas.microsoft.com/office/drawing/2014/main" id="{77AA381D-0D96-4747-990D-07B066B614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8438" y="5418138"/>
              <a:ext cx="134937" cy="798916"/>
            </a:xfrm>
            <a:custGeom>
              <a:avLst/>
              <a:gdLst>
                <a:gd name="T0" fmla="*/ 36 w 36"/>
                <a:gd name="T1" fmla="*/ 0 h 209"/>
                <a:gd name="T2" fmla="*/ 25 w 36"/>
                <a:gd name="T3" fmla="*/ 85 h 209"/>
                <a:gd name="T4" fmla="*/ 10 w 36"/>
                <a:gd name="T5" fmla="*/ 196 h 209"/>
                <a:gd name="T6" fmla="*/ 1 w 36"/>
                <a:gd name="T7" fmla="*/ 168 h 209"/>
                <a:gd name="T8" fmla="*/ 10 w 36"/>
                <a:gd name="T9" fmla="*/ 119 h 209"/>
                <a:gd name="T10" fmla="*/ 27 w 36"/>
                <a:gd name="T11" fmla="*/ 40 h 209"/>
                <a:gd name="T12" fmla="*/ 36 w 36"/>
                <a:gd name="T1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09">
                  <a:moveTo>
                    <a:pt x="36" y="0"/>
                  </a:moveTo>
                  <a:cubicBezTo>
                    <a:pt x="36" y="0"/>
                    <a:pt x="33" y="62"/>
                    <a:pt x="25" y="85"/>
                  </a:cubicBezTo>
                  <a:cubicBezTo>
                    <a:pt x="18" y="108"/>
                    <a:pt x="7" y="184"/>
                    <a:pt x="10" y="196"/>
                  </a:cubicBezTo>
                  <a:cubicBezTo>
                    <a:pt x="13" y="209"/>
                    <a:pt x="3" y="175"/>
                    <a:pt x="1" y="168"/>
                  </a:cubicBezTo>
                  <a:cubicBezTo>
                    <a:pt x="0" y="161"/>
                    <a:pt x="4" y="145"/>
                    <a:pt x="10" y="119"/>
                  </a:cubicBezTo>
                  <a:cubicBezTo>
                    <a:pt x="16" y="93"/>
                    <a:pt x="25" y="50"/>
                    <a:pt x="27" y="40"/>
                  </a:cubicBezTo>
                  <a:cubicBezTo>
                    <a:pt x="29" y="29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114">
              <a:extLst>
                <a:ext uri="{FF2B5EF4-FFF2-40B4-BE49-F238E27FC236}">
                  <a16:creationId xmlns:a16="http://schemas.microsoft.com/office/drawing/2014/main" id="{64AFACE6-7428-4A2F-A120-5139235BBCC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525" y="5800725"/>
              <a:ext cx="88900" cy="335448"/>
            </a:xfrm>
            <a:custGeom>
              <a:avLst/>
              <a:gdLst>
                <a:gd name="T0" fmla="*/ 9 w 24"/>
                <a:gd name="T1" fmla="*/ 0 h 88"/>
                <a:gd name="T2" fmla="*/ 18 w 24"/>
                <a:gd name="T3" fmla="*/ 25 h 88"/>
                <a:gd name="T4" fmla="*/ 15 w 24"/>
                <a:gd name="T5" fmla="*/ 66 h 88"/>
                <a:gd name="T6" fmla="*/ 0 w 24"/>
                <a:gd name="T7" fmla="*/ 88 h 88"/>
                <a:gd name="T8" fmla="*/ 22 w 24"/>
                <a:gd name="T9" fmla="*/ 55 h 88"/>
                <a:gd name="T10" fmla="*/ 22 w 24"/>
                <a:gd name="T11" fmla="*/ 21 h 88"/>
                <a:gd name="T12" fmla="*/ 9 w 24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8">
                  <a:moveTo>
                    <a:pt x="9" y="0"/>
                  </a:moveTo>
                  <a:cubicBezTo>
                    <a:pt x="9" y="2"/>
                    <a:pt x="18" y="17"/>
                    <a:pt x="18" y="25"/>
                  </a:cubicBezTo>
                  <a:cubicBezTo>
                    <a:pt x="18" y="32"/>
                    <a:pt x="15" y="65"/>
                    <a:pt x="15" y="66"/>
                  </a:cubicBezTo>
                  <a:cubicBezTo>
                    <a:pt x="14" y="67"/>
                    <a:pt x="0" y="88"/>
                    <a:pt x="0" y="88"/>
                  </a:cubicBezTo>
                  <a:cubicBezTo>
                    <a:pt x="0" y="88"/>
                    <a:pt x="21" y="70"/>
                    <a:pt x="22" y="55"/>
                  </a:cubicBezTo>
                  <a:cubicBezTo>
                    <a:pt x="24" y="39"/>
                    <a:pt x="24" y="28"/>
                    <a:pt x="22" y="21"/>
                  </a:cubicBezTo>
                  <a:cubicBezTo>
                    <a:pt x="19" y="13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25">
              <a:extLst>
                <a:ext uri="{FF2B5EF4-FFF2-40B4-BE49-F238E27FC236}">
                  <a16:creationId xmlns:a16="http://schemas.microsoft.com/office/drawing/2014/main" id="{C2B124B2-EC32-4466-B5EB-A4FF0E9C8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9188" y="4721225"/>
              <a:ext cx="1577975" cy="2009775"/>
            </a:xfrm>
            <a:custGeom>
              <a:avLst/>
              <a:gdLst>
                <a:gd name="T0" fmla="*/ 33 w 421"/>
                <a:gd name="T1" fmla="*/ 100 h 536"/>
                <a:gd name="T2" fmla="*/ 106 w 421"/>
                <a:gd name="T3" fmla="*/ 125 h 536"/>
                <a:gd name="T4" fmla="*/ 292 w 421"/>
                <a:gd name="T5" fmla="*/ 82 h 536"/>
                <a:gd name="T6" fmla="*/ 369 w 421"/>
                <a:gd name="T7" fmla="*/ 5 h 536"/>
                <a:gd name="T8" fmla="*/ 409 w 421"/>
                <a:gd name="T9" fmla="*/ 74 h 536"/>
                <a:gd name="T10" fmla="*/ 416 w 421"/>
                <a:gd name="T11" fmla="*/ 111 h 536"/>
                <a:gd name="T12" fmla="*/ 393 w 421"/>
                <a:gd name="T13" fmla="*/ 177 h 536"/>
                <a:gd name="T14" fmla="*/ 406 w 421"/>
                <a:gd name="T15" fmla="*/ 228 h 536"/>
                <a:gd name="T16" fmla="*/ 377 w 421"/>
                <a:gd name="T17" fmla="*/ 297 h 536"/>
                <a:gd name="T18" fmla="*/ 338 w 421"/>
                <a:gd name="T19" fmla="*/ 493 h 536"/>
                <a:gd name="T20" fmla="*/ 323 w 421"/>
                <a:gd name="T21" fmla="*/ 536 h 536"/>
                <a:gd name="T22" fmla="*/ 54 w 421"/>
                <a:gd name="T23" fmla="*/ 536 h 536"/>
                <a:gd name="T24" fmla="*/ 42 w 421"/>
                <a:gd name="T25" fmla="*/ 432 h 536"/>
                <a:gd name="T26" fmla="*/ 5 w 421"/>
                <a:gd name="T27" fmla="*/ 240 h 536"/>
                <a:gd name="T28" fmla="*/ 33 w 421"/>
                <a:gd name="T29" fmla="*/ 10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1" h="536">
                  <a:moveTo>
                    <a:pt x="33" y="100"/>
                  </a:moveTo>
                  <a:cubicBezTo>
                    <a:pt x="33" y="100"/>
                    <a:pt x="85" y="124"/>
                    <a:pt x="106" y="125"/>
                  </a:cubicBezTo>
                  <a:cubicBezTo>
                    <a:pt x="127" y="126"/>
                    <a:pt x="254" y="108"/>
                    <a:pt x="292" y="82"/>
                  </a:cubicBezTo>
                  <a:cubicBezTo>
                    <a:pt x="331" y="56"/>
                    <a:pt x="363" y="0"/>
                    <a:pt x="369" y="5"/>
                  </a:cubicBezTo>
                  <a:cubicBezTo>
                    <a:pt x="375" y="10"/>
                    <a:pt x="403" y="67"/>
                    <a:pt x="409" y="74"/>
                  </a:cubicBezTo>
                  <a:cubicBezTo>
                    <a:pt x="415" y="82"/>
                    <a:pt x="421" y="98"/>
                    <a:pt x="416" y="111"/>
                  </a:cubicBezTo>
                  <a:cubicBezTo>
                    <a:pt x="411" y="124"/>
                    <a:pt x="389" y="160"/>
                    <a:pt x="393" y="177"/>
                  </a:cubicBezTo>
                  <a:cubicBezTo>
                    <a:pt x="396" y="194"/>
                    <a:pt x="408" y="216"/>
                    <a:pt x="406" y="228"/>
                  </a:cubicBezTo>
                  <a:cubicBezTo>
                    <a:pt x="403" y="240"/>
                    <a:pt x="377" y="287"/>
                    <a:pt x="377" y="297"/>
                  </a:cubicBezTo>
                  <a:cubicBezTo>
                    <a:pt x="376" y="307"/>
                    <a:pt x="346" y="473"/>
                    <a:pt x="338" y="493"/>
                  </a:cubicBezTo>
                  <a:cubicBezTo>
                    <a:pt x="330" y="514"/>
                    <a:pt x="323" y="536"/>
                    <a:pt x="323" y="536"/>
                  </a:cubicBezTo>
                  <a:cubicBezTo>
                    <a:pt x="54" y="536"/>
                    <a:pt x="54" y="536"/>
                    <a:pt x="54" y="536"/>
                  </a:cubicBezTo>
                  <a:cubicBezTo>
                    <a:pt x="54" y="536"/>
                    <a:pt x="52" y="461"/>
                    <a:pt x="42" y="432"/>
                  </a:cubicBezTo>
                  <a:cubicBezTo>
                    <a:pt x="33" y="403"/>
                    <a:pt x="0" y="290"/>
                    <a:pt x="5" y="240"/>
                  </a:cubicBezTo>
                  <a:cubicBezTo>
                    <a:pt x="9" y="189"/>
                    <a:pt x="33" y="100"/>
                    <a:pt x="33" y="100"/>
                  </a:cubicBezTo>
                  <a:close/>
                </a:path>
              </a:pathLst>
            </a:custGeom>
            <a:solidFill>
              <a:srgbClr val="2A343A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id="{64031C3E-1DB1-4865-9D7C-5EF04DF576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8613" y="4773613"/>
              <a:ext cx="1004887" cy="536575"/>
            </a:xfrm>
            <a:custGeom>
              <a:avLst/>
              <a:gdLst>
                <a:gd name="T0" fmla="*/ 267 w 268"/>
                <a:gd name="T1" fmla="*/ 50 h 143"/>
                <a:gd name="T2" fmla="*/ 217 w 268"/>
                <a:gd name="T3" fmla="*/ 97 h 143"/>
                <a:gd name="T4" fmla="*/ 8 w 268"/>
                <a:gd name="T5" fmla="*/ 143 h 143"/>
                <a:gd name="T6" fmla="*/ 46 w 268"/>
                <a:gd name="T7" fmla="*/ 124 h 143"/>
                <a:gd name="T8" fmla="*/ 185 w 268"/>
                <a:gd name="T9" fmla="*/ 69 h 143"/>
                <a:gd name="T10" fmla="*/ 244 w 268"/>
                <a:gd name="T11" fmla="*/ 5 h 143"/>
                <a:gd name="T12" fmla="*/ 255 w 268"/>
                <a:gd name="T13" fmla="*/ 11 h 143"/>
                <a:gd name="T14" fmla="*/ 268 w 268"/>
                <a:gd name="T15" fmla="*/ 41 h 143"/>
                <a:gd name="T16" fmla="*/ 267 w 268"/>
                <a:gd name="T17" fmla="*/ 5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143">
                  <a:moveTo>
                    <a:pt x="267" y="50"/>
                  </a:moveTo>
                  <a:cubicBezTo>
                    <a:pt x="264" y="52"/>
                    <a:pt x="240" y="86"/>
                    <a:pt x="217" y="97"/>
                  </a:cubicBezTo>
                  <a:cubicBezTo>
                    <a:pt x="194" y="108"/>
                    <a:pt x="16" y="143"/>
                    <a:pt x="8" y="143"/>
                  </a:cubicBezTo>
                  <a:cubicBezTo>
                    <a:pt x="0" y="143"/>
                    <a:pt x="9" y="131"/>
                    <a:pt x="46" y="124"/>
                  </a:cubicBezTo>
                  <a:cubicBezTo>
                    <a:pt x="84" y="117"/>
                    <a:pt x="171" y="76"/>
                    <a:pt x="185" y="69"/>
                  </a:cubicBezTo>
                  <a:cubicBezTo>
                    <a:pt x="198" y="63"/>
                    <a:pt x="244" y="5"/>
                    <a:pt x="244" y="5"/>
                  </a:cubicBezTo>
                  <a:cubicBezTo>
                    <a:pt x="244" y="5"/>
                    <a:pt x="249" y="0"/>
                    <a:pt x="255" y="11"/>
                  </a:cubicBezTo>
                  <a:cubicBezTo>
                    <a:pt x="260" y="22"/>
                    <a:pt x="268" y="41"/>
                    <a:pt x="268" y="41"/>
                  </a:cubicBezTo>
                  <a:lnTo>
                    <a:pt x="267" y="5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2288D70-03CF-4075-B3EC-A4DA4311969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58038" y="5389563"/>
              <a:ext cx="563562" cy="284163"/>
            </a:xfrm>
            <a:custGeom>
              <a:avLst/>
              <a:gdLst>
                <a:gd name="T0" fmla="*/ 141 w 150"/>
                <a:gd name="T1" fmla="*/ 14 h 76"/>
                <a:gd name="T2" fmla="*/ 150 w 150"/>
                <a:gd name="T3" fmla="*/ 39 h 76"/>
                <a:gd name="T4" fmla="*/ 137 w 150"/>
                <a:gd name="T5" fmla="*/ 76 h 76"/>
                <a:gd name="T6" fmla="*/ 132 w 150"/>
                <a:gd name="T7" fmla="*/ 59 h 76"/>
                <a:gd name="T8" fmla="*/ 46 w 150"/>
                <a:gd name="T9" fmla="*/ 53 h 76"/>
                <a:gd name="T10" fmla="*/ 0 w 150"/>
                <a:gd name="T11" fmla="*/ 37 h 76"/>
                <a:gd name="T12" fmla="*/ 40 w 150"/>
                <a:gd name="T13" fmla="*/ 40 h 76"/>
                <a:gd name="T14" fmla="*/ 98 w 150"/>
                <a:gd name="T15" fmla="*/ 36 h 76"/>
                <a:gd name="T16" fmla="*/ 138 w 150"/>
                <a:gd name="T17" fmla="*/ 4 h 76"/>
                <a:gd name="T18" fmla="*/ 141 w 150"/>
                <a:gd name="T19" fmla="*/ 1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76">
                  <a:moveTo>
                    <a:pt x="141" y="14"/>
                  </a:moveTo>
                  <a:cubicBezTo>
                    <a:pt x="141" y="14"/>
                    <a:pt x="150" y="32"/>
                    <a:pt x="150" y="39"/>
                  </a:cubicBezTo>
                  <a:cubicBezTo>
                    <a:pt x="150" y="45"/>
                    <a:pt x="137" y="76"/>
                    <a:pt x="137" y="76"/>
                  </a:cubicBezTo>
                  <a:cubicBezTo>
                    <a:pt x="137" y="76"/>
                    <a:pt x="135" y="63"/>
                    <a:pt x="132" y="59"/>
                  </a:cubicBezTo>
                  <a:cubicBezTo>
                    <a:pt x="129" y="54"/>
                    <a:pt x="62" y="52"/>
                    <a:pt x="46" y="53"/>
                  </a:cubicBezTo>
                  <a:cubicBezTo>
                    <a:pt x="29" y="54"/>
                    <a:pt x="0" y="37"/>
                    <a:pt x="0" y="37"/>
                  </a:cubicBezTo>
                  <a:cubicBezTo>
                    <a:pt x="0" y="37"/>
                    <a:pt x="26" y="40"/>
                    <a:pt x="40" y="40"/>
                  </a:cubicBezTo>
                  <a:cubicBezTo>
                    <a:pt x="54" y="40"/>
                    <a:pt x="93" y="40"/>
                    <a:pt x="98" y="36"/>
                  </a:cubicBezTo>
                  <a:cubicBezTo>
                    <a:pt x="103" y="31"/>
                    <a:pt x="136" y="0"/>
                    <a:pt x="138" y="4"/>
                  </a:cubicBezTo>
                  <a:cubicBezTo>
                    <a:pt x="140" y="8"/>
                    <a:pt x="141" y="14"/>
                    <a:pt x="141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AD0CB12A-9960-4FB2-B518-F20339015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1500" y="5718175"/>
              <a:ext cx="60325" cy="1006475"/>
            </a:xfrm>
            <a:custGeom>
              <a:avLst/>
              <a:gdLst>
                <a:gd name="T0" fmla="*/ 15 w 16"/>
                <a:gd name="T1" fmla="*/ 0 h 268"/>
                <a:gd name="T2" fmla="*/ 14 w 16"/>
                <a:gd name="T3" fmla="*/ 125 h 268"/>
                <a:gd name="T4" fmla="*/ 16 w 16"/>
                <a:gd name="T5" fmla="*/ 233 h 268"/>
                <a:gd name="T6" fmla="*/ 16 w 16"/>
                <a:gd name="T7" fmla="*/ 268 h 268"/>
                <a:gd name="T8" fmla="*/ 1 w 16"/>
                <a:gd name="T9" fmla="*/ 181 h 268"/>
                <a:gd name="T10" fmla="*/ 6 w 16"/>
                <a:gd name="T11" fmla="*/ 94 h 268"/>
                <a:gd name="T12" fmla="*/ 15 w 16"/>
                <a:gd name="T13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68">
                  <a:moveTo>
                    <a:pt x="15" y="0"/>
                  </a:moveTo>
                  <a:cubicBezTo>
                    <a:pt x="15" y="0"/>
                    <a:pt x="14" y="121"/>
                    <a:pt x="14" y="125"/>
                  </a:cubicBezTo>
                  <a:cubicBezTo>
                    <a:pt x="14" y="129"/>
                    <a:pt x="16" y="233"/>
                    <a:pt x="16" y="233"/>
                  </a:cubicBezTo>
                  <a:cubicBezTo>
                    <a:pt x="16" y="268"/>
                    <a:pt x="16" y="268"/>
                    <a:pt x="16" y="268"/>
                  </a:cubicBezTo>
                  <a:cubicBezTo>
                    <a:pt x="16" y="268"/>
                    <a:pt x="3" y="190"/>
                    <a:pt x="1" y="181"/>
                  </a:cubicBezTo>
                  <a:cubicBezTo>
                    <a:pt x="0" y="173"/>
                    <a:pt x="6" y="103"/>
                    <a:pt x="6" y="94"/>
                  </a:cubicBezTo>
                  <a:cubicBezTo>
                    <a:pt x="6" y="85"/>
                    <a:pt x="15" y="0"/>
                    <a:pt x="15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29">
              <a:extLst>
                <a:ext uri="{FF2B5EF4-FFF2-40B4-BE49-F238E27FC236}">
                  <a16:creationId xmlns:a16="http://schemas.microsoft.com/office/drawing/2014/main" id="{D2E2E1FA-4348-463F-B6A6-AC0EBA4DE25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50" y="5618163"/>
              <a:ext cx="250825" cy="236538"/>
            </a:xfrm>
            <a:custGeom>
              <a:avLst/>
              <a:gdLst>
                <a:gd name="T0" fmla="*/ 52 w 67"/>
                <a:gd name="T1" fmla="*/ 0 h 63"/>
                <a:gd name="T2" fmla="*/ 40 w 67"/>
                <a:gd name="T3" fmla="*/ 39 h 63"/>
                <a:gd name="T4" fmla="*/ 26 w 67"/>
                <a:gd name="T5" fmla="*/ 52 h 63"/>
                <a:gd name="T6" fmla="*/ 66 w 67"/>
                <a:gd name="T7" fmla="*/ 15 h 63"/>
                <a:gd name="T8" fmla="*/ 52 w 67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3">
                  <a:moveTo>
                    <a:pt x="52" y="0"/>
                  </a:moveTo>
                  <a:cubicBezTo>
                    <a:pt x="52" y="0"/>
                    <a:pt x="58" y="26"/>
                    <a:pt x="40" y="39"/>
                  </a:cubicBezTo>
                  <a:cubicBezTo>
                    <a:pt x="21" y="52"/>
                    <a:pt x="0" y="63"/>
                    <a:pt x="26" y="52"/>
                  </a:cubicBezTo>
                  <a:cubicBezTo>
                    <a:pt x="52" y="41"/>
                    <a:pt x="67" y="22"/>
                    <a:pt x="66" y="15"/>
                  </a:cubicBezTo>
                  <a:cubicBezTo>
                    <a:pt x="66" y="9"/>
                    <a:pt x="52" y="0"/>
                    <a:pt x="5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075E62E5-D7ED-4AA0-AA8F-3569B85E0C27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7413" y="5662613"/>
              <a:ext cx="288925" cy="322263"/>
            </a:xfrm>
            <a:custGeom>
              <a:avLst/>
              <a:gdLst>
                <a:gd name="T0" fmla="*/ 54 w 77"/>
                <a:gd name="T1" fmla="*/ 0 h 86"/>
                <a:gd name="T2" fmla="*/ 49 w 77"/>
                <a:gd name="T3" fmla="*/ 51 h 86"/>
                <a:gd name="T4" fmla="*/ 27 w 77"/>
                <a:gd name="T5" fmla="*/ 77 h 86"/>
                <a:gd name="T6" fmla="*/ 77 w 77"/>
                <a:gd name="T7" fmla="*/ 41 h 86"/>
                <a:gd name="T8" fmla="*/ 54 w 77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6">
                  <a:moveTo>
                    <a:pt x="54" y="0"/>
                  </a:moveTo>
                  <a:cubicBezTo>
                    <a:pt x="54" y="0"/>
                    <a:pt x="69" y="30"/>
                    <a:pt x="49" y="51"/>
                  </a:cubicBezTo>
                  <a:cubicBezTo>
                    <a:pt x="30" y="73"/>
                    <a:pt x="0" y="86"/>
                    <a:pt x="27" y="77"/>
                  </a:cubicBezTo>
                  <a:cubicBezTo>
                    <a:pt x="54" y="69"/>
                    <a:pt x="77" y="56"/>
                    <a:pt x="77" y="41"/>
                  </a:cubicBezTo>
                  <a:cubicBezTo>
                    <a:pt x="76" y="25"/>
                    <a:pt x="54" y="0"/>
                    <a:pt x="54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id="{DCFE8DD0-33E0-471E-8A07-ADF0C04F599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5813" y="6397625"/>
              <a:ext cx="319087" cy="303213"/>
            </a:xfrm>
            <a:custGeom>
              <a:avLst/>
              <a:gdLst>
                <a:gd name="T0" fmla="*/ 0 w 85"/>
                <a:gd name="T1" fmla="*/ 78 h 81"/>
                <a:gd name="T2" fmla="*/ 46 w 85"/>
                <a:gd name="T3" fmla="*/ 54 h 81"/>
                <a:gd name="T4" fmla="*/ 85 w 85"/>
                <a:gd name="T5" fmla="*/ 2 h 81"/>
                <a:gd name="T6" fmla="*/ 57 w 85"/>
                <a:gd name="T7" fmla="*/ 51 h 81"/>
                <a:gd name="T8" fmla="*/ 8 w 85"/>
                <a:gd name="T9" fmla="*/ 80 h 81"/>
                <a:gd name="T10" fmla="*/ 0 w 85"/>
                <a:gd name="T11" fmla="*/ 7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1">
                  <a:moveTo>
                    <a:pt x="0" y="78"/>
                  </a:moveTo>
                  <a:cubicBezTo>
                    <a:pt x="7" y="77"/>
                    <a:pt x="34" y="71"/>
                    <a:pt x="46" y="54"/>
                  </a:cubicBezTo>
                  <a:cubicBezTo>
                    <a:pt x="58" y="36"/>
                    <a:pt x="85" y="0"/>
                    <a:pt x="85" y="2"/>
                  </a:cubicBezTo>
                  <a:cubicBezTo>
                    <a:pt x="85" y="5"/>
                    <a:pt x="69" y="38"/>
                    <a:pt x="57" y="51"/>
                  </a:cubicBezTo>
                  <a:cubicBezTo>
                    <a:pt x="45" y="64"/>
                    <a:pt x="13" y="81"/>
                    <a:pt x="8" y="80"/>
                  </a:cubicBezTo>
                  <a:cubicBezTo>
                    <a:pt x="4" y="80"/>
                    <a:pt x="0" y="78"/>
                    <a:pt x="0" y="78"/>
                  </a:cubicBezTo>
                  <a:close/>
                </a:path>
              </a:pathLst>
            </a:custGeom>
            <a:solidFill>
              <a:srgbClr val="0D1214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2">
              <a:extLst>
                <a:ext uri="{FF2B5EF4-FFF2-40B4-BE49-F238E27FC236}">
                  <a16:creationId xmlns:a16="http://schemas.microsoft.com/office/drawing/2014/main" id="{5E079F10-9C89-480A-A43C-A1B88531B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838" y="5607050"/>
              <a:ext cx="107950" cy="1093788"/>
            </a:xfrm>
            <a:custGeom>
              <a:avLst/>
              <a:gdLst>
                <a:gd name="T0" fmla="*/ 29 w 29"/>
                <a:gd name="T1" fmla="*/ 0 h 292"/>
                <a:gd name="T2" fmla="*/ 2 w 29"/>
                <a:gd name="T3" fmla="*/ 77 h 292"/>
                <a:gd name="T4" fmla="*/ 6 w 29"/>
                <a:gd name="T5" fmla="*/ 138 h 292"/>
                <a:gd name="T6" fmla="*/ 11 w 29"/>
                <a:gd name="T7" fmla="*/ 292 h 292"/>
                <a:gd name="T8" fmla="*/ 17 w 29"/>
                <a:gd name="T9" fmla="*/ 165 h 292"/>
                <a:gd name="T10" fmla="*/ 9 w 29"/>
                <a:gd name="T11" fmla="*/ 85 h 292"/>
                <a:gd name="T12" fmla="*/ 29 w 29"/>
                <a:gd name="T1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2">
                  <a:moveTo>
                    <a:pt x="29" y="0"/>
                  </a:moveTo>
                  <a:cubicBezTo>
                    <a:pt x="29" y="0"/>
                    <a:pt x="4" y="66"/>
                    <a:pt x="2" y="77"/>
                  </a:cubicBezTo>
                  <a:cubicBezTo>
                    <a:pt x="0" y="89"/>
                    <a:pt x="3" y="120"/>
                    <a:pt x="6" y="138"/>
                  </a:cubicBezTo>
                  <a:cubicBezTo>
                    <a:pt x="10" y="156"/>
                    <a:pt x="11" y="292"/>
                    <a:pt x="11" y="292"/>
                  </a:cubicBezTo>
                  <a:cubicBezTo>
                    <a:pt x="11" y="292"/>
                    <a:pt x="17" y="174"/>
                    <a:pt x="17" y="165"/>
                  </a:cubicBezTo>
                  <a:cubicBezTo>
                    <a:pt x="17" y="156"/>
                    <a:pt x="9" y="97"/>
                    <a:pt x="9" y="85"/>
                  </a:cubicBezTo>
                  <a:cubicBezTo>
                    <a:pt x="10" y="73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0">
              <a:extLst>
                <a:ext uri="{FF2B5EF4-FFF2-40B4-BE49-F238E27FC236}">
                  <a16:creationId xmlns:a16="http://schemas.microsoft.com/office/drawing/2014/main" id="{23DFCF01-7570-4C37-8994-2DF2181BE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2313" y="3074988"/>
              <a:ext cx="288925" cy="1657350"/>
            </a:xfrm>
            <a:custGeom>
              <a:avLst/>
              <a:gdLst>
                <a:gd name="T0" fmla="*/ 21 w 77"/>
                <a:gd name="T1" fmla="*/ 45 h 442"/>
                <a:gd name="T2" fmla="*/ 10 w 77"/>
                <a:gd name="T3" fmla="*/ 94 h 442"/>
                <a:gd name="T4" fmla="*/ 10 w 77"/>
                <a:gd name="T5" fmla="*/ 150 h 442"/>
                <a:gd name="T6" fmla="*/ 3 w 77"/>
                <a:gd name="T7" fmla="*/ 165 h 442"/>
                <a:gd name="T8" fmla="*/ 8 w 77"/>
                <a:gd name="T9" fmla="*/ 240 h 442"/>
                <a:gd name="T10" fmla="*/ 9 w 77"/>
                <a:gd name="T11" fmla="*/ 261 h 442"/>
                <a:gd name="T12" fmla="*/ 15 w 77"/>
                <a:gd name="T13" fmla="*/ 305 h 442"/>
                <a:gd name="T14" fmla="*/ 10 w 77"/>
                <a:gd name="T15" fmla="*/ 372 h 442"/>
                <a:gd name="T16" fmla="*/ 0 w 77"/>
                <a:gd name="T17" fmla="*/ 403 h 442"/>
                <a:gd name="T18" fmla="*/ 53 w 77"/>
                <a:gd name="T19" fmla="*/ 442 h 442"/>
                <a:gd name="T20" fmla="*/ 45 w 77"/>
                <a:gd name="T21" fmla="*/ 399 h 442"/>
                <a:gd name="T22" fmla="*/ 65 w 77"/>
                <a:gd name="T23" fmla="*/ 357 h 442"/>
                <a:gd name="T24" fmla="*/ 77 w 77"/>
                <a:gd name="T25" fmla="*/ 252 h 442"/>
                <a:gd name="T26" fmla="*/ 70 w 77"/>
                <a:gd name="T27" fmla="*/ 129 h 442"/>
                <a:gd name="T28" fmla="*/ 50 w 77"/>
                <a:gd name="T29" fmla="*/ 43 h 442"/>
                <a:gd name="T30" fmla="*/ 36 w 77"/>
                <a:gd name="T31" fmla="*/ 0 h 442"/>
                <a:gd name="T32" fmla="*/ 21 w 77"/>
                <a:gd name="T33" fmla="*/ 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442">
                  <a:moveTo>
                    <a:pt x="21" y="45"/>
                  </a:moveTo>
                  <a:cubicBezTo>
                    <a:pt x="21" y="45"/>
                    <a:pt x="10" y="85"/>
                    <a:pt x="10" y="94"/>
                  </a:cubicBezTo>
                  <a:cubicBezTo>
                    <a:pt x="10" y="103"/>
                    <a:pt x="10" y="147"/>
                    <a:pt x="10" y="150"/>
                  </a:cubicBezTo>
                  <a:cubicBezTo>
                    <a:pt x="10" y="154"/>
                    <a:pt x="3" y="165"/>
                    <a:pt x="3" y="165"/>
                  </a:cubicBezTo>
                  <a:cubicBezTo>
                    <a:pt x="3" y="165"/>
                    <a:pt x="7" y="237"/>
                    <a:pt x="8" y="240"/>
                  </a:cubicBezTo>
                  <a:cubicBezTo>
                    <a:pt x="9" y="244"/>
                    <a:pt x="8" y="253"/>
                    <a:pt x="9" y="261"/>
                  </a:cubicBezTo>
                  <a:cubicBezTo>
                    <a:pt x="11" y="269"/>
                    <a:pt x="15" y="305"/>
                    <a:pt x="15" y="305"/>
                  </a:cubicBezTo>
                  <a:cubicBezTo>
                    <a:pt x="15" y="305"/>
                    <a:pt x="12" y="364"/>
                    <a:pt x="10" y="372"/>
                  </a:cubicBezTo>
                  <a:cubicBezTo>
                    <a:pt x="7" y="380"/>
                    <a:pt x="0" y="403"/>
                    <a:pt x="0" y="403"/>
                  </a:cubicBezTo>
                  <a:cubicBezTo>
                    <a:pt x="53" y="442"/>
                    <a:pt x="53" y="442"/>
                    <a:pt x="53" y="442"/>
                  </a:cubicBezTo>
                  <a:cubicBezTo>
                    <a:pt x="53" y="442"/>
                    <a:pt x="48" y="410"/>
                    <a:pt x="45" y="399"/>
                  </a:cubicBezTo>
                  <a:cubicBezTo>
                    <a:pt x="43" y="388"/>
                    <a:pt x="59" y="366"/>
                    <a:pt x="65" y="357"/>
                  </a:cubicBezTo>
                  <a:cubicBezTo>
                    <a:pt x="71" y="349"/>
                    <a:pt x="76" y="263"/>
                    <a:pt x="77" y="252"/>
                  </a:cubicBezTo>
                  <a:cubicBezTo>
                    <a:pt x="77" y="241"/>
                    <a:pt x="77" y="145"/>
                    <a:pt x="70" y="129"/>
                  </a:cubicBezTo>
                  <a:cubicBezTo>
                    <a:pt x="62" y="114"/>
                    <a:pt x="51" y="51"/>
                    <a:pt x="50" y="43"/>
                  </a:cubicBezTo>
                  <a:cubicBezTo>
                    <a:pt x="49" y="36"/>
                    <a:pt x="36" y="0"/>
                    <a:pt x="36" y="0"/>
                  </a:cubicBezTo>
                  <a:lnTo>
                    <a:pt x="21" y="45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21">
              <a:extLst>
                <a:ext uri="{FF2B5EF4-FFF2-40B4-BE49-F238E27FC236}">
                  <a16:creationId xmlns:a16="http://schemas.microsoft.com/office/drawing/2014/main" id="{1085C105-2AEE-42CE-82E9-767C3B8DB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8025" y="3214688"/>
              <a:ext cx="300037" cy="1404938"/>
            </a:xfrm>
            <a:custGeom>
              <a:avLst/>
              <a:gdLst>
                <a:gd name="T0" fmla="*/ 31 w 80"/>
                <a:gd name="T1" fmla="*/ 8 h 375"/>
                <a:gd name="T2" fmla="*/ 54 w 80"/>
                <a:gd name="T3" fmla="*/ 109 h 375"/>
                <a:gd name="T4" fmla="*/ 64 w 80"/>
                <a:gd name="T5" fmla="*/ 171 h 375"/>
                <a:gd name="T6" fmla="*/ 80 w 80"/>
                <a:gd name="T7" fmla="*/ 194 h 375"/>
                <a:gd name="T8" fmla="*/ 78 w 80"/>
                <a:gd name="T9" fmla="*/ 272 h 375"/>
                <a:gd name="T10" fmla="*/ 73 w 80"/>
                <a:gd name="T11" fmla="*/ 305 h 375"/>
                <a:gd name="T12" fmla="*/ 52 w 80"/>
                <a:gd name="T13" fmla="*/ 336 h 375"/>
                <a:gd name="T14" fmla="*/ 21 w 80"/>
                <a:gd name="T15" fmla="*/ 367 h 375"/>
                <a:gd name="T16" fmla="*/ 15 w 80"/>
                <a:gd name="T17" fmla="*/ 375 h 375"/>
                <a:gd name="T18" fmla="*/ 7 w 80"/>
                <a:gd name="T19" fmla="*/ 358 h 375"/>
                <a:gd name="T20" fmla="*/ 18 w 80"/>
                <a:gd name="T21" fmla="*/ 293 h 375"/>
                <a:gd name="T22" fmla="*/ 7 w 80"/>
                <a:gd name="T23" fmla="*/ 256 h 375"/>
                <a:gd name="T24" fmla="*/ 0 w 80"/>
                <a:gd name="T25" fmla="*/ 126 h 375"/>
                <a:gd name="T26" fmla="*/ 15 w 80"/>
                <a:gd name="T27" fmla="*/ 88 h 375"/>
                <a:gd name="T28" fmla="*/ 14 w 80"/>
                <a:gd name="T29" fmla="*/ 39 h 375"/>
                <a:gd name="T30" fmla="*/ 28 w 80"/>
                <a:gd name="T31" fmla="*/ 0 h 375"/>
                <a:gd name="T32" fmla="*/ 31 w 80"/>
                <a:gd name="T33" fmla="*/ 8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375">
                  <a:moveTo>
                    <a:pt x="31" y="8"/>
                  </a:moveTo>
                  <a:cubicBezTo>
                    <a:pt x="31" y="8"/>
                    <a:pt x="49" y="85"/>
                    <a:pt x="54" y="109"/>
                  </a:cubicBezTo>
                  <a:cubicBezTo>
                    <a:pt x="59" y="132"/>
                    <a:pt x="60" y="162"/>
                    <a:pt x="64" y="171"/>
                  </a:cubicBezTo>
                  <a:cubicBezTo>
                    <a:pt x="69" y="180"/>
                    <a:pt x="80" y="191"/>
                    <a:pt x="80" y="194"/>
                  </a:cubicBezTo>
                  <a:cubicBezTo>
                    <a:pt x="80" y="197"/>
                    <a:pt x="79" y="266"/>
                    <a:pt x="78" y="272"/>
                  </a:cubicBezTo>
                  <a:cubicBezTo>
                    <a:pt x="76" y="277"/>
                    <a:pt x="77" y="295"/>
                    <a:pt x="73" y="305"/>
                  </a:cubicBezTo>
                  <a:cubicBezTo>
                    <a:pt x="69" y="314"/>
                    <a:pt x="61" y="330"/>
                    <a:pt x="52" y="336"/>
                  </a:cubicBezTo>
                  <a:cubicBezTo>
                    <a:pt x="43" y="342"/>
                    <a:pt x="22" y="363"/>
                    <a:pt x="21" y="367"/>
                  </a:cubicBezTo>
                  <a:cubicBezTo>
                    <a:pt x="20" y="370"/>
                    <a:pt x="15" y="375"/>
                    <a:pt x="15" y="375"/>
                  </a:cubicBezTo>
                  <a:cubicBezTo>
                    <a:pt x="15" y="375"/>
                    <a:pt x="4" y="365"/>
                    <a:pt x="7" y="358"/>
                  </a:cubicBezTo>
                  <a:cubicBezTo>
                    <a:pt x="9" y="351"/>
                    <a:pt x="18" y="305"/>
                    <a:pt x="18" y="293"/>
                  </a:cubicBezTo>
                  <a:cubicBezTo>
                    <a:pt x="18" y="281"/>
                    <a:pt x="7" y="260"/>
                    <a:pt x="7" y="256"/>
                  </a:cubicBezTo>
                  <a:cubicBezTo>
                    <a:pt x="7" y="251"/>
                    <a:pt x="0" y="126"/>
                    <a:pt x="0" y="126"/>
                  </a:cubicBezTo>
                  <a:cubicBezTo>
                    <a:pt x="0" y="126"/>
                    <a:pt x="15" y="96"/>
                    <a:pt x="15" y="88"/>
                  </a:cubicBezTo>
                  <a:cubicBezTo>
                    <a:pt x="15" y="80"/>
                    <a:pt x="16" y="39"/>
                    <a:pt x="14" y="39"/>
                  </a:cubicBezTo>
                  <a:cubicBezTo>
                    <a:pt x="6" y="37"/>
                    <a:pt x="28" y="0"/>
                    <a:pt x="28" y="0"/>
                  </a:cubicBezTo>
                  <a:lnTo>
                    <a:pt x="31" y="8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22">
              <a:extLst>
                <a:ext uri="{FF2B5EF4-FFF2-40B4-BE49-F238E27FC236}">
                  <a16:creationId xmlns:a16="http://schemas.microsoft.com/office/drawing/2014/main" id="{AF41E87E-C816-4DC0-9F25-3E7682DD7A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950" y="5026025"/>
              <a:ext cx="255587" cy="573088"/>
            </a:xfrm>
            <a:custGeom>
              <a:avLst/>
              <a:gdLst>
                <a:gd name="T0" fmla="*/ 68 w 68"/>
                <a:gd name="T1" fmla="*/ 27 h 153"/>
                <a:gd name="T2" fmla="*/ 61 w 68"/>
                <a:gd name="T3" fmla="*/ 67 h 153"/>
                <a:gd name="T4" fmla="*/ 10 w 68"/>
                <a:gd name="T5" fmla="*/ 150 h 153"/>
                <a:gd name="T6" fmla="*/ 7 w 68"/>
                <a:gd name="T7" fmla="*/ 68 h 153"/>
                <a:gd name="T8" fmla="*/ 14 w 68"/>
                <a:gd name="T9" fmla="*/ 25 h 153"/>
                <a:gd name="T10" fmla="*/ 45 w 68"/>
                <a:gd name="T11" fmla="*/ 6 h 153"/>
                <a:gd name="T12" fmla="*/ 68 w 68"/>
                <a:gd name="T13" fmla="*/ 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53">
                  <a:moveTo>
                    <a:pt x="68" y="27"/>
                  </a:moveTo>
                  <a:cubicBezTo>
                    <a:pt x="68" y="27"/>
                    <a:pt x="68" y="56"/>
                    <a:pt x="61" y="67"/>
                  </a:cubicBezTo>
                  <a:cubicBezTo>
                    <a:pt x="54" y="78"/>
                    <a:pt x="12" y="146"/>
                    <a:pt x="10" y="150"/>
                  </a:cubicBezTo>
                  <a:cubicBezTo>
                    <a:pt x="9" y="153"/>
                    <a:pt x="12" y="87"/>
                    <a:pt x="7" y="68"/>
                  </a:cubicBezTo>
                  <a:cubicBezTo>
                    <a:pt x="3" y="49"/>
                    <a:pt x="0" y="36"/>
                    <a:pt x="14" y="25"/>
                  </a:cubicBezTo>
                  <a:cubicBezTo>
                    <a:pt x="28" y="13"/>
                    <a:pt x="38" y="0"/>
                    <a:pt x="45" y="6"/>
                  </a:cubicBezTo>
                  <a:cubicBezTo>
                    <a:pt x="52" y="12"/>
                    <a:pt x="68" y="25"/>
                    <a:pt x="68" y="25"/>
                  </a:cubicBezTo>
                </a:path>
              </a:pathLst>
            </a:custGeom>
            <a:solidFill>
              <a:srgbClr val="151B1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4BE09AD-8AC9-4564-8F8A-9D5BA1613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8986" y="6188073"/>
              <a:ext cx="6340520" cy="698792"/>
            </a:xfrm>
            <a:custGeom>
              <a:avLst/>
              <a:gdLst>
                <a:gd name="T0" fmla="*/ 2995 w 3337"/>
                <a:gd name="T1" fmla="*/ 0 h 458"/>
                <a:gd name="T2" fmla="*/ 342 w 3337"/>
                <a:gd name="T3" fmla="*/ 0 h 458"/>
                <a:gd name="T4" fmla="*/ 0 w 3337"/>
                <a:gd name="T5" fmla="*/ 458 h 458"/>
                <a:gd name="T6" fmla="*/ 3337 w 3337"/>
                <a:gd name="T7" fmla="*/ 458 h 458"/>
                <a:gd name="T8" fmla="*/ 2995 w 3337"/>
                <a:gd name="T9" fmla="*/ 0 h 458"/>
                <a:gd name="connsiteX0" fmla="*/ 8732 w 10000"/>
                <a:gd name="connsiteY0" fmla="*/ 0 h 10000"/>
                <a:gd name="connsiteX1" fmla="*/ 1025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8732 w 10000"/>
                <a:gd name="connsiteY4" fmla="*/ 0 h 10000"/>
                <a:gd name="connsiteX0" fmla="*/ 8732 w 9065"/>
                <a:gd name="connsiteY0" fmla="*/ 0 h 10000"/>
                <a:gd name="connsiteX1" fmla="*/ 1025 w 9065"/>
                <a:gd name="connsiteY1" fmla="*/ 0 h 10000"/>
                <a:gd name="connsiteX2" fmla="*/ 0 w 9065"/>
                <a:gd name="connsiteY2" fmla="*/ 10000 h 10000"/>
                <a:gd name="connsiteX3" fmla="*/ 9065 w 9065"/>
                <a:gd name="connsiteY3" fmla="*/ 9611 h 10000"/>
                <a:gd name="connsiteX4" fmla="*/ 8732 w 9065"/>
                <a:gd name="connsiteY4" fmla="*/ 0 h 10000"/>
                <a:gd name="connsiteX0" fmla="*/ 9633 w 9897"/>
                <a:gd name="connsiteY0" fmla="*/ 0 h 10000"/>
                <a:gd name="connsiteX1" fmla="*/ 1131 w 9897"/>
                <a:gd name="connsiteY1" fmla="*/ 0 h 10000"/>
                <a:gd name="connsiteX2" fmla="*/ 0 w 9897"/>
                <a:gd name="connsiteY2" fmla="*/ 10000 h 10000"/>
                <a:gd name="connsiteX3" fmla="*/ 9897 w 9897"/>
                <a:gd name="connsiteY3" fmla="*/ 9611 h 10000"/>
                <a:gd name="connsiteX4" fmla="*/ 9633 w 9897"/>
                <a:gd name="connsiteY4" fmla="*/ 0 h 10000"/>
                <a:gd name="connsiteX0" fmla="*/ 9066 w 9333"/>
                <a:gd name="connsiteY0" fmla="*/ 0 h 9611"/>
                <a:gd name="connsiteX1" fmla="*/ 476 w 9333"/>
                <a:gd name="connsiteY1" fmla="*/ 0 h 9611"/>
                <a:gd name="connsiteX2" fmla="*/ 0 w 9333"/>
                <a:gd name="connsiteY2" fmla="*/ 9611 h 9611"/>
                <a:gd name="connsiteX3" fmla="*/ 9333 w 9333"/>
                <a:gd name="connsiteY3" fmla="*/ 9611 h 9611"/>
                <a:gd name="connsiteX4" fmla="*/ 9066 w 9333"/>
                <a:gd name="connsiteY4" fmla="*/ 0 h 9611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9714" y="0"/>
                  </a:moveTo>
                  <a:lnTo>
                    <a:pt x="510" y="0"/>
                  </a:lnTo>
                  <a:cubicBezTo>
                    <a:pt x="302" y="4278"/>
                    <a:pt x="185" y="6127"/>
                    <a:pt x="0" y="10000"/>
                  </a:cubicBezTo>
                  <a:lnTo>
                    <a:pt x="10000" y="10000"/>
                  </a:lnTo>
                  <a:cubicBezTo>
                    <a:pt x="9905" y="6667"/>
                    <a:pt x="9809" y="3333"/>
                    <a:pt x="9714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7EC8881A-B530-4E44-B590-26602CB4524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9513" y="2386013"/>
              <a:ext cx="2152650" cy="2797175"/>
            </a:xfrm>
            <a:custGeom>
              <a:avLst/>
              <a:gdLst>
                <a:gd name="T0" fmla="*/ 189 w 574"/>
                <a:gd name="T1" fmla="*/ 25 h 746"/>
                <a:gd name="T2" fmla="*/ 286 w 574"/>
                <a:gd name="T3" fmla="*/ 86 h 746"/>
                <a:gd name="T4" fmla="*/ 311 w 574"/>
                <a:gd name="T5" fmla="*/ 71 h 746"/>
                <a:gd name="T6" fmla="*/ 350 w 574"/>
                <a:gd name="T7" fmla="*/ 0 h 746"/>
                <a:gd name="T8" fmla="*/ 475 w 574"/>
                <a:gd name="T9" fmla="*/ 24 h 746"/>
                <a:gd name="T10" fmla="*/ 538 w 574"/>
                <a:gd name="T11" fmla="*/ 73 h 746"/>
                <a:gd name="T12" fmla="*/ 574 w 574"/>
                <a:gd name="T13" fmla="*/ 106 h 746"/>
                <a:gd name="T14" fmla="*/ 543 w 574"/>
                <a:gd name="T15" fmla="*/ 314 h 746"/>
                <a:gd name="T16" fmla="*/ 503 w 574"/>
                <a:gd name="T17" fmla="*/ 635 h 746"/>
                <a:gd name="T18" fmla="*/ 432 w 574"/>
                <a:gd name="T19" fmla="*/ 746 h 746"/>
                <a:gd name="T20" fmla="*/ 49 w 574"/>
                <a:gd name="T21" fmla="*/ 720 h 746"/>
                <a:gd name="T22" fmla="*/ 12 w 574"/>
                <a:gd name="T23" fmla="*/ 577 h 746"/>
                <a:gd name="T24" fmla="*/ 8 w 574"/>
                <a:gd name="T25" fmla="*/ 477 h 746"/>
                <a:gd name="T26" fmla="*/ 2 w 574"/>
                <a:gd name="T27" fmla="*/ 348 h 746"/>
                <a:gd name="T28" fmla="*/ 29 w 574"/>
                <a:gd name="T29" fmla="*/ 158 h 746"/>
                <a:gd name="T30" fmla="*/ 130 w 574"/>
                <a:gd name="T31" fmla="*/ 67 h 746"/>
                <a:gd name="T32" fmla="*/ 162 w 574"/>
                <a:gd name="T33" fmla="*/ 44 h 746"/>
                <a:gd name="T34" fmla="*/ 182 w 574"/>
                <a:gd name="T35" fmla="*/ 25 h 746"/>
                <a:gd name="T36" fmla="*/ 189 w 574"/>
                <a:gd name="T37" fmla="*/ 25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4" h="746">
                  <a:moveTo>
                    <a:pt x="189" y="25"/>
                  </a:moveTo>
                  <a:cubicBezTo>
                    <a:pt x="189" y="25"/>
                    <a:pt x="278" y="90"/>
                    <a:pt x="286" y="86"/>
                  </a:cubicBezTo>
                  <a:cubicBezTo>
                    <a:pt x="294" y="82"/>
                    <a:pt x="304" y="97"/>
                    <a:pt x="311" y="71"/>
                  </a:cubicBezTo>
                  <a:cubicBezTo>
                    <a:pt x="318" y="45"/>
                    <a:pt x="328" y="1"/>
                    <a:pt x="350" y="0"/>
                  </a:cubicBezTo>
                  <a:cubicBezTo>
                    <a:pt x="371" y="0"/>
                    <a:pt x="463" y="18"/>
                    <a:pt x="475" y="24"/>
                  </a:cubicBezTo>
                  <a:cubicBezTo>
                    <a:pt x="488" y="29"/>
                    <a:pt x="522" y="62"/>
                    <a:pt x="538" y="73"/>
                  </a:cubicBezTo>
                  <a:cubicBezTo>
                    <a:pt x="553" y="85"/>
                    <a:pt x="574" y="106"/>
                    <a:pt x="574" y="106"/>
                  </a:cubicBezTo>
                  <a:cubicBezTo>
                    <a:pt x="574" y="106"/>
                    <a:pt x="547" y="291"/>
                    <a:pt x="543" y="314"/>
                  </a:cubicBezTo>
                  <a:cubicBezTo>
                    <a:pt x="539" y="337"/>
                    <a:pt x="502" y="615"/>
                    <a:pt x="503" y="635"/>
                  </a:cubicBezTo>
                  <a:cubicBezTo>
                    <a:pt x="504" y="655"/>
                    <a:pt x="537" y="746"/>
                    <a:pt x="432" y="746"/>
                  </a:cubicBezTo>
                  <a:cubicBezTo>
                    <a:pt x="326" y="746"/>
                    <a:pt x="60" y="729"/>
                    <a:pt x="49" y="720"/>
                  </a:cubicBezTo>
                  <a:cubicBezTo>
                    <a:pt x="39" y="711"/>
                    <a:pt x="12" y="577"/>
                    <a:pt x="12" y="577"/>
                  </a:cubicBezTo>
                  <a:cubicBezTo>
                    <a:pt x="12" y="577"/>
                    <a:pt x="10" y="484"/>
                    <a:pt x="8" y="477"/>
                  </a:cubicBezTo>
                  <a:cubicBezTo>
                    <a:pt x="7" y="471"/>
                    <a:pt x="3" y="358"/>
                    <a:pt x="2" y="348"/>
                  </a:cubicBezTo>
                  <a:cubicBezTo>
                    <a:pt x="0" y="338"/>
                    <a:pt x="10" y="168"/>
                    <a:pt x="29" y="158"/>
                  </a:cubicBezTo>
                  <a:cubicBezTo>
                    <a:pt x="48" y="148"/>
                    <a:pt x="116" y="73"/>
                    <a:pt x="130" y="67"/>
                  </a:cubicBezTo>
                  <a:cubicBezTo>
                    <a:pt x="145" y="62"/>
                    <a:pt x="156" y="51"/>
                    <a:pt x="162" y="44"/>
                  </a:cubicBezTo>
                  <a:cubicBezTo>
                    <a:pt x="168" y="37"/>
                    <a:pt x="178" y="27"/>
                    <a:pt x="182" y="25"/>
                  </a:cubicBezTo>
                  <a:cubicBezTo>
                    <a:pt x="186" y="24"/>
                    <a:pt x="189" y="25"/>
                    <a:pt x="189" y="25"/>
                  </a:cubicBezTo>
                  <a:close/>
                </a:path>
              </a:pathLst>
            </a:custGeom>
            <a:solidFill>
              <a:srgbClr val="DDDDDD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19D20B4-718F-477C-BD70-29D5D8AB1B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6575" y="2568575"/>
              <a:ext cx="366712" cy="371475"/>
            </a:xfrm>
            <a:custGeom>
              <a:avLst/>
              <a:gdLst>
                <a:gd name="T0" fmla="*/ 0 w 98"/>
                <a:gd name="T1" fmla="*/ 0 h 99"/>
                <a:gd name="T2" fmla="*/ 31 w 98"/>
                <a:gd name="T3" fmla="*/ 76 h 99"/>
                <a:gd name="T4" fmla="*/ 61 w 98"/>
                <a:gd name="T5" fmla="*/ 83 h 99"/>
                <a:gd name="T6" fmla="*/ 93 w 98"/>
                <a:gd name="T7" fmla="*/ 45 h 99"/>
                <a:gd name="T8" fmla="*/ 90 w 98"/>
                <a:gd name="T9" fmla="*/ 56 h 99"/>
                <a:gd name="T10" fmla="*/ 62 w 98"/>
                <a:gd name="T11" fmla="*/ 92 h 99"/>
                <a:gd name="T12" fmla="*/ 30 w 98"/>
                <a:gd name="T13" fmla="*/ 87 h 99"/>
                <a:gd name="T14" fmla="*/ 3 w 98"/>
                <a:gd name="T15" fmla="*/ 36 h 99"/>
                <a:gd name="T16" fmla="*/ 0 w 98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9">
                  <a:moveTo>
                    <a:pt x="0" y="0"/>
                  </a:moveTo>
                  <a:cubicBezTo>
                    <a:pt x="0" y="0"/>
                    <a:pt x="21" y="64"/>
                    <a:pt x="31" y="76"/>
                  </a:cubicBezTo>
                  <a:cubicBezTo>
                    <a:pt x="41" y="88"/>
                    <a:pt x="52" y="98"/>
                    <a:pt x="61" y="83"/>
                  </a:cubicBezTo>
                  <a:cubicBezTo>
                    <a:pt x="70" y="68"/>
                    <a:pt x="93" y="45"/>
                    <a:pt x="93" y="45"/>
                  </a:cubicBezTo>
                  <a:cubicBezTo>
                    <a:pt x="93" y="45"/>
                    <a:pt x="98" y="48"/>
                    <a:pt x="90" y="56"/>
                  </a:cubicBezTo>
                  <a:cubicBezTo>
                    <a:pt x="82" y="65"/>
                    <a:pt x="69" y="88"/>
                    <a:pt x="62" y="92"/>
                  </a:cubicBezTo>
                  <a:cubicBezTo>
                    <a:pt x="55" y="95"/>
                    <a:pt x="40" y="99"/>
                    <a:pt x="30" y="87"/>
                  </a:cubicBezTo>
                  <a:cubicBezTo>
                    <a:pt x="20" y="75"/>
                    <a:pt x="3" y="45"/>
                    <a:pt x="3" y="36"/>
                  </a:cubicBezTo>
                  <a:cubicBezTo>
                    <a:pt x="3" y="2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E9B1B1C5-DB8C-4484-9804-75558E364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0775" y="2662238"/>
              <a:ext cx="161925" cy="134938"/>
            </a:xfrm>
            <a:custGeom>
              <a:avLst/>
              <a:gdLst>
                <a:gd name="T0" fmla="*/ 0 w 43"/>
                <a:gd name="T1" fmla="*/ 0 h 36"/>
                <a:gd name="T2" fmla="*/ 28 w 43"/>
                <a:gd name="T3" fmla="*/ 17 h 36"/>
                <a:gd name="T4" fmla="*/ 38 w 43"/>
                <a:gd name="T5" fmla="*/ 33 h 36"/>
                <a:gd name="T6" fmla="*/ 15 w 43"/>
                <a:gd name="T7" fmla="*/ 15 h 36"/>
                <a:gd name="T8" fmla="*/ 0 w 43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6">
                  <a:moveTo>
                    <a:pt x="0" y="0"/>
                  </a:moveTo>
                  <a:cubicBezTo>
                    <a:pt x="0" y="0"/>
                    <a:pt x="25" y="14"/>
                    <a:pt x="28" y="17"/>
                  </a:cubicBezTo>
                  <a:cubicBezTo>
                    <a:pt x="30" y="20"/>
                    <a:pt x="43" y="36"/>
                    <a:pt x="38" y="33"/>
                  </a:cubicBezTo>
                  <a:cubicBezTo>
                    <a:pt x="33" y="29"/>
                    <a:pt x="19" y="19"/>
                    <a:pt x="15" y="15"/>
                  </a:cubicBezTo>
                  <a:cubicBezTo>
                    <a:pt x="12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0511101-C753-4FB5-BDC5-0EFB3D58D5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4763" y="2408238"/>
              <a:ext cx="44450" cy="322263"/>
            </a:xfrm>
            <a:custGeom>
              <a:avLst/>
              <a:gdLst>
                <a:gd name="T0" fmla="*/ 0 w 12"/>
                <a:gd name="T1" fmla="*/ 86 h 86"/>
                <a:gd name="T2" fmla="*/ 5 w 12"/>
                <a:gd name="T3" fmla="*/ 37 h 86"/>
                <a:gd name="T4" fmla="*/ 1 w 12"/>
                <a:gd name="T5" fmla="*/ 0 h 86"/>
                <a:gd name="T6" fmla="*/ 12 w 12"/>
                <a:gd name="T7" fmla="*/ 41 h 86"/>
                <a:gd name="T8" fmla="*/ 0 w 12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6">
                  <a:moveTo>
                    <a:pt x="0" y="86"/>
                  </a:moveTo>
                  <a:cubicBezTo>
                    <a:pt x="0" y="86"/>
                    <a:pt x="5" y="44"/>
                    <a:pt x="5" y="37"/>
                  </a:cubicBezTo>
                  <a:cubicBezTo>
                    <a:pt x="5" y="29"/>
                    <a:pt x="1" y="0"/>
                    <a:pt x="1" y="0"/>
                  </a:cubicBezTo>
                  <a:cubicBezTo>
                    <a:pt x="1" y="0"/>
                    <a:pt x="12" y="35"/>
                    <a:pt x="12" y="41"/>
                  </a:cubicBezTo>
                  <a:cubicBezTo>
                    <a:pt x="12" y="46"/>
                    <a:pt x="0" y="86"/>
                    <a:pt x="0" y="86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646D8E2C-6ECF-4585-8BF1-7FD09CF6837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5450" y="2786063"/>
              <a:ext cx="204787" cy="525463"/>
            </a:xfrm>
            <a:custGeom>
              <a:avLst/>
              <a:gdLst>
                <a:gd name="T0" fmla="*/ 32 w 55"/>
                <a:gd name="T1" fmla="*/ 114 h 140"/>
                <a:gd name="T2" fmla="*/ 22 w 55"/>
                <a:gd name="T3" fmla="*/ 74 h 140"/>
                <a:gd name="T4" fmla="*/ 2 w 55"/>
                <a:gd name="T5" fmla="*/ 2 h 140"/>
                <a:gd name="T6" fmla="*/ 22 w 55"/>
                <a:gd name="T7" fmla="*/ 45 h 140"/>
                <a:gd name="T8" fmla="*/ 33 w 55"/>
                <a:gd name="T9" fmla="*/ 72 h 140"/>
                <a:gd name="T10" fmla="*/ 55 w 55"/>
                <a:gd name="T11" fmla="*/ 40 h 140"/>
                <a:gd name="T12" fmla="*/ 46 w 55"/>
                <a:gd name="T13" fmla="*/ 79 h 140"/>
                <a:gd name="T14" fmla="*/ 39 w 55"/>
                <a:gd name="T15" fmla="*/ 138 h 140"/>
                <a:gd name="T16" fmla="*/ 32 w 55"/>
                <a:gd name="T17" fmla="*/ 11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40">
                  <a:moveTo>
                    <a:pt x="32" y="114"/>
                  </a:moveTo>
                  <a:cubicBezTo>
                    <a:pt x="32" y="112"/>
                    <a:pt x="39" y="109"/>
                    <a:pt x="22" y="74"/>
                  </a:cubicBezTo>
                  <a:cubicBezTo>
                    <a:pt x="5" y="40"/>
                    <a:pt x="0" y="5"/>
                    <a:pt x="2" y="2"/>
                  </a:cubicBezTo>
                  <a:cubicBezTo>
                    <a:pt x="3" y="0"/>
                    <a:pt x="14" y="29"/>
                    <a:pt x="22" y="45"/>
                  </a:cubicBezTo>
                  <a:cubicBezTo>
                    <a:pt x="30" y="62"/>
                    <a:pt x="25" y="87"/>
                    <a:pt x="33" y="72"/>
                  </a:cubicBezTo>
                  <a:cubicBezTo>
                    <a:pt x="42" y="58"/>
                    <a:pt x="55" y="29"/>
                    <a:pt x="55" y="40"/>
                  </a:cubicBezTo>
                  <a:cubicBezTo>
                    <a:pt x="55" y="52"/>
                    <a:pt x="45" y="57"/>
                    <a:pt x="46" y="79"/>
                  </a:cubicBezTo>
                  <a:cubicBezTo>
                    <a:pt x="47" y="101"/>
                    <a:pt x="39" y="136"/>
                    <a:pt x="39" y="138"/>
                  </a:cubicBezTo>
                  <a:cubicBezTo>
                    <a:pt x="38" y="140"/>
                    <a:pt x="32" y="114"/>
                    <a:pt x="32" y="114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1963A842-8C9E-4F83-BFEA-8ADDFF81B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9538" y="2722563"/>
              <a:ext cx="206375" cy="509588"/>
            </a:xfrm>
            <a:custGeom>
              <a:avLst/>
              <a:gdLst>
                <a:gd name="T0" fmla="*/ 0 w 55"/>
                <a:gd name="T1" fmla="*/ 0 h 136"/>
                <a:gd name="T2" fmla="*/ 41 w 55"/>
                <a:gd name="T3" fmla="*/ 76 h 136"/>
                <a:gd name="T4" fmla="*/ 44 w 55"/>
                <a:gd name="T5" fmla="*/ 127 h 136"/>
                <a:gd name="T6" fmla="*/ 52 w 55"/>
                <a:gd name="T7" fmla="*/ 97 h 136"/>
                <a:gd name="T8" fmla="*/ 29 w 55"/>
                <a:gd name="T9" fmla="*/ 32 h 136"/>
                <a:gd name="T10" fmla="*/ 0 w 55"/>
                <a:gd name="T1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36">
                  <a:moveTo>
                    <a:pt x="0" y="0"/>
                  </a:moveTo>
                  <a:cubicBezTo>
                    <a:pt x="3" y="8"/>
                    <a:pt x="39" y="68"/>
                    <a:pt x="41" y="76"/>
                  </a:cubicBezTo>
                  <a:cubicBezTo>
                    <a:pt x="42" y="84"/>
                    <a:pt x="46" y="119"/>
                    <a:pt x="44" y="127"/>
                  </a:cubicBezTo>
                  <a:cubicBezTo>
                    <a:pt x="41" y="136"/>
                    <a:pt x="55" y="109"/>
                    <a:pt x="52" y="97"/>
                  </a:cubicBezTo>
                  <a:cubicBezTo>
                    <a:pt x="50" y="85"/>
                    <a:pt x="39" y="45"/>
                    <a:pt x="29" y="32"/>
                  </a:cubicBezTo>
                  <a:cubicBezTo>
                    <a:pt x="19" y="1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1F31CC82-32D2-4706-B18F-64ABF57CB7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2225" y="2865438"/>
              <a:ext cx="550862" cy="701675"/>
            </a:xfrm>
            <a:custGeom>
              <a:avLst/>
              <a:gdLst>
                <a:gd name="T0" fmla="*/ 14 w 147"/>
                <a:gd name="T1" fmla="*/ 64 h 187"/>
                <a:gd name="T2" fmla="*/ 58 w 147"/>
                <a:gd name="T3" fmla="*/ 130 h 187"/>
                <a:gd name="T4" fmla="*/ 94 w 147"/>
                <a:gd name="T5" fmla="*/ 187 h 187"/>
                <a:gd name="T6" fmla="*/ 142 w 147"/>
                <a:gd name="T7" fmla="*/ 167 h 187"/>
                <a:gd name="T8" fmla="*/ 146 w 147"/>
                <a:gd name="T9" fmla="*/ 126 h 187"/>
                <a:gd name="T10" fmla="*/ 141 w 147"/>
                <a:gd name="T11" fmla="*/ 41 h 187"/>
                <a:gd name="T12" fmla="*/ 138 w 147"/>
                <a:gd name="T13" fmla="*/ 19 h 187"/>
                <a:gd name="T14" fmla="*/ 130 w 147"/>
                <a:gd name="T15" fmla="*/ 119 h 187"/>
                <a:gd name="T16" fmla="*/ 113 w 147"/>
                <a:gd name="T17" fmla="*/ 130 h 187"/>
                <a:gd name="T18" fmla="*/ 92 w 147"/>
                <a:gd name="T19" fmla="*/ 64 h 187"/>
                <a:gd name="T20" fmla="*/ 99 w 147"/>
                <a:gd name="T21" fmla="*/ 133 h 187"/>
                <a:gd name="T22" fmla="*/ 75 w 147"/>
                <a:gd name="T23" fmla="*/ 109 h 187"/>
                <a:gd name="T24" fmla="*/ 25 w 147"/>
                <a:gd name="T25" fmla="*/ 72 h 187"/>
                <a:gd name="T26" fmla="*/ 3 w 147"/>
                <a:gd name="T27" fmla="*/ 48 h 187"/>
                <a:gd name="T28" fmla="*/ 14 w 147"/>
                <a:gd name="T29" fmla="*/ 6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7" h="187">
                  <a:moveTo>
                    <a:pt x="14" y="64"/>
                  </a:moveTo>
                  <a:cubicBezTo>
                    <a:pt x="16" y="71"/>
                    <a:pt x="43" y="118"/>
                    <a:pt x="58" y="130"/>
                  </a:cubicBezTo>
                  <a:cubicBezTo>
                    <a:pt x="72" y="143"/>
                    <a:pt x="94" y="187"/>
                    <a:pt x="94" y="187"/>
                  </a:cubicBezTo>
                  <a:cubicBezTo>
                    <a:pt x="94" y="187"/>
                    <a:pt x="140" y="166"/>
                    <a:pt x="142" y="167"/>
                  </a:cubicBezTo>
                  <a:cubicBezTo>
                    <a:pt x="145" y="168"/>
                    <a:pt x="145" y="141"/>
                    <a:pt x="146" y="126"/>
                  </a:cubicBezTo>
                  <a:cubicBezTo>
                    <a:pt x="147" y="111"/>
                    <a:pt x="141" y="43"/>
                    <a:pt x="141" y="41"/>
                  </a:cubicBezTo>
                  <a:cubicBezTo>
                    <a:pt x="141" y="38"/>
                    <a:pt x="138" y="0"/>
                    <a:pt x="138" y="19"/>
                  </a:cubicBezTo>
                  <a:cubicBezTo>
                    <a:pt x="138" y="38"/>
                    <a:pt x="137" y="99"/>
                    <a:pt x="130" y="119"/>
                  </a:cubicBezTo>
                  <a:cubicBezTo>
                    <a:pt x="123" y="140"/>
                    <a:pt x="119" y="164"/>
                    <a:pt x="113" y="130"/>
                  </a:cubicBezTo>
                  <a:cubicBezTo>
                    <a:pt x="107" y="95"/>
                    <a:pt x="91" y="44"/>
                    <a:pt x="92" y="64"/>
                  </a:cubicBezTo>
                  <a:cubicBezTo>
                    <a:pt x="92" y="84"/>
                    <a:pt x="101" y="123"/>
                    <a:pt x="99" y="133"/>
                  </a:cubicBezTo>
                  <a:cubicBezTo>
                    <a:pt x="97" y="144"/>
                    <a:pt x="84" y="124"/>
                    <a:pt x="75" y="109"/>
                  </a:cubicBezTo>
                  <a:cubicBezTo>
                    <a:pt x="65" y="94"/>
                    <a:pt x="27" y="76"/>
                    <a:pt x="25" y="72"/>
                  </a:cubicBezTo>
                  <a:cubicBezTo>
                    <a:pt x="23" y="68"/>
                    <a:pt x="0" y="41"/>
                    <a:pt x="3" y="48"/>
                  </a:cubicBezTo>
                  <a:cubicBezTo>
                    <a:pt x="6" y="55"/>
                    <a:pt x="14" y="64"/>
                    <a:pt x="14" y="64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A62060-DDBD-49DB-A0A0-F0BD0046D4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7938" y="3352800"/>
              <a:ext cx="228600" cy="371475"/>
            </a:xfrm>
            <a:custGeom>
              <a:avLst/>
              <a:gdLst>
                <a:gd name="T0" fmla="*/ 61 w 61"/>
                <a:gd name="T1" fmla="*/ 99 h 99"/>
                <a:gd name="T2" fmla="*/ 25 w 61"/>
                <a:gd name="T3" fmla="*/ 46 h 99"/>
                <a:gd name="T4" fmla="*/ 3 w 61"/>
                <a:gd name="T5" fmla="*/ 2 h 99"/>
                <a:gd name="T6" fmla="*/ 31 w 61"/>
                <a:gd name="T7" fmla="*/ 45 h 99"/>
                <a:gd name="T8" fmla="*/ 47 w 61"/>
                <a:gd name="T9" fmla="*/ 75 h 99"/>
                <a:gd name="T10" fmla="*/ 61 w 61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99">
                  <a:moveTo>
                    <a:pt x="61" y="99"/>
                  </a:moveTo>
                  <a:cubicBezTo>
                    <a:pt x="59" y="94"/>
                    <a:pt x="30" y="59"/>
                    <a:pt x="25" y="46"/>
                  </a:cubicBezTo>
                  <a:cubicBezTo>
                    <a:pt x="20" y="33"/>
                    <a:pt x="5" y="3"/>
                    <a:pt x="3" y="2"/>
                  </a:cubicBezTo>
                  <a:cubicBezTo>
                    <a:pt x="0" y="0"/>
                    <a:pt x="26" y="34"/>
                    <a:pt x="31" y="45"/>
                  </a:cubicBezTo>
                  <a:cubicBezTo>
                    <a:pt x="37" y="55"/>
                    <a:pt x="44" y="70"/>
                    <a:pt x="47" y="75"/>
                  </a:cubicBezTo>
                  <a:cubicBezTo>
                    <a:pt x="50" y="81"/>
                    <a:pt x="61" y="99"/>
                    <a:pt x="61" y="99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387787B8-D065-4F57-A017-28CBE612B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7775" y="3509963"/>
              <a:ext cx="311150" cy="404813"/>
            </a:xfrm>
            <a:custGeom>
              <a:avLst/>
              <a:gdLst>
                <a:gd name="T0" fmla="*/ 83 w 83"/>
                <a:gd name="T1" fmla="*/ 108 h 108"/>
                <a:gd name="T2" fmla="*/ 38 w 83"/>
                <a:gd name="T3" fmla="*/ 67 h 108"/>
                <a:gd name="T4" fmla="*/ 9 w 83"/>
                <a:gd name="T5" fmla="*/ 17 h 108"/>
                <a:gd name="T6" fmla="*/ 0 w 83"/>
                <a:gd name="T7" fmla="*/ 0 h 108"/>
                <a:gd name="T8" fmla="*/ 31 w 83"/>
                <a:gd name="T9" fmla="*/ 33 h 108"/>
                <a:gd name="T10" fmla="*/ 44 w 83"/>
                <a:gd name="T11" fmla="*/ 64 h 108"/>
                <a:gd name="T12" fmla="*/ 54 w 83"/>
                <a:gd name="T13" fmla="*/ 81 h 108"/>
                <a:gd name="T14" fmla="*/ 83 w 83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08">
                  <a:moveTo>
                    <a:pt x="83" y="108"/>
                  </a:moveTo>
                  <a:cubicBezTo>
                    <a:pt x="81" y="106"/>
                    <a:pt x="46" y="86"/>
                    <a:pt x="38" y="67"/>
                  </a:cubicBezTo>
                  <a:cubicBezTo>
                    <a:pt x="30" y="49"/>
                    <a:pt x="13" y="22"/>
                    <a:pt x="9" y="17"/>
                  </a:cubicBezTo>
                  <a:cubicBezTo>
                    <a:pt x="6" y="12"/>
                    <a:pt x="0" y="0"/>
                    <a:pt x="0" y="0"/>
                  </a:cubicBezTo>
                  <a:cubicBezTo>
                    <a:pt x="0" y="0"/>
                    <a:pt x="28" y="27"/>
                    <a:pt x="31" y="33"/>
                  </a:cubicBezTo>
                  <a:cubicBezTo>
                    <a:pt x="35" y="38"/>
                    <a:pt x="42" y="58"/>
                    <a:pt x="44" y="64"/>
                  </a:cubicBezTo>
                  <a:cubicBezTo>
                    <a:pt x="46" y="69"/>
                    <a:pt x="52" y="79"/>
                    <a:pt x="54" y="81"/>
                  </a:cubicBezTo>
                  <a:cubicBezTo>
                    <a:pt x="56" y="84"/>
                    <a:pt x="83" y="108"/>
                    <a:pt x="83" y="108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E731542A-43D1-45DB-A963-46BFC8FD9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49675" y="3749675"/>
              <a:ext cx="303212" cy="461963"/>
            </a:xfrm>
            <a:custGeom>
              <a:avLst/>
              <a:gdLst>
                <a:gd name="T0" fmla="*/ 81 w 81"/>
                <a:gd name="T1" fmla="*/ 123 h 123"/>
                <a:gd name="T2" fmla="*/ 41 w 81"/>
                <a:gd name="T3" fmla="*/ 72 h 123"/>
                <a:gd name="T4" fmla="*/ 15 w 81"/>
                <a:gd name="T5" fmla="*/ 26 h 123"/>
                <a:gd name="T6" fmla="*/ 0 w 81"/>
                <a:gd name="T7" fmla="*/ 0 h 123"/>
                <a:gd name="T8" fmla="*/ 31 w 81"/>
                <a:gd name="T9" fmla="*/ 37 h 123"/>
                <a:gd name="T10" fmla="*/ 60 w 81"/>
                <a:gd name="T11" fmla="*/ 82 h 123"/>
                <a:gd name="T12" fmla="*/ 81 w 81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23">
                  <a:moveTo>
                    <a:pt x="81" y="123"/>
                  </a:moveTo>
                  <a:cubicBezTo>
                    <a:pt x="81" y="123"/>
                    <a:pt x="48" y="85"/>
                    <a:pt x="41" y="72"/>
                  </a:cubicBezTo>
                  <a:cubicBezTo>
                    <a:pt x="34" y="58"/>
                    <a:pt x="18" y="31"/>
                    <a:pt x="15" y="26"/>
                  </a:cubicBezTo>
                  <a:cubicBezTo>
                    <a:pt x="13" y="21"/>
                    <a:pt x="0" y="0"/>
                    <a:pt x="0" y="0"/>
                  </a:cubicBezTo>
                  <a:cubicBezTo>
                    <a:pt x="0" y="0"/>
                    <a:pt x="28" y="30"/>
                    <a:pt x="31" y="37"/>
                  </a:cubicBezTo>
                  <a:cubicBezTo>
                    <a:pt x="34" y="45"/>
                    <a:pt x="57" y="75"/>
                    <a:pt x="60" y="82"/>
                  </a:cubicBezTo>
                  <a:cubicBezTo>
                    <a:pt x="62" y="88"/>
                    <a:pt x="81" y="123"/>
                    <a:pt x="81" y="123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1A87777C-A862-4C1A-8C0D-E584227F108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3125" y="2659063"/>
              <a:ext cx="415925" cy="2070100"/>
            </a:xfrm>
            <a:custGeom>
              <a:avLst/>
              <a:gdLst>
                <a:gd name="T0" fmla="*/ 14 w 111"/>
                <a:gd name="T1" fmla="*/ 14 h 552"/>
                <a:gd name="T2" fmla="*/ 39 w 111"/>
                <a:gd name="T3" fmla="*/ 15 h 552"/>
                <a:gd name="T4" fmla="*/ 64 w 111"/>
                <a:gd name="T5" fmla="*/ 9 h 552"/>
                <a:gd name="T6" fmla="*/ 73 w 111"/>
                <a:gd name="T7" fmla="*/ 47 h 552"/>
                <a:gd name="T8" fmla="*/ 97 w 111"/>
                <a:gd name="T9" fmla="*/ 139 h 552"/>
                <a:gd name="T10" fmla="*/ 107 w 111"/>
                <a:gd name="T11" fmla="*/ 302 h 552"/>
                <a:gd name="T12" fmla="*/ 111 w 111"/>
                <a:gd name="T13" fmla="*/ 552 h 552"/>
                <a:gd name="T14" fmla="*/ 19 w 111"/>
                <a:gd name="T15" fmla="*/ 539 h 552"/>
                <a:gd name="T16" fmla="*/ 23 w 111"/>
                <a:gd name="T17" fmla="*/ 448 h 552"/>
                <a:gd name="T18" fmla="*/ 22 w 111"/>
                <a:gd name="T19" fmla="*/ 224 h 552"/>
                <a:gd name="T20" fmla="*/ 24 w 111"/>
                <a:gd name="T21" fmla="*/ 113 h 552"/>
                <a:gd name="T22" fmla="*/ 37 w 111"/>
                <a:gd name="T23" fmla="*/ 64 h 552"/>
                <a:gd name="T24" fmla="*/ 3 w 111"/>
                <a:gd name="T25" fmla="*/ 26 h 552"/>
                <a:gd name="T26" fmla="*/ 14 w 111"/>
                <a:gd name="T27" fmla="*/ 14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552">
                  <a:moveTo>
                    <a:pt x="14" y="14"/>
                  </a:moveTo>
                  <a:cubicBezTo>
                    <a:pt x="14" y="14"/>
                    <a:pt x="25" y="18"/>
                    <a:pt x="39" y="15"/>
                  </a:cubicBezTo>
                  <a:cubicBezTo>
                    <a:pt x="52" y="12"/>
                    <a:pt x="52" y="0"/>
                    <a:pt x="64" y="9"/>
                  </a:cubicBezTo>
                  <a:cubicBezTo>
                    <a:pt x="75" y="19"/>
                    <a:pt x="80" y="38"/>
                    <a:pt x="73" y="47"/>
                  </a:cubicBezTo>
                  <a:cubicBezTo>
                    <a:pt x="65" y="56"/>
                    <a:pt x="97" y="139"/>
                    <a:pt x="97" y="139"/>
                  </a:cubicBezTo>
                  <a:cubicBezTo>
                    <a:pt x="107" y="302"/>
                    <a:pt x="107" y="302"/>
                    <a:pt x="107" y="302"/>
                  </a:cubicBezTo>
                  <a:cubicBezTo>
                    <a:pt x="111" y="552"/>
                    <a:pt x="111" y="552"/>
                    <a:pt x="111" y="552"/>
                  </a:cubicBezTo>
                  <a:cubicBezTo>
                    <a:pt x="111" y="552"/>
                    <a:pt x="19" y="541"/>
                    <a:pt x="19" y="539"/>
                  </a:cubicBezTo>
                  <a:cubicBezTo>
                    <a:pt x="19" y="537"/>
                    <a:pt x="23" y="448"/>
                    <a:pt x="23" y="448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2" y="224"/>
                    <a:pt x="22" y="123"/>
                    <a:pt x="24" y="113"/>
                  </a:cubicBezTo>
                  <a:cubicBezTo>
                    <a:pt x="27" y="104"/>
                    <a:pt x="42" y="69"/>
                    <a:pt x="37" y="64"/>
                  </a:cubicBezTo>
                  <a:cubicBezTo>
                    <a:pt x="32" y="58"/>
                    <a:pt x="0" y="32"/>
                    <a:pt x="3" y="26"/>
                  </a:cubicBezTo>
                  <a:cubicBezTo>
                    <a:pt x="7" y="19"/>
                    <a:pt x="14" y="14"/>
                    <a:pt x="14" y="14"/>
                  </a:cubicBezTo>
                  <a:close/>
                </a:path>
              </a:pathLst>
            </a:custGeom>
            <a:solidFill>
              <a:srgbClr val="C0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6A20EFF6-7F77-47F3-A651-C0F1F0380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7888" y="2700338"/>
              <a:ext cx="261937" cy="280988"/>
            </a:xfrm>
            <a:custGeom>
              <a:avLst/>
              <a:gdLst>
                <a:gd name="T0" fmla="*/ 19 w 70"/>
                <a:gd name="T1" fmla="*/ 12 h 75"/>
                <a:gd name="T2" fmla="*/ 45 w 70"/>
                <a:gd name="T3" fmla="*/ 36 h 75"/>
                <a:gd name="T4" fmla="*/ 70 w 70"/>
                <a:gd name="T5" fmla="*/ 40 h 75"/>
                <a:gd name="T6" fmla="*/ 63 w 70"/>
                <a:gd name="T7" fmla="*/ 53 h 75"/>
                <a:gd name="T8" fmla="*/ 34 w 70"/>
                <a:gd name="T9" fmla="*/ 73 h 75"/>
                <a:gd name="T10" fmla="*/ 36 w 70"/>
                <a:gd name="T11" fmla="*/ 53 h 75"/>
                <a:gd name="T12" fmla="*/ 2 w 70"/>
                <a:gd name="T13" fmla="*/ 15 h 75"/>
                <a:gd name="T14" fmla="*/ 13 w 70"/>
                <a:gd name="T15" fmla="*/ 3 h 75"/>
                <a:gd name="T16" fmla="*/ 19 w 70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75">
                  <a:moveTo>
                    <a:pt x="19" y="12"/>
                  </a:moveTo>
                  <a:cubicBezTo>
                    <a:pt x="21" y="15"/>
                    <a:pt x="37" y="29"/>
                    <a:pt x="45" y="36"/>
                  </a:cubicBezTo>
                  <a:cubicBezTo>
                    <a:pt x="53" y="42"/>
                    <a:pt x="70" y="40"/>
                    <a:pt x="70" y="40"/>
                  </a:cubicBezTo>
                  <a:cubicBezTo>
                    <a:pt x="70" y="40"/>
                    <a:pt x="69" y="49"/>
                    <a:pt x="63" y="53"/>
                  </a:cubicBezTo>
                  <a:cubicBezTo>
                    <a:pt x="57" y="57"/>
                    <a:pt x="34" y="75"/>
                    <a:pt x="34" y="73"/>
                  </a:cubicBezTo>
                  <a:cubicBezTo>
                    <a:pt x="35" y="70"/>
                    <a:pt x="45" y="64"/>
                    <a:pt x="36" y="53"/>
                  </a:cubicBezTo>
                  <a:cubicBezTo>
                    <a:pt x="27" y="42"/>
                    <a:pt x="0" y="21"/>
                    <a:pt x="2" y="15"/>
                  </a:cubicBezTo>
                  <a:cubicBezTo>
                    <a:pt x="4" y="8"/>
                    <a:pt x="10" y="0"/>
                    <a:pt x="13" y="3"/>
                  </a:cubicBezTo>
                  <a:cubicBezTo>
                    <a:pt x="17" y="6"/>
                    <a:pt x="19" y="12"/>
                    <a:pt x="19" y="12"/>
                  </a:cubicBezTo>
                  <a:close/>
                </a:path>
              </a:pathLst>
            </a:custGeom>
            <a:solidFill>
              <a:srgbClr val="8E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652E54B6-8CA6-48E0-95CE-B015432BB03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7075" y="2857500"/>
              <a:ext cx="250825" cy="307975"/>
            </a:xfrm>
            <a:custGeom>
              <a:avLst/>
              <a:gdLst>
                <a:gd name="T0" fmla="*/ 47 w 67"/>
                <a:gd name="T1" fmla="*/ 0 h 82"/>
                <a:gd name="T2" fmla="*/ 59 w 67"/>
                <a:gd name="T3" fmla="*/ 33 h 82"/>
                <a:gd name="T4" fmla="*/ 25 w 67"/>
                <a:gd name="T5" fmla="*/ 75 h 82"/>
                <a:gd name="T6" fmla="*/ 33 w 67"/>
                <a:gd name="T7" fmla="*/ 78 h 82"/>
                <a:gd name="T8" fmla="*/ 60 w 67"/>
                <a:gd name="T9" fmla="*/ 49 h 82"/>
                <a:gd name="T10" fmla="*/ 61 w 67"/>
                <a:gd name="T11" fmla="*/ 11 h 82"/>
                <a:gd name="T12" fmla="*/ 47 w 67"/>
                <a:gd name="T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2">
                  <a:moveTo>
                    <a:pt x="47" y="0"/>
                  </a:moveTo>
                  <a:cubicBezTo>
                    <a:pt x="49" y="0"/>
                    <a:pt x="64" y="18"/>
                    <a:pt x="59" y="33"/>
                  </a:cubicBezTo>
                  <a:cubicBezTo>
                    <a:pt x="54" y="47"/>
                    <a:pt x="50" y="71"/>
                    <a:pt x="25" y="75"/>
                  </a:cubicBezTo>
                  <a:cubicBezTo>
                    <a:pt x="0" y="78"/>
                    <a:pt x="21" y="82"/>
                    <a:pt x="33" y="78"/>
                  </a:cubicBezTo>
                  <a:cubicBezTo>
                    <a:pt x="45" y="75"/>
                    <a:pt x="53" y="69"/>
                    <a:pt x="60" y="49"/>
                  </a:cubicBezTo>
                  <a:cubicBezTo>
                    <a:pt x="67" y="29"/>
                    <a:pt x="65" y="18"/>
                    <a:pt x="61" y="11"/>
                  </a:cubicBezTo>
                  <a:cubicBezTo>
                    <a:pt x="57" y="5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3C56C441-EA43-4FB1-B024-4168489D3D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2050" y="2774950"/>
              <a:ext cx="139700" cy="563563"/>
            </a:xfrm>
            <a:custGeom>
              <a:avLst/>
              <a:gdLst>
                <a:gd name="T0" fmla="*/ 29 w 37"/>
                <a:gd name="T1" fmla="*/ 18 h 150"/>
                <a:gd name="T2" fmla="*/ 20 w 37"/>
                <a:gd name="T3" fmla="*/ 62 h 150"/>
                <a:gd name="T4" fmla="*/ 12 w 37"/>
                <a:gd name="T5" fmla="*/ 77 h 150"/>
                <a:gd name="T6" fmla="*/ 30 w 37"/>
                <a:gd name="T7" fmla="*/ 70 h 150"/>
                <a:gd name="T8" fmla="*/ 31 w 37"/>
                <a:gd name="T9" fmla="*/ 145 h 150"/>
                <a:gd name="T10" fmla="*/ 33 w 37"/>
                <a:gd name="T11" fmla="*/ 61 h 150"/>
                <a:gd name="T12" fmla="*/ 34 w 37"/>
                <a:gd name="T13" fmla="*/ 27 h 150"/>
                <a:gd name="T14" fmla="*/ 34 w 37"/>
                <a:gd name="T15" fmla="*/ 5 h 150"/>
                <a:gd name="T16" fmla="*/ 29 w 37"/>
                <a:gd name="T17" fmla="*/ 1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50">
                  <a:moveTo>
                    <a:pt x="29" y="18"/>
                  </a:moveTo>
                  <a:cubicBezTo>
                    <a:pt x="29" y="18"/>
                    <a:pt x="23" y="56"/>
                    <a:pt x="20" y="62"/>
                  </a:cubicBezTo>
                  <a:cubicBezTo>
                    <a:pt x="16" y="68"/>
                    <a:pt x="0" y="87"/>
                    <a:pt x="12" y="77"/>
                  </a:cubicBezTo>
                  <a:cubicBezTo>
                    <a:pt x="23" y="67"/>
                    <a:pt x="29" y="66"/>
                    <a:pt x="30" y="70"/>
                  </a:cubicBezTo>
                  <a:cubicBezTo>
                    <a:pt x="31" y="74"/>
                    <a:pt x="31" y="140"/>
                    <a:pt x="31" y="145"/>
                  </a:cubicBezTo>
                  <a:cubicBezTo>
                    <a:pt x="31" y="150"/>
                    <a:pt x="37" y="69"/>
                    <a:pt x="33" y="61"/>
                  </a:cubicBezTo>
                  <a:cubicBezTo>
                    <a:pt x="28" y="53"/>
                    <a:pt x="34" y="31"/>
                    <a:pt x="34" y="27"/>
                  </a:cubicBezTo>
                  <a:cubicBezTo>
                    <a:pt x="34" y="24"/>
                    <a:pt x="36" y="0"/>
                    <a:pt x="34" y="5"/>
                  </a:cubicBezTo>
                  <a:cubicBezTo>
                    <a:pt x="32" y="10"/>
                    <a:pt x="29" y="18"/>
                    <a:pt x="29" y="18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AD76EC2F-593A-43B8-89F0-3A9721B9D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8313" y="1455738"/>
              <a:ext cx="858837" cy="1285875"/>
            </a:xfrm>
            <a:custGeom>
              <a:avLst/>
              <a:gdLst>
                <a:gd name="T0" fmla="*/ 226 w 229"/>
                <a:gd name="T1" fmla="*/ 59 h 343"/>
                <a:gd name="T2" fmla="*/ 137 w 229"/>
                <a:gd name="T3" fmla="*/ 0 h 343"/>
                <a:gd name="T4" fmla="*/ 94 w 229"/>
                <a:gd name="T5" fmla="*/ 7 h 343"/>
                <a:gd name="T6" fmla="*/ 45 w 229"/>
                <a:gd name="T7" fmla="*/ 33 h 343"/>
                <a:gd name="T8" fmla="*/ 31 w 229"/>
                <a:gd name="T9" fmla="*/ 91 h 343"/>
                <a:gd name="T10" fmla="*/ 16 w 229"/>
                <a:gd name="T11" fmla="*/ 129 h 343"/>
                <a:gd name="T12" fmla="*/ 11 w 229"/>
                <a:gd name="T13" fmla="*/ 130 h 343"/>
                <a:gd name="T14" fmla="*/ 11 w 229"/>
                <a:gd name="T15" fmla="*/ 164 h 343"/>
                <a:gd name="T16" fmla="*/ 10 w 229"/>
                <a:gd name="T17" fmla="*/ 194 h 343"/>
                <a:gd name="T18" fmla="*/ 32 w 229"/>
                <a:gd name="T19" fmla="*/ 205 h 343"/>
                <a:gd name="T20" fmla="*/ 43 w 229"/>
                <a:gd name="T21" fmla="*/ 227 h 343"/>
                <a:gd name="T22" fmla="*/ 50 w 229"/>
                <a:gd name="T23" fmla="*/ 291 h 343"/>
                <a:gd name="T24" fmla="*/ 137 w 229"/>
                <a:gd name="T25" fmla="*/ 341 h 343"/>
                <a:gd name="T26" fmla="*/ 194 w 229"/>
                <a:gd name="T27" fmla="*/ 279 h 343"/>
                <a:gd name="T28" fmla="*/ 216 w 229"/>
                <a:gd name="T29" fmla="*/ 218 h 343"/>
                <a:gd name="T30" fmla="*/ 223 w 229"/>
                <a:gd name="T31" fmla="*/ 185 h 343"/>
                <a:gd name="T32" fmla="*/ 229 w 229"/>
                <a:gd name="T33" fmla="*/ 144 h 343"/>
                <a:gd name="T34" fmla="*/ 226 w 229"/>
                <a:gd name="T35" fmla="*/ 5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9" h="343">
                  <a:moveTo>
                    <a:pt x="226" y="59"/>
                  </a:moveTo>
                  <a:cubicBezTo>
                    <a:pt x="224" y="39"/>
                    <a:pt x="137" y="0"/>
                    <a:pt x="137" y="0"/>
                  </a:cubicBezTo>
                  <a:cubicBezTo>
                    <a:pt x="137" y="0"/>
                    <a:pt x="110" y="3"/>
                    <a:pt x="94" y="7"/>
                  </a:cubicBezTo>
                  <a:cubicBezTo>
                    <a:pt x="78" y="11"/>
                    <a:pt x="64" y="23"/>
                    <a:pt x="45" y="33"/>
                  </a:cubicBezTo>
                  <a:cubicBezTo>
                    <a:pt x="26" y="43"/>
                    <a:pt x="31" y="75"/>
                    <a:pt x="31" y="91"/>
                  </a:cubicBezTo>
                  <a:cubicBezTo>
                    <a:pt x="31" y="105"/>
                    <a:pt x="24" y="124"/>
                    <a:pt x="16" y="129"/>
                  </a:cubicBezTo>
                  <a:cubicBezTo>
                    <a:pt x="14" y="130"/>
                    <a:pt x="13" y="130"/>
                    <a:pt x="11" y="130"/>
                  </a:cubicBezTo>
                  <a:cubicBezTo>
                    <a:pt x="0" y="130"/>
                    <a:pt x="6" y="149"/>
                    <a:pt x="11" y="164"/>
                  </a:cubicBezTo>
                  <a:cubicBezTo>
                    <a:pt x="16" y="179"/>
                    <a:pt x="11" y="184"/>
                    <a:pt x="10" y="194"/>
                  </a:cubicBezTo>
                  <a:cubicBezTo>
                    <a:pt x="9" y="204"/>
                    <a:pt x="21" y="206"/>
                    <a:pt x="32" y="205"/>
                  </a:cubicBezTo>
                  <a:cubicBezTo>
                    <a:pt x="43" y="204"/>
                    <a:pt x="43" y="218"/>
                    <a:pt x="43" y="227"/>
                  </a:cubicBezTo>
                  <a:cubicBezTo>
                    <a:pt x="43" y="235"/>
                    <a:pt x="46" y="285"/>
                    <a:pt x="50" y="291"/>
                  </a:cubicBezTo>
                  <a:cubicBezTo>
                    <a:pt x="54" y="297"/>
                    <a:pt x="118" y="343"/>
                    <a:pt x="137" y="341"/>
                  </a:cubicBezTo>
                  <a:cubicBezTo>
                    <a:pt x="156" y="340"/>
                    <a:pt x="187" y="292"/>
                    <a:pt x="194" y="279"/>
                  </a:cubicBezTo>
                  <a:cubicBezTo>
                    <a:pt x="201" y="267"/>
                    <a:pt x="212" y="223"/>
                    <a:pt x="216" y="218"/>
                  </a:cubicBezTo>
                  <a:cubicBezTo>
                    <a:pt x="218" y="215"/>
                    <a:pt x="221" y="200"/>
                    <a:pt x="223" y="185"/>
                  </a:cubicBezTo>
                  <a:cubicBezTo>
                    <a:pt x="226" y="167"/>
                    <a:pt x="229" y="148"/>
                    <a:pt x="229" y="144"/>
                  </a:cubicBezTo>
                  <a:cubicBezTo>
                    <a:pt x="229" y="138"/>
                    <a:pt x="227" y="78"/>
                    <a:pt x="226" y="59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CC532D18-5D34-4100-B003-A5AD1C525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1350" y="2486025"/>
              <a:ext cx="490537" cy="258763"/>
            </a:xfrm>
            <a:custGeom>
              <a:avLst/>
              <a:gdLst>
                <a:gd name="T0" fmla="*/ 4 w 131"/>
                <a:gd name="T1" fmla="*/ 3 h 69"/>
                <a:gd name="T2" fmla="*/ 54 w 131"/>
                <a:gd name="T3" fmla="*/ 40 h 69"/>
                <a:gd name="T4" fmla="*/ 93 w 131"/>
                <a:gd name="T5" fmla="*/ 60 h 69"/>
                <a:gd name="T6" fmla="*/ 128 w 131"/>
                <a:gd name="T7" fmla="*/ 36 h 69"/>
                <a:gd name="T8" fmla="*/ 98 w 131"/>
                <a:gd name="T9" fmla="*/ 65 h 69"/>
                <a:gd name="T10" fmla="*/ 52 w 131"/>
                <a:gd name="T11" fmla="*/ 51 h 69"/>
                <a:gd name="T12" fmla="*/ 13 w 131"/>
                <a:gd name="T13" fmla="*/ 25 h 69"/>
                <a:gd name="T14" fmla="*/ 2 w 131"/>
                <a:gd name="T15" fmla="*/ 12 h 69"/>
                <a:gd name="T16" fmla="*/ 0 w 131"/>
                <a:gd name="T17" fmla="*/ 0 h 69"/>
                <a:gd name="T18" fmla="*/ 4 w 131"/>
                <a:gd name="T1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69">
                  <a:moveTo>
                    <a:pt x="4" y="3"/>
                  </a:moveTo>
                  <a:cubicBezTo>
                    <a:pt x="4" y="3"/>
                    <a:pt x="46" y="35"/>
                    <a:pt x="54" y="40"/>
                  </a:cubicBezTo>
                  <a:cubicBezTo>
                    <a:pt x="61" y="44"/>
                    <a:pt x="84" y="64"/>
                    <a:pt x="93" y="60"/>
                  </a:cubicBezTo>
                  <a:cubicBezTo>
                    <a:pt x="101" y="56"/>
                    <a:pt x="131" y="32"/>
                    <a:pt x="128" y="36"/>
                  </a:cubicBezTo>
                  <a:cubicBezTo>
                    <a:pt x="125" y="41"/>
                    <a:pt x="111" y="60"/>
                    <a:pt x="98" y="65"/>
                  </a:cubicBezTo>
                  <a:cubicBezTo>
                    <a:pt x="86" y="69"/>
                    <a:pt x="58" y="55"/>
                    <a:pt x="52" y="51"/>
                  </a:cubicBezTo>
                  <a:cubicBezTo>
                    <a:pt x="45" y="47"/>
                    <a:pt x="16" y="27"/>
                    <a:pt x="13" y="25"/>
                  </a:cubicBezTo>
                  <a:cubicBezTo>
                    <a:pt x="10" y="23"/>
                    <a:pt x="2" y="12"/>
                    <a:pt x="2" y="1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6E50408D-D7A1-4751-B8E1-068FE0AF3D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0700" y="1450975"/>
              <a:ext cx="814387" cy="693738"/>
            </a:xfrm>
            <a:custGeom>
              <a:avLst/>
              <a:gdLst>
                <a:gd name="T0" fmla="*/ 213 w 217"/>
                <a:gd name="T1" fmla="*/ 59 h 185"/>
                <a:gd name="T2" fmla="*/ 123 w 217"/>
                <a:gd name="T3" fmla="*/ 0 h 185"/>
                <a:gd name="T4" fmla="*/ 80 w 217"/>
                <a:gd name="T5" fmla="*/ 6 h 185"/>
                <a:gd name="T6" fmla="*/ 30 w 217"/>
                <a:gd name="T7" fmla="*/ 33 h 185"/>
                <a:gd name="T8" fmla="*/ 16 w 217"/>
                <a:gd name="T9" fmla="*/ 91 h 185"/>
                <a:gd name="T10" fmla="*/ 0 w 217"/>
                <a:gd name="T11" fmla="*/ 129 h 185"/>
                <a:gd name="T12" fmla="*/ 16 w 217"/>
                <a:gd name="T13" fmla="*/ 159 h 185"/>
                <a:gd name="T14" fmla="*/ 35 w 217"/>
                <a:gd name="T15" fmla="*/ 156 h 185"/>
                <a:gd name="T16" fmla="*/ 60 w 217"/>
                <a:gd name="T17" fmla="*/ 115 h 185"/>
                <a:gd name="T18" fmla="*/ 128 w 217"/>
                <a:gd name="T19" fmla="*/ 131 h 185"/>
                <a:gd name="T20" fmla="*/ 191 w 217"/>
                <a:gd name="T21" fmla="*/ 99 h 185"/>
                <a:gd name="T22" fmla="*/ 207 w 217"/>
                <a:gd name="T23" fmla="*/ 171 h 185"/>
                <a:gd name="T24" fmla="*/ 211 w 217"/>
                <a:gd name="T25" fmla="*/ 185 h 185"/>
                <a:gd name="T26" fmla="*/ 217 w 217"/>
                <a:gd name="T27" fmla="*/ 145 h 185"/>
                <a:gd name="T28" fmla="*/ 213 w 217"/>
                <a:gd name="T29" fmla="*/ 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" h="185">
                  <a:moveTo>
                    <a:pt x="213" y="59"/>
                  </a:moveTo>
                  <a:cubicBezTo>
                    <a:pt x="212" y="39"/>
                    <a:pt x="123" y="0"/>
                    <a:pt x="123" y="0"/>
                  </a:cubicBezTo>
                  <a:cubicBezTo>
                    <a:pt x="123" y="0"/>
                    <a:pt x="96" y="2"/>
                    <a:pt x="80" y="6"/>
                  </a:cubicBezTo>
                  <a:cubicBezTo>
                    <a:pt x="64" y="10"/>
                    <a:pt x="49" y="23"/>
                    <a:pt x="30" y="33"/>
                  </a:cubicBezTo>
                  <a:cubicBezTo>
                    <a:pt x="11" y="43"/>
                    <a:pt x="16" y="75"/>
                    <a:pt x="16" y="91"/>
                  </a:cubicBezTo>
                  <a:cubicBezTo>
                    <a:pt x="16" y="106"/>
                    <a:pt x="9" y="124"/>
                    <a:pt x="0" y="129"/>
                  </a:cubicBezTo>
                  <a:cubicBezTo>
                    <a:pt x="6" y="138"/>
                    <a:pt x="13" y="150"/>
                    <a:pt x="16" y="159"/>
                  </a:cubicBezTo>
                  <a:cubicBezTo>
                    <a:pt x="22" y="177"/>
                    <a:pt x="23" y="183"/>
                    <a:pt x="35" y="156"/>
                  </a:cubicBezTo>
                  <a:cubicBezTo>
                    <a:pt x="47" y="129"/>
                    <a:pt x="39" y="110"/>
                    <a:pt x="60" y="115"/>
                  </a:cubicBezTo>
                  <a:cubicBezTo>
                    <a:pt x="81" y="119"/>
                    <a:pt x="111" y="138"/>
                    <a:pt x="128" y="131"/>
                  </a:cubicBezTo>
                  <a:cubicBezTo>
                    <a:pt x="145" y="124"/>
                    <a:pt x="187" y="89"/>
                    <a:pt x="191" y="99"/>
                  </a:cubicBezTo>
                  <a:cubicBezTo>
                    <a:pt x="195" y="109"/>
                    <a:pt x="207" y="164"/>
                    <a:pt x="207" y="171"/>
                  </a:cubicBezTo>
                  <a:cubicBezTo>
                    <a:pt x="207" y="175"/>
                    <a:pt x="209" y="180"/>
                    <a:pt x="211" y="185"/>
                  </a:cubicBezTo>
                  <a:cubicBezTo>
                    <a:pt x="214" y="167"/>
                    <a:pt x="217" y="148"/>
                    <a:pt x="217" y="145"/>
                  </a:cubicBezTo>
                  <a:cubicBezTo>
                    <a:pt x="217" y="139"/>
                    <a:pt x="215" y="78"/>
                    <a:pt x="213" y="59"/>
                  </a:cubicBezTo>
                  <a:close/>
                </a:path>
              </a:pathLst>
            </a:custGeom>
            <a:solidFill>
              <a:srgbClr val="00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599933CD-ECD1-4FC8-8AC4-553B77262B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8025" y="1504950"/>
              <a:ext cx="558800" cy="273050"/>
            </a:xfrm>
            <a:custGeom>
              <a:avLst/>
              <a:gdLst>
                <a:gd name="T0" fmla="*/ 58 w 149"/>
                <a:gd name="T1" fmla="*/ 0 h 73"/>
                <a:gd name="T2" fmla="*/ 14 w 149"/>
                <a:gd name="T3" fmla="*/ 25 h 73"/>
                <a:gd name="T4" fmla="*/ 42 w 149"/>
                <a:gd name="T5" fmla="*/ 30 h 73"/>
                <a:gd name="T6" fmla="*/ 23 w 149"/>
                <a:gd name="T7" fmla="*/ 56 h 73"/>
                <a:gd name="T8" fmla="*/ 90 w 149"/>
                <a:gd name="T9" fmla="*/ 46 h 73"/>
                <a:gd name="T10" fmla="*/ 128 w 149"/>
                <a:gd name="T11" fmla="*/ 56 h 73"/>
                <a:gd name="T12" fmla="*/ 102 w 149"/>
                <a:gd name="T13" fmla="*/ 25 h 73"/>
                <a:gd name="T14" fmla="*/ 124 w 149"/>
                <a:gd name="T15" fmla="*/ 27 h 73"/>
                <a:gd name="T16" fmla="*/ 66 w 149"/>
                <a:gd name="T17" fmla="*/ 2 h 73"/>
                <a:gd name="T18" fmla="*/ 58 w 149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73">
                  <a:moveTo>
                    <a:pt x="58" y="0"/>
                  </a:moveTo>
                  <a:cubicBezTo>
                    <a:pt x="58" y="0"/>
                    <a:pt x="2" y="23"/>
                    <a:pt x="14" y="25"/>
                  </a:cubicBezTo>
                  <a:cubicBezTo>
                    <a:pt x="25" y="27"/>
                    <a:pt x="47" y="23"/>
                    <a:pt x="42" y="30"/>
                  </a:cubicBezTo>
                  <a:cubicBezTo>
                    <a:pt x="37" y="37"/>
                    <a:pt x="0" y="61"/>
                    <a:pt x="23" y="56"/>
                  </a:cubicBezTo>
                  <a:cubicBezTo>
                    <a:pt x="46" y="50"/>
                    <a:pt x="71" y="38"/>
                    <a:pt x="90" y="46"/>
                  </a:cubicBezTo>
                  <a:cubicBezTo>
                    <a:pt x="108" y="54"/>
                    <a:pt x="144" y="73"/>
                    <a:pt x="128" y="56"/>
                  </a:cubicBezTo>
                  <a:cubicBezTo>
                    <a:pt x="112" y="39"/>
                    <a:pt x="84" y="20"/>
                    <a:pt x="102" y="25"/>
                  </a:cubicBezTo>
                  <a:cubicBezTo>
                    <a:pt x="120" y="29"/>
                    <a:pt x="149" y="40"/>
                    <a:pt x="124" y="27"/>
                  </a:cubicBezTo>
                  <a:cubicBezTo>
                    <a:pt x="100" y="15"/>
                    <a:pt x="71" y="3"/>
                    <a:pt x="66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43A3E302-8CFC-4393-A100-2870708B0FE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4300" y="3157538"/>
              <a:ext cx="2392362" cy="3168650"/>
            </a:xfrm>
            <a:custGeom>
              <a:avLst/>
              <a:gdLst>
                <a:gd name="T0" fmla="*/ 266 w 638"/>
                <a:gd name="T1" fmla="*/ 168 h 845"/>
                <a:gd name="T2" fmla="*/ 324 w 638"/>
                <a:gd name="T3" fmla="*/ 99 h 845"/>
                <a:gd name="T4" fmla="*/ 338 w 638"/>
                <a:gd name="T5" fmla="*/ 2 h 845"/>
                <a:gd name="T6" fmla="*/ 455 w 638"/>
                <a:gd name="T7" fmla="*/ 31 h 845"/>
                <a:gd name="T8" fmla="*/ 507 w 638"/>
                <a:gd name="T9" fmla="*/ 53 h 845"/>
                <a:gd name="T10" fmla="*/ 537 w 638"/>
                <a:gd name="T11" fmla="*/ 78 h 845"/>
                <a:gd name="T12" fmla="*/ 577 w 638"/>
                <a:gd name="T13" fmla="*/ 141 h 845"/>
                <a:gd name="T14" fmla="*/ 600 w 638"/>
                <a:gd name="T15" fmla="*/ 207 h 845"/>
                <a:gd name="T16" fmla="*/ 602 w 638"/>
                <a:gd name="T17" fmla="*/ 271 h 845"/>
                <a:gd name="T18" fmla="*/ 617 w 638"/>
                <a:gd name="T19" fmla="*/ 314 h 845"/>
                <a:gd name="T20" fmla="*/ 607 w 638"/>
                <a:gd name="T21" fmla="*/ 337 h 845"/>
                <a:gd name="T22" fmla="*/ 623 w 638"/>
                <a:gd name="T23" fmla="*/ 382 h 845"/>
                <a:gd name="T24" fmla="*/ 635 w 638"/>
                <a:gd name="T25" fmla="*/ 428 h 845"/>
                <a:gd name="T26" fmla="*/ 566 w 638"/>
                <a:gd name="T27" fmla="*/ 497 h 845"/>
                <a:gd name="T28" fmla="*/ 526 w 638"/>
                <a:gd name="T29" fmla="*/ 534 h 845"/>
                <a:gd name="T30" fmla="*/ 494 w 638"/>
                <a:gd name="T31" fmla="*/ 606 h 845"/>
                <a:gd name="T32" fmla="*/ 450 w 638"/>
                <a:gd name="T33" fmla="*/ 688 h 845"/>
                <a:gd name="T34" fmla="*/ 409 w 638"/>
                <a:gd name="T35" fmla="*/ 739 h 845"/>
                <a:gd name="T36" fmla="*/ 377 w 638"/>
                <a:gd name="T37" fmla="*/ 782 h 845"/>
                <a:gd name="T38" fmla="*/ 323 w 638"/>
                <a:gd name="T39" fmla="*/ 844 h 845"/>
                <a:gd name="T40" fmla="*/ 283 w 638"/>
                <a:gd name="T41" fmla="*/ 808 h 845"/>
                <a:gd name="T42" fmla="*/ 230 w 638"/>
                <a:gd name="T43" fmla="*/ 796 h 845"/>
                <a:gd name="T44" fmla="*/ 261 w 638"/>
                <a:gd name="T45" fmla="*/ 739 h 845"/>
                <a:gd name="T46" fmla="*/ 288 w 638"/>
                <a:gd name="T47" fmla="*/ 689 h 845"/>
                <a:gd name="T48" fmla="*/ 306 w 638"/>
                <a:gd name="T49" fmla="*/ 644 h 845"/>
                <a:gd name="T50" fmla="*/ 344 w 638"/>
                <a:gd name="T51" fmla="*/ 562 h 845"/>
                <a:gd name="T52" fmla="*/ 297 w 638"/>
                <a:gd name="T53" fmla="*/ 528 h 845"/>
                <a:gd name="T54" fmla="*/ 264 w 638"/>
                <a:gd name="T55" fmla="*/ 461 h 845"/>
                <a:gd name="T56" fmla="*/ 208 w 638"/>
                <a:gd name="T57" fmla="*/ 384 h 845"/>
                <a:gd name="T58" fmla="*/ 179 w 638"/>
                <a:gd name="T59" fmla="*/ 393 h 845"/>
                <a:gd name="T60" fmla="*/ 178 w 638"/>
                <a:gd name="T61" fmla="*/ 418 h 845"/>
                <a:gd name="T62" fmla="*/ 166 w 638"/>
                <a:gd name="T63" fmla="*/ 436 h 845"/>
                <a:gd name="T64" fmla="*/ 165 w 638"/>
                <a:gd name="T65" fmla="*/ 455 h 845"/>
                <a:gd name="T66" fmla="*/ 154 w 638"/>
                <a:gd name="T67" fmla="*/ 476 h 845"/>
                <a:gd name="T68" fmla="*/ 161 w 638"/>
                <a:gd name="T69" fmla="*/ 506 h 845"/>
                <a:gd name="T70" fmla="*/ 157 w 638"/>
                <a:gd name="T71" fmla="*/ 534 h 845"/>
                <a:gd name="T72" fmla="*/ 118 w 638"/>
                <a:gd name="T73" fmla="*/ 602 h 845"/>
                <a:gd name="T74" fmla="*/ 53 w 638"/>
                <a:gd name="T75" fmla="*/ 513 h 845"/>
                <a:gd name="T76" fmla="*/ 28 w 638"/>
                <a:gd name="T77" fmla="*/ 444 h 845"/>
                <a:gd name="T78" fmla="*/ 27 w 638"/>
                <a:gd name="T79" fmla="*/ 392 h 845"/>
                <a:gd name="T80" fmla="*/ 30 w 638"/>
                <a:gd name="T81" fmla="*/ 326 h 845"/>
                <a:gd name="T82" fmla="*/ 22 w 638"/>
                <a:gd name="T83" fmla="*/ 264 h 845"/>
                <a:gd name="T84" fmla="*/ 2 w 638"/>
                <a:gd name="T85" fmla="*/ 175 h 845"/>
                <a:gd name="T86" fmla="*/ 34 w 638"/>
                <a:gd name="T87" fmla="*/ 126 h 845"/>
                <a:gd name="T88" fmla="*/ 109 w 638"/>
                <a:gd name="T89" fmla="*/ 65 h 845"/>
                <a:gd name="T90" fmla="*/ 162 w 638"/>
                <a:gd name="T91" fmla="*/ 42 h 845"/>
                <a:gd name="T92" fmla="*/ 203 w 638"/>
                <a:gd name="T93" fmla="*/ 99 h 845"/>
                <a:gd name="T94" fmla="*/ 266 w 638"/>
                <a:gd name="T95" fmla="*/ 168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38" h="845">
                  <a:moveTo>
                    <a:pt x="266" y="168"/>
                  </a:moveTo>
                  <a:cubicBezTo>
                    <a:pt x="266" y="168"/>
                    <a:pt x="322" y="115"/>
                    <a:pt x="324" y="99"/>
                  </a:cubicBezTo>
                  <a:cubicBezTo>
                    <a:pt x="326" y="83"/>
                    <a:pt x="325" y="4"/>
                    <a:pt x="338" y="2"/>
                  </a:cubicBezTo>
                  <a:cubicBezTo>
                    <a:pt x="352" y="0"/>
                    <a:pt x="446" y="27"/>
                    <a:pt x="455" y="31"/>
                  </a:cubicBezTo>
                  <a:cubicBezTo>
                    <a:pt x="464" y="34"/>
                    <a:pt x="499" y="48"/>
                    <a:pt x="507" y="53"/>
                  </a:cubicBezTo>
                  <a:cubicBezTo>
                    <a:pt x="514" y="57"/>
                    <a:pt x="532" y="69"/>
                    <a:pt x="537" y="78"/>
                  </a:cubicBezTo>
                  <a:cubicBezTo>
                    <a:pt x="543" y="88"/>
                    <a:pt x="571" y="132"/>
                    <a:pt x="577" y="141"/>
                  </a:cubicBezTo>
                  <a:cubicBezTo>
                    <a:pt x="583" y="150"/>
                    <a:pt x="597" y="193"/>
                    <a:pt x="600" y="207"/>
                  </a:cubicBezTo>
                  <a:cubicBezTo>
                    <a:pt x="603" y="221"/>
                    <a:pt x="597" y="262"/>
                    <a:pt x="602" y="271"/>
                  </a:cubicBezTo>
                  <a:cubicBezTo>
                    <a:pt x="607" y="279"/>
                    <a:pt x="618" y="305"/>
                    <a:pt x="617" y="314"/>
                  </a:cubicBezTo>
                  <a:cubicBezTo>
                    <a:pt x="617" y="322"/>
                    <a:pt x="607" y="323"/>
                    <a:pt x="607" y="337"/>
                  </a:cubicBezTo>
                  <a:cubicBezTo>
                    <a:pt x="607" y="351"/>
                    <a:pt x="623" y="375"/>
                    <a:pt x="623" y="382"/>
                  </a:cubicBezTo>
                  <a:cubicBezTo>
                    <a:pt x="622" y="388"/>
                    <a:pt x="638" y="418"/>
                    <a:pt x="635" y="428"/>
                  </a:cubicBezTo>
                  <a:cubicBezTo>
                    <a:pt x="633" y="438"/>
                    <a:pt x="578" y="486"/>
                    <a:pt x="566" y="497"/>
                  </a:cubicBezTo>
                  <a:cubicBezTo>
                    <a:pt x="553" y="507"/>
                    <a:pt x="527" y="520"/>
                    <a:pt x="526" y="534"/>
                  </a:cubicBezTo>
                  <a:cubicBezTo>
                    <a:pt x="525" y="547"/>
                    <a:pt x="508" y="593"/>
                    <a:pt x="494" y="606"/>
                  </a:cubicBezTo>
                  <a:cubicBezTo>
                    <a:pt x="481" y="618"/>
                    <a:pt x="454" y="679"/>
                    <a:pt x="450" y="688"/>
                  </a:cubicBezTo>
                  <a:cubicBezTo>
                    <a:pt x="445" y="696"/>
                    <a:pt x="412" y="734"/>
                    <a:pt x="409" y="739"/>
                  </a:cubicBezTo>
                  <a:cubicBezTo>
                    <a:pt x="406" y="743"/>
                    <a:pt x="386" y="775"/>
                    <a:pt x="377" y="782"/>
                  </a:cubicBezTo>
                  <a:cubicBezTo>
                    <a:pt x="368" y="789"/>
                    <a:pt x="325" y="843"/>
                    <a:pt x="323" y="844"/>
                  </a:cubicBezTo>
                  <a:cubicBezTo>
                    <a:pt x="322" y="845"/>
                    <a:pt x="298" y="814"/>
                    <a:pt x="283" y="808"/>
                  </a:cubicBezTo>
                  <a:cubicBezTo>
                    <a:pt x="269" y="802"/>
                    <a:pt x="227" y="809"/>
                    <a:pt x="230" y="796"/>
                  </a:cubicBezTo>
                  <a:cubicBezTo>
                    <a:pt x="234" y="784"/>
                    <a:pt x="256" y="744"/>
                    <a:pt x="261" y="739"/>
                  </a:cubicBezTo>
                  <a:cubicBezTo>
                    <a:pt x="266" y="734"/>
                    <a:pt x="288" y="698"/>
                    <a:pt x="288" y="689"/>
                  </a:cubicBezTo>
                  <a:cubicBezTo>
                    <a:pt x="289" y="680"/>
                    <a:pt x="301" y="647"/>
                    <a:pt x="306" y="644"/>
                  </a:cubicBezTo>
                  <a:cubicBezTo>
                    <a:pt x="311" y="640"/>
                    <a:pt x="340" y="571"/>
                    <a:pt x="344" y="562"/>
                  </a:cubicBezTo>
                  <a:cubicBezTo>
                    <a:pt x="348" y="554"/>
                    <a:pt x="305" y="532"/>
                    <a:pt x="297" y="528"/>
                  </a:cubicBezTo>
                  <a:cubicBezTo>
                    <a:pt x="290" y="524"/>
                    <a:pt x="269" y="465"/>
                    <a:pt x="264" y="461"/>
                  </a:cubicBezTo>
                  <a:cubicBezTo>
                    <a:pt x="259" y="458"/>
                    <a:pt x="223" y="394"/>
                    <a:pt x="208" y="384"/>
                  </a:cubicBezTo>
                  <a:cubicBezTo>
                    <a:pt x="192" y="374"/>
                    <a:pt x="179" y="385"/>
                    <a:pt x="179" y="393"/>
                  </a:cubicBezTo>
                  <a:cubicBezTo>
                    <a:pt x="179" y="401"/>
                    <a:pt x="185" y="414"/>
                    <a:pt x="178" y="418"/>
                  </a:cubicBezTo>
                  <a:cubicBezTo>
                    <a:pt x="172" y="421"/>
                    <a:pt x="168" y="428"/>
                    <a:pt x="166" y="436"/>
                  </a:cubicBezTo>
                  <a:cubicBezTo>
                    <a:pt x="165" y="443"/>
                    <a:pt x="169" y="449"/>
                    <a:pt x="165" y="455"/>
                  </a:cubicBezTo>
                  <a:cubicBezTo>
                    <a:pt x="162" y="461"/>
                    <a:pt x="152" y="467"/>
                    <a:pt x="154" y="476"/>
                  </a:cubicBezTo>
                  <a:cubicBezTo>
                    <a:pt x="156" y="485"/>
                    <a:pt x="162" y="503"/>
                    <a:pt x="161" y="506"/>
                  </a:cubicBezTo>
                  <a:cubicBezTo>
                    <a:pt x="159" y="509"/>
                    <a:pt x="162" y="521"/>
                    <a:pt x="157" y="534"/>
                  </a:cubicBezTo>
                  <a:cubicBezTo>
                    <a:pt x="151" y="546"/>
                    <a:pt x="119" y="608"/>
                    <a:pt x="118" y="602"/>
                  </a:cubicBezTo>
                  <a:cubicBezTo>
                    <a:pt x="117" y="596"/>
                    <a:pt x="61" y="525"/>
                    <a:pt x="53" y="513"/>
                  </a:cubicBezTo>
                  <a:cubicBezTo>
                    <a:pt x="45" y="502"/>
                    <a:pt x="27" y="447"/>
                    <a:pt x="28" y="444"/>
                  </a:cubicBezTo>
                  <a:cubicBezTo>
                    <a:pt x="29" y="441"/>
                    <a:pt x="29" y="399"/>
                    <a:pt x="27" y="392"/>
                  </a:cubicBezTo>
                  <a:cubicBezTo>
                    <a:pt x="24" y="385"/>
                    <a:pt x="29" y="329"/>
                    <a:pt x="30" y="326"/>
                  </a:cubicBezTo>
                  <a:cubicBezTo>
                    <a:pt x="30" y="323"/>
                    <a:pt x="32" y="292"/>
                    <a:pt x="22" y="264"/>
                  </a:cubicBezTo>
                  <a:cubicBezTo>
                    <a:pt x="13" y="237"/>
                    <a:pt x="0" y="181"/>
                    <a:pt x="2" y="175"/>
                  </a:cubicBezTo>
                  <a:cubicBezTo>
                    <a:pt x="4" y="170"/>
                    <a:pt x="14" y="138"/>
                    <a:pt x="34" y="126"/>
                  </a:cubicBezTo>
                  <a:cubicBezTo>
                    <a:pt x="53" y="113"/>
                    <a:pt x="97" y="74"/>
                    <a:pt x="109" y="65"/>
                  </a:cubicBezTo>
                  <a:cubicBezTo>
                    <a:pt x="121" y="56"/>
                    <a:pt x="152" y="40"/>
                    <a:pt x="162" y="42"/>
                  </a:cubicBezTo>
                  <a:cubicBezTo>
                    <a:pt x="171" y="45"/>
                    <a:pt x="183" y="59"/>
                    <a:pt x="203" y="99"/>
                  </a:cubicBezTo>
                  <a:cubicBezTo>
                    <a:pt x="224" y="139"/>
                    <a:pt x="266" y="168"/>
                    <a:pt x="266" y="168"/>
                  </a:cubicBezTo>
                  <a:close/>
                </a:path>
              </a:pathLst>
            </a:custGeom>
            <a:solidFill>
              <a:srgbClr val="BDD5E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10B3976F-186F-41E3-ABF8-1874E59153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4750" y="3184525"/>
              <a:ext cx="327025" cy="760413"/>
            </a:xfrm>
            <a:custGeom>
              <a:avLst/>
              <a:gdLst>
                <a:gd name="T0" fmla="*/ 0 w 87"/>
                <a:gd name="T1" fmla="*/ 181 h 203"/>
                <a:gd name="T2" fmla="*/ 63 w 87"/>
                <a:gd name="T3" fmla="*/ 198 h 203"/>
                <a:gd name="T4" fmla="*/ 73 w 87"/>
                <a:gd name="T5" fmla="*/ 167 h 203"/>
                <a:gd name="T6" fmla="*/ 85 w 87"/>
                <a:gd name="T7" fmla="*/ 52 h 203"/>
                <a:gd name="T8" fmla="*/ 75 w 87"/>
                <a:gd name="T9" fmla="*/ 12 h 203"/>
                <a:gd name="T10" fmla="*/ 76 w 87"/>
                <a:gd name="T11" fmla="*/ 45 h 203"/>
                <a:gd name="T12" fmla="*/ 74 w 87"/>
                <a:gd name="T13" fmla="*/ 108 h 203"/>
                <a:gd name="T14" fmla="*/ 60 w 87"/>
                <a:gd name="T15" fmla="*/ 183 h 203"/>
                <a:gd name="T16" fmla="*/ 21 w 87"/>
                <a:gd name="T17" fmla="*/ 180 h 203"/>
                <a:gd name="T18" fmla="*/ 0 w 87"/>
                <a:gd name="T19" fmla="*/ 18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203">
                  <a:moveTo>
                    <a:pt x="0" y="181"/>
                  </a:moveTo>
                  <a:cubicBezTo>
                    <a:pt x="0" y="181"/>
                    <a:pt x="55" y="192"/>
                    <a:pt x="63" y="198"/>
                  </a:cubicBezTo>
                  <a:cubicBezTo>
                    <a:pt x="71" y="203"/>
                    <a:pt x="72" y="172"/>
                    <a:pt x="73" y="167"/>
                  </a:cubicBezTo>
                  <a:cubicBezTo>
                    <a:pt x="73" y="161"/>
                    <a:pt x="87" y="57"/>
                    <a:pt x="85" y="52"/>
                  </a:cubicBezTo>
                  <a:cubicBezTo>
                    <a:pt x="84" y="47"/>
                    <a:pt x="79" y="0"/>
                    <a:pt x="75" y="12"/>
                  </a:cubicBezTo>
                  <a:cubicBezTo>
                    <a:pt x="72" y="24"/>
                    <a:pt x="75" y="37"/>
                    <a:pt x="76" y="45"/>
                  </a:cubicBezTo>
                  <a:cubicBezTo>
                    <a:pt x="78" y="53"/>
                    <a:pt x="78" y="96"/>
                    <a:pt x="74" y="108"/>
                  </a:cubicBezTo>
                  <a:cubicBezTo>
                    <a:pt x="71" y="120"/>
                    <a:pt x="69" y="180"/>
                    <a:pt x="60" y="183"/>
                  </a:cubicBezTo>
                  <a:cubicBezTo>
                    <a:pt x="50" y="185"/>
                    <a:pt x="29" y="180"/>
                    <a:pt x="21" y="180"/>
                  </a:cubicBezTo>
                  <a:cubicBezTo>
                    <a:pt x="13" y="180"/>
                    <a:pt x="0" y="181"/>
                    <a:pt x="0" y="18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AC2D2574-16A3-4A39-B33C-E59588FC7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5338" y="3652838"/>
              <a:ext cx="236537" cy="325438"/>
            </a:xfrm>
            <a:custGeom>
              <a:avLst/>
              <a:gdLst>
                <a:gd name="T0" fmla="*/ 63 w 63"/>
                <a:gd name="T1" fmla="*/ 58 h 87"/>
                <a:gd name="T2" fmla="*/ 28 w 63"/>
                <a:gd name="T3" fmla="*/ 78 h 87"/>
                <a:gd name="T4" fmla="*/ 17 w 63"/>
                <a:gd name="T5" fmla="*/ 72 h 87"/>
                <a:gd name="T6" fmla="*/ 0 w 63"/>
                <a:gd name="T7" fmla="*/ 0 h 87"/>
                <a:gd name="T8" fmla="*/ 14 w 63"/>
                <a:gd name="T9" fmla="*/ 33 h 87"/>
                <a:gd name="T10" fmla="*/ 24 w 63"/>
                <a:gd name="T11" fmla="*/ 69 h 87"/>
                <a:gd name="T12" fmla="*/ 63 w 63"/>
                <a:gd name="T13" fmla="*/ 5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87">
                  <a:moveTo>
                    <a:pt x="63" y="58"/>
                  </a:moveTo>
                  <a:cubicBezTo>
                    <a:pt x="62" y="58"/>
                    <a:pt x="35" y="69"/>
                    <a:pt x="28" y="78"/>
                  </a:cubicBezTo>
                  <a:cubicBezTo>
                    <a:pt x="20" y="87"/>
                    <a:pt x="19" y="84"/>
                    <a:pt x="17" y="72"/>
                  </a:cubicBezTo>
                  <a:cubicBezTo>
                    <a:pt x="16" y="60"/>
                    <a:pt x="0" y="0"/>
                    <a:pt x="0" y="0"/>
                  </a:cubicBezTo>
                  <a:cubicBezTo>
                    <a:pt x="0" y="0"/>
                    <a:pt x="12" y="19"/>
                    <a:pt x="14" y="33"/>
                  </a:cubicBezTo>
                  <a:cubicBezTo>
                    <a:pt x="16" y="47"/>
                    <a:pt x="19" y="70"/>
                    <a:pt x="24" y="69"/>
                  </a:cubicBezTo>
                  <a:cubicBezTo>
                    <a:pt x="28" y="68"/>
                    <a:pt x="63" y="58"/>
                    <a:pt x="63" y="58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10AEF741-C266-4297-B26A-740C10C1B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5913" y="3402013"/>
              <a:ext cx="396875" cy="306388"/>
            </a:xfrm>
            <a:custGeom>
              <a:avLst/>
              <a:gdLst>
                <a:gd name="T0" fmla="*/ 53 w 106"/>
                <a:gd name="T1" fmla="*/ 2 h 82"/>
                <a:gd name="T2" fmla="*/ 24 w 106"/>
                <a:gd name="T3" fmla="*/ 25 h 82"/>
                <a:gd name="T4" fmla="*/ 0 w 106"/>
                <a:gd name="T5" fmla="*/ 45 h 82"/>
                <a:gd name="T6" fmla="*/ 33 w 106"/>
                <a:gd name="T7" fmla="*/ 39 h 82"/>
                <a:gd name="T8" fmla="*/ 44 w 106"/>
                <a:gd name="T9" fmla="*/ 74 h 82"/>
                <a:gd name="T10" fmla="*/ 52 w 106"/>
                <a:gd name="T11" fmla="*/ 34 h 82"/>
                <a:gd name="T12" fmla="*/ 77 w 106"/>
                <a:gd name="T13" fmla="*/ 55 h 82"/>
                <a:gd name="T14" fmla="*/ 92 w 106"/>
                <a:gd name="T15" fmla="*/ 47 h 82"/>
                <a:gd name="T16" fmla="*/ 68 w 106"/>
                <a:gd name="T17" fmla="*/ 14 h 82"/>
                <a:gd name="T18" fmla="*/ 92 w 106"/>
                <a:gd name="T19" fmla="*/ 5 h 82"/>
                <a:gd name="T20" fmla="*/ 53 w 106"/>
                <a:gd name="T21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82">
                  <a:moveTo>
                    <a:pt x="53" y="2"/>
                  </a:moveTo>
                  <a:cubicBezTo>
                    <a:pt x="53" y="2"/>
                    <a:pt x="27" y="23"/>
                    <a:pt x="24" y="25"/>
                  </a:cubicBezTo>
                  <a:cubicBezTo>
                    <a:pt x="20" y="28"/>
                    <a:pt x="0" y="45"/>
                    <a:pt x="0" y="45"/>
                  </a:cubicBezTo>
                  <a:cubicBezTo>
                    <a:pt x="0" y="45"/>
                    <a:pt x="28" y="31"/>
                    <a:pt x="33" y="39"/>
                  </a:cubicBezTo>
                  <a:cubicBezTo>
                    <a:pt x="37" y="47"/>
                    <a:pt x="36" y="82"/>
                    <a:pt x="44" y="74"/>
                  </a:cubicBezTo>
                  <a:cubicBezTo>
                    <a:pt x="52" y="65"/>
                    <a:pt x="52" y="34"/>
                    <a:pt x="52" y="34"/>
                  </a:cubicBezTo>
                  <a:cubicBezTo>
                    <a:pt x="52" y="34"/>
                    <a:pt x="66" y="45"/>
                    <a:pt x="77" y="55"/>
                  </a:cubicBezTo>
                  <a:cubicBezTo>
                    <a:pt x="87" y="65"/>
                    <a:pt x="98" y="56"/>
                    <a:pt x="92" y="47"/>
                  </a:cubicBezTo>
                  <a:cubicBezTo>
                    <a:pt x="85" y="39"/>
                    <a:pt x="55" y="14"/>
                    <a:pt x="68" y="14"/>
                  </a:cubicBezTo>
                  <a:cubicBezTo>
                    <a:pt x="81" y="14"/>
                    <a:pt x="106" y="9"/>
                    <a:pt x="92" y="5"/>
                  </a:cubicBezTo>
                  <a:cubicBezTo>
                    <a:pt x="78" y="0"/>
                    <a:pt x="53" y="2"/>
                    <a:pt x="53" y="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99538E51-0F87-42F4-8590-605847233A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8750" y="3990975"/>
              <a:ext cx="438150" cy="685800"/>
            </a:xfrm>
            <a:custGeom>
              <a:avLst/>
              <a:gdLst>
                <a:gd name="T0" fmla="*/ 26 w 117"/>
                <a:gd name="T1" fmla="*/ 12 h 183"/>
                <a:gd name="T2" fmla="*/ 71 w 117"/>
                <a:gd name="T3" fmla="*/ 137 h 183"/>
                <a:gd name="T4" fmla="*/ 98 w 117"/>
                <a:gd name="T5" fmla="*/ 173 h 183"/>
                <a:gd name="T6" fmla="*/ 38 w 117"/>
                <a:gd name="T7" fmla="*/ 146 h 183"/>
                <a:gd name="T8" fmla="*/ 19 w 117"/>
                <a:gd name="T9" fmla="*/ 112 h 183"/>
                <a:gd name="T10" fmla="*/ 17 w 117"/>
                <a:gd name="T11" fmla="*/ 71 h 183"/>
                <a:gd name="T12" fmla="*/ 0 w 117"/>
                <a:gd name="T13" fmla="*/ 0 h 183"/>
                <a:gd name="T14" fmla="*/ 14 w 117"/>
                <a:gd name="T15" fmla="*/ 10 h 183"/>
                <a:gd name="T16" fmla="*/ 26 w 117"/>
                <a:gd name="T17" fmla="*/ 1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83">
                  <a:moveTo>
                    <a:pt x="26" y="12"/>
                  </a:moveTo>
                  <a:cubicBezTo>
                    <a:pt x="26" y="12"/>
                    <a:pt x="56" y="117"/>
                    <a:pt x="71" y="137"/>
                  </a:cubicBezTo>
                  <a:cubicBezTo>
                    <a:pt x="86" y="157"/>
                    <a:pt x="117" y="183"/>
                    <a:pt x="98" y="173"/>
                  </a:cubicBezTo>
                  <a:cubicBezTo>
                    <a:pt x="78" y="162"/>
                    <a:pt x="39" y="147"/>
                    <a:pt x="38" y="146"/>
                  </a:cubicBezTo>
                  <a:cubicBezTo>
                    <a:pt x="36" y="146"/>
                    <a:pt x="19" y="117"/>
                    <a:pt x="19" y="112"/>
                  </a:cubicBezTo>
                  <a:cubicBezTo>
                    <a:pt x="19" y="106"/>
                    <a:pt x="18" y="77"/>
                    <a:pt x="17" y="71"/>
                  </a:cubicBezTo>
                  <a:cubicBezTo>
                    <a:pt x="15" y="66"/>
                    <a:pt x="0" y="0"/>
                    <a:pt x="0" y="0"/>
                  </a:cubicBezTo>
                  <a:cubicBezTo>
                    <a:pt x="0" y="0"/>
                    <a:pt x="11" y="6"/>
                    <a:pt x="14" y="10"/>
                  </a:cubicBezTo>
                  <a:cubicBezTo>
                    <a:pt x="18" y="13"/>
                    <a:pt x="26" y="12"/>
                    <a:pt x="26" y="1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14C095A-58E8-4347-97C9-ADB98C3EE70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9075" y="4511675"/>
              <a:ext cx="501650" cy="311150"/>
            </a:xfrm>
            <a:custGeom>
              <a:avLst/>
              <a:gdLst>
                <a:gd name="T0" fmla="*/ 10 w 134"/>
                <a:gd name="T1" fmla="*/ 25 h 83"/>
                <a:gd name="T2" fmla="*/ 41 w 134"/>
                <a:gd name="T3" fmla="*/ 50 h 83"/>
                <a:gd name="T4" fmla="*/ 108 w 134"/>
                <a:gd name="T5" fmla="*/ 50 h 83"/>
                <a:gd name="T6" fmla="*/ 121 w 134"/>
                <a:gd name="T7" fmla="*/ 54 h 83"/>
                <a:gd name="T8" fmla="*/ 82 w 134"/>
                <a:gd name="T9" fmla="*/ 79 h 83"/>
                <a:gd name="T10" fmla="*/ 50 w 134"/>
                <a:gd name="T11" fmla="*/ 77 h 83"/>
                <a:gd name="T12" fmla="*/ 10 w 134"/>
                <a:gd name="T13" fmla="*/ 54 h 83"/>
                <a:gd name="T14" fmla="*/ 55 w 134"/>
                <a:gd name="T15" fmla="*/ 64 h 83"/>
                <a:gd name="T16" fmla="*/ 14 w 134"/>
                <a:gd name="T17" fmla="*/ 42 h 83"/>
                <a:gd name="T18" fmla="*/ 0 w 134"/>
                <a:gd name="T19" fmla="*/ 0 h 83"/>
                <a:gd name="T20" fmla="*/ 10 w 134"/>
                <a:gd name="T21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83">
                  <a:moveTo>
                    <a:pt x="10" y="25"/>
                  </a:moveTo>
                  <a:cubicBezTo>
                    <a:pt x="13" y="28"/>
                    <a:pt x="27" y="50"/>
                    <a:pt x="41" y="50"/>
                  </a:cubicBezTo>
                  <a:cubicBezTo>
                    <a:pt x="55" y="50"/>
                    <a:pt x="99" y="49"/>
                    <a:pt x="108" y="50"/>
                  </a:cubicBezTo>
                  <a:cubicBezTo>
                    <a:pt x="118" y="51"/>
                    <a:pt x="134" y="45"/>
                    <a:pt x="121" y="54"/>
                  </a:cubicBezTo>
                  <a:cubicBezTo>
                    <a:pt x="107" y="64"/>
                    <a:pt x="83" y="77"/>
                    <a:pt x="82" y="79"/>
                  </a:cubicBezTo>
                  <a:cubicBezTo>
                    <a:pt x="80" y="81"/>
                    <a:pt x="69" y="83"/>
                    <a:pt x="50" y="77"/>
                  </a:cubicBezTo>
                  <a:cubicBezTo>
                    <a:pt x="32" y="71"/>
                    <a:pt x="1" y="48"/>
                    <a:pt x="10" y="54"/>
                  </a:cubicBezTo>
                  <a:cubicBezTo>
                    <a:pt x="18" y="60"/>
                    <a:pt x="67" y="69"/>
                    <a:pt x="55" y="64"/>
                  </a:cubicBezTo>
                  <a:cubicBezTo>
                    <a:pt x="43" y="59"/>
                    <a:pt x="20" y="52"/>
                    <a:pt x="14" y="42"/>
                  </a:cubicBezTo>
                  <a:cubicBezTo>
                    <a:pt x="7" y="32"/>
                    <a:pt x="0" y="0"/>
                    <a:pt x="0" y="0"/>
                  </a:cubicBezTo>
                  <a:lnTo>
                    <a:pt x="10" y="25"/>
                  </a:ln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9A9BEC17-84FF-4C4D-9BFA-16573D75EB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4475" y="4856163"/>
              <a:ext cx="450850" cy="109538"/>
            </a:xfrm>
            <a:custGeom>
              <a:avLst/>
              <a:gdLst>
                <a:gd name="T0" fmla="*/ 0 w 120"/>
                <a:gd name="T1" fmla="*/ 0 h 29"/>
                <a:gd name="T2" fmla="*/ 56 w 120"/>
                <a:gd name="T3" fmla="*/ 23 h 29"/>
                <a:gd name="T4" fmla="*/ 101 w 120"/>
                <a:gd name="T5" fmla="*/ 14 h 29"/>
                <a:gd name="T6" fmla="*/ 117 w 120"/>
                <a:gd name="T7" fmla="*/ 19 h 29"/>
                <a:gd name="T8" fmla="*/ 83 w 120"/>
                <a:gd name="T9" fmla="*/ 28 h 29"/>
                <a:gd name="T10" fmla="*/ 27 w 120"/>
                <a:gd name="T11" fmla="*/ 21 h 29"/>
                <a:gd name="T12" fmla="*/ 0 w 120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29">
                  <a:moveTo>
                    <a:pt x="0" y="0"/>
                  </a:moveTo>
                  <a:cubicBezTo>
                    <a:pt x="2" y="3"/>
                    <a:pt x="47" y="23"/>
                    <a:pt x="56" y="23"/>
                  </a:cubicBezTo>
                  <a:cubicBezTo>
                    <a:pt x="65" y="23"/>
                    <a:pt x="99" y="15"/>
                    <a:pt x="101" y="14"/>
                  </a:cubicBezTo>
                  <a:cubicBezTo>
                    <a:pt x="103" y="12"/>
                    <a:pt x="120" y="17"/>
                    <a:pt x="117" y="19"/>
                  </a:cubicBezTo>
                  <a:cubicBezTo>
                    <a:pt x="114" y="21"/>
                    <a:pt x="100" y="28"/>
                    <a:pt x="83" y="28"/>
                  </a:cubicBezTo>
                  <a:cubicBezTo>
                    <a:pt x="66" y="29"/>
                    <a:pt x="34" y="25"/>
                    <a:pt x="27" y="21"/>
                  </a:cubicBezTo>
                  <a:cubicBezTo>
                    <a:pt x="20" y="1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B77927CC-027B-4161-B98A-76DF7BCCF3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4800" y="5040313"/>
              <a:ext cx="415925" cy="149225"/>
            </a:xfrm>
            <a:custGeom>
              <a:avLst/>
              <a:gdLst>
                <a:gd name="T0" fmla="*/ 0 w 111"/>
                <a:gd name="T1" fmla="*/ 0 h 40"/>
                <a:gd name="T2" fmla="*/ 44 w 111"/>
                <a:gd name="T3" fmla="*/ 29 h 40"/>
                <a:gd name="T4" fmla="*/ 98 w 111"/>
                <a:gd name="T5" fmla="*/ 12 h 40"/>
                <a:gd name="T6" fmla="*/ 108 w 111"/>
                <a:gd name="T7" fmla="*/ 14 h 40"/>
                <a:gd name="T8" fmla="*/ 90 w 111"/>
                <a:gd name="T9" fmla="*/ 35 h 40"/>
                <a:gd name="T10" fmla="*/ 46 w 111"/>
                <a:gd name="T11" fmla="*/ 36 h 40"/>
                <a:gd name="T12" fmla="*/ 0 w 111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0">
                  <a:moveTo>
                    <a:pt x="0" y="0"/>
                  </a:moveTo>
                  <a:cubicBezTo>
                    <a:pt x="7" y="9"/>
                    <a:pt x="30" y="27"/>
                    <a:pt x="44" y="29"/>
                  </a:cubicBezTo>
                  <a:cubicBezTo>
                    <a:pt x="58" y="30"/>
                    <a:pt x="97" y="14"/>
                    <a:pt x="98" y="12"/>
                  </a:cubicBezTo>
                  <a:cubicBezTo>
                    <a:pt x="99" y="11"/>
                    <a:pt x="109" y="7"/>
                    <a:pt x="108" y="14"/>
                  </a:cubicBezTo>
                  <a:cubicBezTo>
                    <a:pt x="106" y="21"/>
                    <a:pt x="111" y="32"/>
                    <a:pt x="90" y="35"/>
                  </a:cubicBezTo>
                  <a:cubicBezTo>
                    <a:pt x="70" y="38"/>
                    <a:pt x="56" y="40"/>
                    <a:pt x="46" y="36"/>
                  </a:cubicBezTo>
                  <a:cubicBezTo>
                    <a:pt x="36" y="3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5E8CED93-7C1A-4744-BE70-A8C2EE65CF4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525" y="3619500"/>
              <a:ext cx="674687" cy="963613"/>
            </a:xfrm>
            <a:custGeom>
              <a:avLst/>
              <a:gdLst>
                <a:gd name="T0" fmla="*/ 180 w 180"/>
                <a:gd name="T1" fmla="*/ 251 h 257"/>
                <a:gd name="T2" fmla="*/ 166 w 180"/>
                <a:gd name="T3" fmla="*/ 234 h 257"/>
                <a:gd name="T4" fmla="*/ 120 w 180"/>
                <a:gd name="T5" fmla="*/ 175 h 257"/>
                <a:gd name="T6" fmla="*/ 68 w 180"/>
                <a:gd name="T7" fmla="*/ 78 h 257"/>
                <a:gd name="T8" fmla="*/ 51 w 180"/>
                <a:gd name="T9" fmla="*/ 38 h 257"/>
                <a:gd name="T10" fmla="*/ 28 w 180"/>
                <a:gd name="T11" fmla="*/ 42 h 257"/>
                <a:gd name="T12" fmla="*/ 39 w 180"/>
                <a:gd name="T13" fmla="*/ 4 h 257"/>
                <a:gd name="T14" fmla="*/ 28 w 180"/>
                <a:gd name="T15" fmla="*/ 3 h 257"/>
                <a:gd name="T16" fmla="*/ 9 w 180"/>
                <a:gd name="T17" fmla="*/ 24 h 257"/>
                <a:gd name="T18" fmla="*/ 0 w 180"/>
                <a:gd name="T19" fmla="*/ 44 h 257"/>
                <a:gd name="T20" fmla="*/ 2 w 180"/>
                <a:gd name="T21" fmla="*/ 47 h 257"/>
                <a:gd name="T22" fmla="*/ 79 w 180"/>
                <a:gd name="T23" fmla="*/ 134 h 257"/>
                <a:gd name="T24" fmla="*/ 118 w 180"/>
                <a:gd name="T25" fmla="*/ 187 h 257"/>
                <a:gd name="T26" fmla="*/ 97 w 180"/>
                <a:gd name="T27" fmla="*/ 202 h 257"/>
                <a:gd name="T28" fmla="*/ 87 w 180"/>
                <a:gd name="T29" fmla="*/ 215 h 257"/>
                <a:gd name="T30" fmla="*/ 117 w 180"/>
                <a:gd name="T31" fmla="*/ 214 h 257"/>
                <a:gd name="T32" fmla="*/ 119 w 180"/>
                <a:gd name="T33" fmla="*/ 226 h 257"/>
                <a:gd name="T34" fmla="*/ 134 w 180"/>
                <a:gd name="T35" fmla="*/ 237 h 257"/>
                <a:gd name="T36" fmla="*/ 142 w 180"/>
                <a:gd name="T37" fmla="*/ 253 h 257"/>
                <a:gd name="T38" fmla="*/ 159 w 180"/>
                <a:gd name="T39" fmla="*/ 250 h 257"/>
                <a:gd name="T40" fmla="*/ 170 w 180"/>
                <a:gd name="T41" fmla="*/ 250 h 257"/>
                <a:gd name="T42" fmla="*/ 169 w 180"/>
                <a:gd name="T43" fmla="*/ 246 h 257"/>
                <a:gd name="T44" fmla="*/ 180 w 180"/>
                <a:gd name="T45" fmla="*/ 25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0" h="257">
                  <a:moveTo>
                    <a:pt x="180" y="251"/>
                  </a:moveTo>
                  <a:cubicBezTo>
                    <a:pt x="180" y="251"/>
                    <a:pt x="171" y="239"/>
                    <a:pt x="166" y="234"/>
                  </a:cubicBezTo>
                  <a:cubicBezTo>
                    <a:pt x="160" y="228"/>
                    <a:pt x="131" y="191"/>
                    <a:pt x="120" y="175"/>
                  </a:cubicBezTo>
                  <a:cubicBezTo>
                    <a:pt x="110" y="159"/>
                    <a:pt x="72" y="91"/>
                    <a:pt x="68" y="78"/>
                  </a:cubicBezTo>
                  <a:cubicBezTo>
                    <a:pt x="64" y="66"/>
                    <a:pt x="54" y="35"/>
                    <a:pt x="51" y="38"/>
                  </a:cubicBezTo>
                  <a:cubicBezTo>
                    <a:pt x="47" y="40"/>
                    <a:pt x="28" y="48"/>
                    <a:pt x="28" y="42"/>
                  </a:cubicBezTo>
                  <a:cubicBezTo>
                    <a:pt x="29" y="36"/>
                    <a:pt x="39" y="6"/>
                    <a:pt x="39" y="4"/>
                  </a:cubicBezTo>
                  <a:cubicBezTo>
                    <a:pt x="39" y="1"/>
                    <a:pt x="33" y="0"/>
                    <a:pt x="28" y="3"/>
                  </a:cubicBezTo>
                  <a:cubicBezTo>
                    <a:pt x="22" y="5"/>
                    <a:pt x="13" y="15"/>
                    <a:pt x="9" y="24"/>
                  </a:cubicBezTo>
                  <a:cubicBezTo>
                    <a:pt x="4" y="32"/>
                    <a:pt x="0" y="44"/>
                    <a:pt x="0" y="44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2" y="47"/>
                    <a:pt x="72" y="128"/>
                    <a:pt x="79" y="134"/>
                  </a:cubicBezTo>
                  <a:cubicBezTo>
                    <a:pt x="83" y="138"/>
                    <a:pt x="100" y="163"/>
                    <a:pt x="118" y="187"/>
                  </a:cubicBezTo>
                  <a:cubicBezTo>
                    <a:pt x="114" y="190"/>
                    <a:pt x="103" y="197"/>
                    <a:pt x="97" y="202"/>
                  </a:cubicBezTo>
                  <a:cubicBezTo>
                    <a:pt x="89" y="207"/>
                    <a:pt x="72" y="216"/>
                    <a:pt x="87" y="215"/>
                  </a:cubicBezTo>
                  <a:cubicBezTo>
                    <a:pt x="101" y="214"/>
                    <a:pt x="115" y="204"/>
                    <a:pt x="117" y="214"/>
                  </a:cubicBezTo>
                  <a:cubicBezTo>
                    <a:pt x="118" y="223"/>
                    <a:pt x="107" y="227"/>
                    <a:pt x="119" y="226"/>
                  </a:cubicBezTo>
                  <a:cubicBezTo>
                    <a:pt x="131" y="225"/>
                    <a:pt x="134" y="223"/>
                    <a:pt x="134" y="237"/>
                  </a:cubicBezTo>
                  <a:cubicBezTo>
                    <a:pt x="133" y="250"/>
                    <a:pt x="137" y="257"/>
                    <a:pt x="142" y="253"/>
                  </a:cubicBezTo>
                  <a:cubicBezTo>
                    <a:pt x="146" y="249"/>
                    <a:pt x="156" y="243"/>
                    <a:pt x="159" y="250"/>
                  </a:cubicBezTo>
                  <a:cubicBezTo>
                    <a:pt x="162" y="256"/>
                    <a:pt x="169" y="252"/>
                    <a:pt x="170" y="250"/>
                  </a:cubicBezTo>
                  <a:cubicBezTo>
                    <a:pt x="171" y="249"/>
                    <a:pt x="170" y="248"/>
                    <a:pt x="169" y="246"/>
                  </a:cubicBezTo>
                  <a:cubicBezTo>
                    <a:pt x="175" y="249"/>
                    <a:pt x="180" y="251"/>
                    <a:pt x="180" y="25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6501A1C4-E0F2-489F-A45A-03959D8AAB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3113" y="3963988"/>
              <a:ext cx="315912" cy="454025"/>
            </a:xfrm>
            <a:custGeom>
              <a:avLst/>
              <a:gdLst>
                <a:gd name="T0" fmla="*/ 71 w 84"/>
                <a:gd name="T1" fmla="*/ 0 h 121"/>
                <a:gd name="T2" fmla="*/ 11 w 84"/>
                <a:gd name="T3" fmla="*/ 48 h 121"/>
                <a:gd name="T4" fmla="*/ 29 w 84"/>
                <a:gd name="T5" fmla="*/ 63 h 121"/>
                <a:gd name="T6" fmla="*/ 29 w 84"/>
                <a:gd name="T7" fmla="*/ 118 h 121"/>
                <a:gd name="T8" fmla="*/ 67 w 84"/>
                <a:gd name="T9" fmla="*/ 37 h 121"/>
                <a:gd name="T10" fmla="*/ 81 w 84"/>
                <a:gd name="T11" fmla="*/ 15 h 121"/>
                <a:gd name="T12" fmla="*/ 71 w 84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1">
                  <a:moveTo>
                    <a:pt x="71" y="0"/>
                  </a:moveTo>
                  <a:cubicBezTo>
                    <a:pt x="71" y="0"/>
                    <a:pt x="0" y="50"/>
                    <a:pt x="11" y="48"/>
                  </a:cubicBezTo>
                  <a:cubicBezTo>
                    <a:pt x="22" y="47"/>
                    <a:pt x="28" y="50"/>
                    <a:pt x="29" y="63"/>
                  </a:cubicBezTo>
                  <a:cubicBezTo>
                    <a:pt x="29" y="76"/>
                    <a:pt x="27" y="121"/>
                    <a:pt x="29" y="118"/>
                  </a:cubicBezTo>
                  <a:cubicBezTo>
                    <a:pt x="32" y="116"/>
                    <a:pt x="63" y="44"/>
                    <a:pt x="67" y="37"/>
                  </a:cubicBezTo>
                  <a:cubicBezTo>
                    <a:pt x="71" y="30"/>
                    <a:pt x="84" y="21"/>
                    <a:pt x="81" y="15"/>
                  </a:cubicBezTo>
                  <a:cubicBezTo>
                    <a:pt x="77" y="1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3">
              <a:extLst>
                <a:ext uri="{FF2B5EF4-FFF2-40B4-BE49-F238E27FC236}">
                  <a16:creationId xmlns:a16="http://schemas.microsoft.com/office/drawing/2014/main" id="{20B79242-34A0-4DAC-898C-ABE8950E3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3350" y="3573463"/>
              <a:ext cx="727075" cy="1681163"/>
            </a:xfrm>
            <a:custGeom>
              <a:avLst/>
              <a:gdLst>
                <a:gd name="T0" fmla="*/ 34 w 194"/>
                <a:gd name="T1" fmla="*/ 37 h 448"/>
                <a:gd name="T2" fmla="*/ 47 w 194"/>
                <a:gd name="T3" fmla="*/ 73 h 448"/>
                <a:gd name="T4" fmla="*/ 54 w 194"/>
                <a:gd name="T5" fmla="*/ 93 h 448"/>
                <a:gd name="T6" fmla="*/ 46 w 194"/>
                <a:gd name="T7" fmla="*/ 113 h 448"/>
                <a:gd name="T8" fmla="*/ 56 w 194"/>
                <a:gd name="T9" fmla="*/ 160 h 448"/>
                <a:gd name="T10" fmla="*/ 45 w 194"/>
                <a:gd name="T11" fmla="*/ 185 h 448"/>
                <a:gd name="T12" fmla="*/ 34 w 194"/>
                <a:gd name="T13" fmla="*/ 221 h 448"/>
                <a:gd name="T14" fmla="*/ 25 w 194"/>
                <a:gd name="T15" fmla="*/ 341 h 448"/>
                <a:gd name="T16" fmla="*/ 14 w 194"/>
                <a:gd name="T17" fmla="*/ 404 h 448"/>
                <a:gd name="T18" fmla="*/ 0 w 194"/>
                <a:gd name="T19" fmla="*/ 448 h 448"/>
                <a:gd name="T20" fmla="*/ 27 w 194"/>
                <a:gd name="T21" fmla="*/ 405 h 448"/>
                <a:gd name="T22" fmla="*/ 55 w 194"/>
                <a:gd name="T23" fmla="*/ 362 h 448"/>
                <a:gd name="T24" fmla="*/ 118 w 194"/>
                <a:gd name="T25" fmla="*/ 388 h 448"/>
                <a:gd name="T26" fmla="*/ 144 w 194"/>
                <a:gd name="T27" fmla="*/ 405 h 448"/>
                <a:gd name="T28" fmla="*/ 113 w 194"/>
                <a:gd name="T29" fmla="*/ 350 h 448"/>
                <a:gd name="T30" fmla="*/ 39 w 194"/>
                <a:gd name="T31" fmla="*/ 338 h 448"/>
                <a:gd name="T32" fmla="*/ 42 w 194"/>
                <a:gd name="T33" fmla="*/ 265 h 448"/>
                <a:gd name="T34" fmla="*/ 100 w 194"/>
                <a:gd name="T35" fmla="*/ 280 h 448"/>
                <a:gd name="T36" fmla="*/ 92 w 194"/>
                <a:gd name="T37" fmla="*/ 256 h 448"/>
                <a:gd name="T38" fmla="*/ 87 w 194"/>
                <a:gd name="T39" fmla="*/ 234 h 448"/>
                <a:gd name="T40" fmla="*/ 174 w 194"/>
                <a:gd name="T41" fmla="*/ 258 h 448"/>
                <a:gd name="T42" fmla="*/ 190 w 194"/>
                <a:gd name="T43" fmla="*/ 228 h 448"/>
                <a:gd name="T44" fmla="*/ 121 w 194"/>
                <a:gd name="T45" fmla="*/ 245 h 448"/>
                <a:gd name="T46" fmla="*/ 51 w 194"/>
                <a:gd name="T47" fmla="*/ 201 h 448"/>
                <a:gd name="T48" fmla="*/ 95 w 194"/>
                <a:gd name="T49" fmla="*/ 168 h 448"/>
                <a:gd name="T50" fmla="*/ 193 w 194"/>
                <a:gd name="T51" fmla="*/ 78 h 448"/>
                <a:gd name="T52" fmla="*/ 127 w 194"/>
                <a:gd name="T53" fmla="*/ 129 h 448"/>
                <a:gd name="T54" fmla="*/ 88 w 194"/>
                <a:gd name="T55" fmla="*/ 141 h 448"/>
                <a:gd name="T56" fmla="*/ 102 w 194"/>
                <a:gd name="T57" fmla="*/ 109 h 448"/>
                <a:gd name="T58" fmla="*/ 167 w 194"/>
                <a:gd name="T59" fmla="*/ 20 h 448"/>
                <a:gd name="T60" fmla="*/ 110 w 194"/>
                <a:gd name="T61" fmla="*/ 70 h 448"/>
                <a:gd name="T62" fmla="*/ 66 w 194"/>
                <a:gd name="T63" fmla="*/ 86 h 448"/>
                <a:gd name="T64" fmla="*/ 121 w 194"/>
                <a:gd name="T65" fmla="*/ 32 h 448"/>
                <a:gd name="T66" fmla="*/ 81 w 194"/>
                <a:gd name="T67" fmla="*/ 53 h 448"/>
                <a:gd name="T68" fmla="*/ 101 w 194"/>
                <a:gd name="T69" fmla="*/ 19 h 448"/>
                <a:gd name="T70" fmla="*/ 92 w 194"/>
                <a:gd name="T71" fmla="*/ 11 h 448"/>
                <a:gd name="T72" fmla="*/ 34 w 194"/>
                <a:gd name="T73" fmla="*/ 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448">
                  <a:moveTo>
                    <a:pt x="34" y="37"/>
                  </a:moveTo>
                  <a:cubicBezTo>
                    <a:pt x="36" y="49"/>
                    <a:pt x="46" y="70"/>
                    <a:pt x="47" y="73"/>
                  </a:cubicBezTo>
                  <a:cubicBezTo>
                    <a:pt x="49" y="75"/>
                    <a:pt x="59" y="86"/>
                    <a:pt x="54" y="93"/>
                  </a:cubicBezTo>
                  <a:cubicBezTo>
                    <a:pt x="49" y="99"/>
                    <a:pt x="43" y="101"/>
                    <a:pt x="46" y="113"/>
                  </a:cubicBezTo>
                  <a:cubicBezTo>
                    <a:pt x="49" y="125"/>
                    <a:pt x="57" y="151"/>
                    <a:pt x="56" y="160"/>
                  </a:cubicBezTo>
                  <a:cubicBezTo>
                    <a:pt x="55" y="169"/>
                    <a:pt x="54" y="182"/>
                    <a:pt x="45" y="185"/>
                  </a:cubicBezTo>
                  <a:cubicBezTo>
                    <a:pt x="36" y="188"/>
                    <a:pt x="34" y="212"/>
                    <a:pt x="34" y="221"/>
                  </a:cubicBezTo>
                  <a:cubicBezTo>
                    <a:pt x="35" y="230"/>
                    <a:pt x="29" y="328"/>
                    <a:pt x="25" y="341"/>
                  </a:cubicBezTo>
                  <a:cubicBezTo>
                    <a:pt x="21" y="355"/>
                    <a:pt x="17" y="392"/>
                    <a:pt x="14" y="404"/>
                  </a:cubicBezTo>
                  <a:cubicBezTo>
                    <a:pt x="11" y="417"/>
                    <a:pt x="0" y="448"/>
                    <a:pt x="0" y="448"/>
                  </a:cubicBezTo>
                  <a:cubicBezTo>
                    <a:pt x="0" y="448"/>
                    <a:pt x="18" y="423"/>
                    <a:pt x="27" y="405"/>
                  </a:cubicBezTo>
                  <a:cubicBezTo>
                    <a:pt x="35" y="387"/>
                    <a:pt x="39" y="360"/>
                    <a:pt x="55" y="362"/>
                  </a:cubicBezTo>
                  <a:cubicBezTo>
                    <a:pt x="71" y="364"/>
                    <a:pt x="108" y="376"/>
                    <a:pt x="118" y="388"/>
                  </a:cubicBezTo>
                  <a:cubicBezTo>
                    <a:pt x="128" y="400"/>
                    <a:pt x="148" y="423"/>
                    <a:pt x="144" y="405"/>
                  </a:cubicBezTo>
                  <a:cubicBezTo>
                    <a:pt x="141" y="387"/>
                    <a:pt x="134" y="358"/>
                    <a:pt x="113" y="350"/>
                  </a:cubicBezTo>
                  <a:cubicBezTo>
                    <a:pt x="91" y="342"/>
                    <a:pt x="42" y="338"/>
                    <a:pt x="39" y="338"/>
                  </a:cubicBezTo>
                  <a:cubicBezTo>
                    <a:pt x="36" y="337"/>
                    <a:pt x="40" y="270"/>
                    <a:pt x="42" y="265"/>
                  </a:cubicBezTo>
                  <a:cubicBezTo>
                    <a:pt x="45" y="261"/>
                    <a:pt x="95" y="281"/>
                    <a:pt x="100" y="280"/>
                  </a:cubicBezTo>
                  <a:cubicBezTo>
                    <a:pt x="105" y="279"/>
                    <a:pt x="103" y="268"/>
                    <a:pt x="92" y="256"/>
                  </a:cubicBezTo>
                  <a:cubicBezTo>
                    <a:pt x="80" y="245"/>
                    <a:pt x="53" y="213"/>
                    <a:pt x="87" y="234"/>
                  </a:cubicBezTo>
                  <a:cubicBezTo>
                    <a:pt x="122" y="255"/>
                    <a:pt x="167" y="267"/>
                    <a:pt x="174" y="258"/>
                  </a:cubicBezTo>
                  <a:cubicBezTo>
                    <a:pt x="181" y="248"/>
                    <a:pt x="194" y="225"/>
                    <a:pt x="190" y="228"/>
                  </a:cubicBezTo>
                  <a:cubicBezTo>
                    <a:pt x="187" y="230"/>
                    <a:pt x="144" y="253"/>
                    <a:pt x="121" y="245"/>
                  </a:cubicBezTo>
                  <a:cubicBezTo>
                    <a:pt x="98" y="236"/>
                    <a:pt x="56" y="200"/>
                    <a:pt x="51" y="201"/>
                  </a:cubicBezTo>
                  <a:cubicBezTo>
                    <a:pt x="45" y="201"/>
                    <a:pt x="75" y="177"/>
                    <a:pt x="95" y="168"/>
                  </a:cubicBezTo>
                  <a:cubicBezTo>
                    <a:pt x="114" y="158"/>
                    <a:pt x="193" y="80"/>
                    <a:pt x="193" y="78"/>
                  </a:cubicBezTo>
                  <a:cubicBezTo>
                    <a:pt x="193" y="76"/>
                    <a:pt x="152" y="117"/>
                    <a:pt x="127" y="129"/>
                  </a:cubicBezTo>
                  <a:cubicBezTo>
                    <a:pt x="102" y="141"/>
                    <a:pt x="90" y="142"/>
                    <a:pt x="88" y="141"/>
                  </a:cubicBezTo>
                  <a:cubicBezTo>
                    <a:pt x="85" y="141"/>
                    <a:pt x="88" y="124"/>
                    <a:pt x="102" y="109"/>
                  </a:cubicBezTo>
                  <a:cubicBezTo>
                    <a:pt x="117" y="94"/>
                    <a:pt x="175" y="11"/>
                    <a:pt x="167" y="20"/>
                  </a:cubicBezTo>
                  <a:cubicBezTo>
                    <a:pt x="159" y="28"/>
                    <a:pt x="132" y="59"/>
                    <a:pt x="110" y="70"/>
                  </a:cubicBezTo>
                  <a:cubicBezTo>
                    <a:pt x="88" y="82"/>
                    <a:pt x="59" y="94"/>
                    <a:pt x="66" y="86"/>
                  </a:cubicBezTo>
                  <a:cubicBezTo>
                    <a:pt x="72" y="79"/>
                    <a:pt x="130" y="28"/>
                    <a:pt x="121" y="32"/>
                  </a:cubicBezTo>
                  <a:cubicBezTo>
                    <a:pt x="111" y="36"/>
                    <a:pt x="96" y="46"/>
                    <a:pt x="81" y="53"/>
                  </a:cubicBezTo>
                  <a:cubicBezTo>
                    <a:pt x="65" y="61"/>
                    <a:pt x="85" y="32"/>
                    <a:pt x="101" y="19"/>
                  </a:cubicBezTo>
                  <a:cubicBezTo>
                    <a:pt x="118" y="6"/>
                    <a:pt x="108" y="0"/>
                    <a:pt x="92" y="11"/>
                  </a:cubicBezTo>
                  <a:cubicBezTo>
                    <a:pt x="75" y="22"/>
                    <a:pt x="34" y="37"/>
                    <a:pt x="34" y="37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4">
              <a:extLst>
                <a:ext uri="{FF2B5EF4-FFF2-40B4-BE49-F238E27FC236}">
                  <a16:creationId xmlns:a16="http://schemas.microsoft.com/office/drawing/2014/main" id="{BDE0048C-6CB2-49B4-9220-6B9B595106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63" y="3259138"/>
              <a:ext cx="427037" cy="311150"/>
            </a:xfrm>
            <a:custGeom>
              <a:avLst/>
              <a:gdLst>
                <a:gd name="T0" fmla="*/ 5 w 114"/>
                <a:gd name="T1" fmla="*/ 0 h 83"/>
                <a:gd name="T2" fmla="*/ 14 w 114"/>
                <a:gd name="T3" fmla="*/ 31 h 83"/>
                <a:gd name="T4" fmla="*/ 6 w 114"/>
                <a:gd name="T5" fmla="*/ 69 h 83"/>
                <a:gd name="T6" fmla="*/ 39 w 114"/>
                <a:gd name="T7" fmla="*/ 19 h 83"/>
                <a:gd name="T8" fmla="*/ 36 w 114"/>
                <a:gd name="T9" fmla="*/ 44 h 83"/>
                <a:gd name="T10" fmla="*/ 50 w 114"/>
                <a:gd name="T11" fmla="*/ 52 h 83"/>
                <a:gd name="T12" fmla="*/ 78 w 114"/>
                <a:gd name="T13" fmla="*/ 41 h 83"/>
                <a:gd name="T14" fmla="*/ 114 w 114"/>
                <a:gd name="T15" fmla="*/ 79 h 83"/>
                <a:gd name="T16" fmla="*/ 97 w 114"/>
                <a:gd name="T17" fmla="*/ 49 h 83"/>
                <a:gd name="T18" fmla="*/ 42 w 114"/>
                <a:gd name="T19" fmla="*/ 7 h 83"/>
                <a:gd name="T20" fmla="*/ 5 w 114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83">
                  <a:moveTo>
                    <a:pt x="5" y="0"/>
                  </a:moveTo>
                  <a:cubicBezTo>
                    <a:pt x="9" y="1"/>
                    <a:pt x="21" y="16"/>
                    <a:pt x="14" y="31"/>
                  </a:cubicBezTo>
                  <a:cubicBezTo>
                    <a:pt x="7" y="46"/>
                    <a:pt x="0" y="83"/>
                    <a:pt x="6" y="69"/>
                  </a:cubicBezTo>
                  <a:cubicBezTo>
                    <a:pt x="13" y="55"/>
                    <a:pt x="38" y="19"/>
                    <a:pt x="39" y="19"/>
                  </a:cubicBezTo>
                  <a:cubicBezTo>
                    <a:pt x="41" y="19"/>
                    <a:pt x="41" y="27"/>
                    <a:pt x="36" y="44"/>
                  </a:cubicBezTo>
                  <a:cubicBezTo>
                    <a:pt x="32" y="60"/>
                    <a:pt x="48" y="53"/>
                    <a:pt x="50" y="52"/>
                  </a:cubicBezTo>
                  <a:cubicBezTo>
                    <a:pt x="52" y="51"/>
                    <a:pt x="66" y="29"/>
                    <a:pt x="78" y="41"/>
                  </a:cubicBezTo>
                  <a:cubicBezTo>
                    <a:pt x="90" y="53"/>
                    <a:pt x="114" y="79"/>
                    <a:pt x="114" y="79"/>
                  </a:cubicBezTo>
                  <a:cubicBezTo>
                    <a:pt x="114" y="79"/>
                    <a:pt x="109" y="62"/>
                    <a:pt x="97" y="49"/>
                  </a:cubicBezTo>
                  <a:cubicBezTo>
                    <a:pt x="85" y="37"/>
                    <a:pt x="67" y="12"/>
                    <a:pt x="42" y="7"/>
                  </a:cubicBezTo>
                  <a:cubicBezTo>
                    <a:pt x="18" y="3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AC1FC36F-0A98-44B2-8C89-DDBF0DD9A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1750" y="4492625"/>
              <a:ext cx="214312" cy="165100"/>
            </a:xfrm>
            <a:custGeom>
              <a:avLst/>
              <a:gdLst>
                <a:gd name="T0" fmla="*/ 0 w 57"/>
                <a:gd name="T1" fmla="*/ 0 h 44"/>
                <a:gd name="T2" fmla="*/ 37 w 57"/>
                <a:gd name="T3" fmla="*/ 35 h 44"/>
                <a:gd name="T4" fmla="*/ 57 w 57"/>
                <a:gd name="T5" fmla="*/ 36 h 44"/>
                <a:gd name="T6" fmla="*/ 46 w 57"/>
                <a:gd name="T7" fmla="*/ 43 h 44"/>
                <a:gd name="T8" fmla="*/ 16 w 57"/>
                <a:gd name="T9" fmla="*/ 31 h 44"/>
                <a:gd name="T10" fmla="*/ 0 w 57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44">
                  <a:moveTo>
                    <a:pt x="0" y="0"/>
                  </a:moveTo>
                  <a:cubicBezTo>
                    <a:pt x="1" y="2"/>
                    <a:pt x="25" y="34"/>
                    <a:pt x="37" y="35"/>
                  </a:cubicBezTo>
                  <a:cubicBezTo>
                    <a:pt x="48" y="36"/>
                    <a:pt x="57" y="36"/>
                    <a:pt x="57" y="36"/>
                  </a:cubicBezTo>
                  <a:cubicBezTo>
                    <a:pt x="57" y="36"/>
                    <a:pt x="55" y="44"/>
                    <a:pt x="46" y="43"/>
                  </a:cubicBezTo>
                  <a:cubicBezTo>
                    <a:pt x="37" y="42"/>
                    <a:pt x="21" y="36"/>
                    <a:pt x="16" y="31"/>
                  </a:cubicBezTo>
                  <a:cubicBezTo>
                    <a:pt x="11" y="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B00B5F47-3757-4ECF-915C-38EC125A3A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3188" y="3851275"/>
              <a:ext cx="128587" cy="569913"/>
            </a:xfrm>
            <a:custGeom>
              <a:avLst/>
              <a:gdLst>
                <a:gd name="T0" fmla="*/ 34 w 34"/>
                <a:gd name="T1" fmla="*/ 0 h 152"/>
                <a:gd name="T2" fmla="*/ 17 w 34"/>
                <a:gd name="T3" fmla="*/ 67 h 152"/>
                <a:gd name="T4" fmla="*/ 0 w 34"/>
                <a:gd name="T5" fmla="*/ 107 h 152"/>
                <a:gd name="T6" fmla="*/ 7 w 34"/>
                <a:gd name="T7" fmla="*/ 152 h 152"/>
                <a:gd name="T8" fmla="*/ 10 w 34"/>
                <a:gd name="T9" fmla="*/ 97 h 152"/>
                <a:gd name="T10" fmla="*/ 29 w 34"/>
                <a:gd name="T11" fmla="*/ 54 h 152"/>
                <a:gd name="T12" fmla="*/ 34 w 34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52">
                  <a:moveTo>
                    <a:pt x="34" y="0"/>
                  </a:moveTo>
                  <a:cubicBezTo>
                    <a:pt x="34" y="4"/>
                    <a:pt x="24" y="57"/>
                    <a:pt x="17" y="67"/>
                  </a:cubicBezTo>
                  <a:cubicBezTo>
                    <a:pt x="10" y="77"/>
                    <a:pt x="1" y="91"/>
                    <a:pt x="0" y="107"/>
                  </a:cubicBezTo>
                  <a:cubicBezTo>
                    <a:pt x="0" y="123"/>
                    <a:pt x="7" y="152"/>
                    <a:pt x="7" y="152"/>
                  </a:cubicBezTo>
                  <a:cubicBezTo>
                    <a:pt x="7" y="152"/>
                    <a:pt x="5" y="112"/>
                    <a:pt x="10" y="97"/>
                  </a:cubicBezTo>
                  <a:cubicBezTo>
                    <a:pt x="15" y="83"/>
                    <a:pt x="26" y="62"/>
                    <a:pt x="29" y="54"/>
                  </a:cubicBezTo>
                  <a:cubicBezTo>
                    <a:pt x="32" y="45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9546282E-AC1E-4552-A983-321C97222E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188" y="4024313"/>
              <a:ext cx="134937" cy="396875"/>
            </a:xfrm>
            <a:custGeom>
              <a:avLst/>
              <a:gdLst>
                <a:gd name="T0" fmla="*/ 36 w 36"/>
                <a:gd name="T1" fmla="*/ 0 h 106"/>
                <a:gd name="T2" fmla="*/ 13 w 36"/>
                <a:gd name="T3" fmla="*/ 65 h 106"/>
                <a:gd name="T4" fmla="*/ 3 w 36"/>
                <a:gd name="T5" fmla="*/ 105 h 106"/>
                <a:gd name="T6" fmla="*/ 5 w 36"/>
                <a:gd name="T7" fmla="*/ 64 h 106"/>
                <a:gd name="T8" fmla="*/ 16 w 36"/>
                <a:gd name="T9" fmla="*/ 36 h 106"/>
                <a:gd name="T10" fmla="*/ 36 w 36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106">
                  <a:moveTo>
                    <a:pt x="36" y="0"/>
                  </a:moveTo>
                  <a:cubicBezTo>
                    <a:pt x="34" y="3"/>
                    <a:pt x="13" y="55"/>
                    <a:pt x="13" y="65"/>
                  </a:cubicBezTo>
                  <a:cubicBezTo>
                    <a:pt x="13" y="74"/>
                    <a:pt x="5" y="104"/>
                    <a:pt x="3" y="105"/>
                  </a:cubicBezTo>
                  <a:cubicBezTo>
                    <a:pt x="0" y="106"/>
                    <a:pt x="5" y="69"/>
                    <a:pt x="5" y="64"/>
                  </a:cubicBezTo>
                  <a:cubicBezTo>
                    <a:pt x="5" y="60"/>
                    <a:pt x="13" y="42"/>
                    <a:pt x="16" y="36"/>
                  </a:cubicBezTo>
                  <a:cubicBezTo>
                    <a:pt x="19" y="30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F803414F-74BC-4403-9BE6-95CFA1F9B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50" y="4178300"/>
              <a:ext cx="158750" cy="941388"/>
            </a:xfrm>
            <a:custGeom>
              <a:avLst/>
              <a:gdLst>
                <a:gd name="T0" fmla="*/ 42 w 42"/>
                <a:gd name="T1" fmla="*/ 0 h 251"/>
                <a:gd name="T2" fmla="*/ 41 w 42"/>
                <a:gd name="T3" fmla="*/ 2 h 251"/>
                <a:gd name="T4" fmla="*/ 19 w 42"/>
                <a:gd name="T5" fmla="*/ 142 h 251"/>
                <a:gd name="T6" fmla="*/ 0 w 42"/>
                <a:gd name="T7" fmla="*/ 251 h 251"/>
                <a:gd name="T8" fmla="*/ 21 w 42"/>
                <a:gd name="T9" fmla="*/ 196 h 251"/>
                <a:gd name="T10" fmla="*/ 31 w 42"/>
                <a:gd name="T11" fmla="*/ 148 h 251"/>
                <a:gd name="T12" fmla="*/ 42 w 42"/>
                <a:gd name="T1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51">
                  <a:moveTo>
                    <a:pt x="42" y="0"/>
                  </a:moveTo>
                  <a:cubicBezTo>
                    <a:pt x="41" y="2"/>
                    <a:pt x="41" y="2"/>
                    <a:pt x="41" y="2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1"/>
                    <a:pt x="18" y="208"/>
                    <a:pt x="21" y="196"/>
                  </a:cubicBezTo>
                  <a:cubicBezTo>
                    <a:pt x="24" y="184"/>
                    <a:pt x="31" y="170"/>
                    <a:pt x="31" y="148"/>
                  </a:cubicBezTo>
                  <a:cubicBezTo>
                    <a:pt x="32" y="127"/>
                    <a:pt x="42" y="0"/>
                    <a:pt x="42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9">
              <a:extLst>
                <a:ext uri="{FF2B5EF4-FFF2-40B4-BE49-F238E27FC236}">
                  <a16:creationId xmlns:a16="http://schemas.microsoft.com/office/drawing/2014/main" id="{EA64D684-11C5-4802-8E90-274F0BECD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4250" y="4162425"/>
              <a:ext cx="198437" cy="442913"/>
            </a:xfrm>
            <a:custGeom>
              <a:avLst/>
              <a:gdLst>
                <a:gd name="T0" fmla="*/ 36 w 53"/>
                <a:gd name="T1" fmla="*/ 62 h 118"/>
                <a:gd name="T2" fmla="*/ 39 w 53"/>
                <a:gd name="T3" fmla="*/ 82 h 118"/>
                <a:gd name="T4" fmla="*/ 53 w 53"/>
                <a:gd name="T5" fmla="*/ 111 h 118"/>
                <a:gd name="T6" fmla="*/ 5 w 53"/>
                <a:gd name="T7" fmla="*/ 118 h 118"/>
                <a:gd name="T8" fmla="*/ 22 w 53"/>
                <a:gd name="T9" fmla="*/ 109 h 118"/>
                <a:gd name="T10" fmla="*/ 28 w 53"/>
                <a:gd name="T11" fmla="*/ 90 h 118"/>
                <a:gd name="T12" fmla="*/ 11 w 53"/>
                <a:gd name="T13" fmla="*/ 65 h 118"/>
                <a:gd name="T14" fmla="*/ 30 w 53"/>
                <a:gd name="T15" fmla="*/ 48 h 118"/>
                <a:gd name="T16" fmla="*/ 32 w 53"/>
                <a:gd name="T17" fmla="*/ 7 h 118"/>
                <a:gd name="T18" fmla="*/ 44 w 53"/>
                <a:gd name="T19" fmla="*/ 31 h 118"/>
                <a:gd name="T20" fmla="*/ 43 w 53"/>
                <a:gd name="T21" fmla="*/ 54 h 118"/>
                <a:gd name="T22" fmla="*/ 36 w 53"/>
                <a:gd name="T23" fmla="*/ 6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118">
                  <a:moveTo>
                    <a:pt x="36" y="62"/>
                  </a:moveTo>
                  <a:cubicBezTo>
                    <a:pt x="36" y="62"/>
                    <a:pt x="36" y="76"/>
                    <a:pt x="39" y="82"/>
                  </a:cubicBezTo>
                  <a:cubicBezTo>
                    <a:pt x="41" y="88"/>
                    <a:pt x="53" y="108"/>
                    <a:pt x="53" y="111"/>
                  </a:cubicBezTo>
                  <a:cubicBezTo>
                    <a:pt x="53" y="114"/>
                    <a:pt x="7" y="118"/>
                    <a:pt x="5" y="118"/>
                  </a:cubicBezTo>
                  <a:cubicBezTo>
                    <a:pt x="2" y="118"/>
                    <a:pt x="15" y="113"/>
                    <a:pt x="22" y="109"/>
                  </a:cubicBezTo>
                  <a:cubicBezTo>
                    <a:pt x="30" y="105"/>
                    <a:pt x="39" y="103"/>
                    <a:pt x="28" y="90"/>
                  </a:cubicBezTo>
                  <a:cubicBezTo>
                    <a:pt x="16" y="77"/>
                    <a:pt x="0" y="72"/>
                    <a:pt x="11" y="65"/>
                  </a:cubicBezTo>
                  <a:cubicBezTo>
                    <a:pt x="23" y="59"/>
                    <a:pt x="30" y="55"/>
                    <a:pt x="30" y="48"/>
                  </a:cubicBezTo>
                  <a:cubicBezTo>
                    <a:pt x="30" y="41"/>
                    <a:pt x="27" y="0"/>
                    <a:pt x="32" y="7"/>
                  </a:cubicBezTo>
                  <a:cubicBezTo>
                    <a:pt x="37" y="15"/>
                    <a:pt x="43" y="26"/>
                    <a:pt x="44" y="31"/>
                  </a:cubicBezTo>
                  <a:cubicBezTo>
                    <a:pt x="45" y="37"/>
                    <a:pt x="47" y="50"/>
                    <a:pt x="43" y="54"/>
                  </a:cubicBezTo>
                  <a:cubicBezTo>
                    <a:pt x="40" y="57"/>
                    <a:pt x="36" y="62"/>
                    <a:pt x="36" y="6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0">
              <a:extLst>
                <a:ext uri="{FF2B5EF4-FFF2-40B4-BE49-F238E27FC236}">
                  <a16:creationId xmlns:a16="http://schemas.microsoft.com/office/drawing/2014/main" id="{45AD8C54-5C6F-4137-9B88-53A4B56097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6513" y="5216525"/>
              <a:ext cx="768350" cy="266700"/>
            </a:xfrm>
            <a:custGeom>
              <a:avLst/>
              <a:gdLst>
                <a:gd name="T0" fmla="*/ 181 w 205"/>
                <a:gd name="T1" fmla="*/ 41 h 71"/>
                <a:gd name="T2" fmla="*/ 124 w 205"/>
                <a:gd name="T3" fmla="*/ 60 h 71"/>
                <a:gd name="T4" fmla="*/ 38 w 205"/>
                <a:gd name="T5" fmla="*/ 69 h 71"/>
                <a:gd name="T6" fmla="*/ 5 w 205"/>
                <a:gd name="T7" fmla="*/ 65 h 71"/>
                <a:gd name="T8" fmla="*/ 42 w 205"/>
                <a:gd name="T9" fmla="*/ 53 h 71"/>
                <a:gd name="T10" fmla="*/ 112 w 205"/>
                <a:gd name="T11" fmla="*/ 49 h 71"/>
                <a:gd name="T12" fmla="*/ 200 w 205"/>
                <a:gd name="T13" fmla="*/ 8 h 71"/>
                <a:gd name="T14" fmla="*/ 186 w 205"/>
                <a:gd name="T15" fmla="*/ 28 h 71"/>
                <a:gd name="T16" fmla="*/ 181 w 205"/>
                <a:gd name="T17" fmla="*/ 4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71">
                  <a:moveTo>
                    <a:pt x="181" y="41"/>
                  </a:moveTo>
                  <a:cubicBezTo>
                    <a:pt x="181" y="41"/>
                    <a:pt x="134" y="58"/>
                    <a:pt x="124" y="60"/>
                  </a:cubicBezTo>
                  <a:cubicBezTo>
                    <a:pt x="115" y="62"/>
                    <a:pt x="58" y="66"/>
                    <a:pt x="38" y="69"/>
                  </a:cubicBezTo>
                  <a:cubicBezTo>
                    <a:pt x="18" y="71"/>
                    <a:pt x="0" y="69"/>
                    <a:pt x="5" y="65"/>
                  </a:cubicBezTo>
                  <a:cubicBezTo>
                    <a:pt x="10" y="60"/>
                    <a:pt x="26" y="53"/>
                    <a:pt x="42" y="53"/>
                  </a:cubicBezTo>
                  <a:cubicBezTo>
                    <a:pt x="58" y="53"/>
                    <a:pt x="90" y="49"/>
                    <a:pt x="112" y="49"/>
                  </a:cubicBezTo>
                  <a:cubicBezTo>
                    <a:pt x="135" y="49"/>
                    <a:pt x="205" y="0"/>
                    <a:pt x="200" y="8"/>
                  </a:cubicBezTo>
                  <a:cubicBezTo>
                    <a:pt x="194" y="16"/>
                    <a:pt x="189" y="25"/>
                    <a:pt x="186" y="28"/>
                  </a:cubicBezTo>
                  <a:cubicBezTo>
                    <a:pt x="183" y="31"/>
                    <a:pt x="181" y="41"/>
                    <a:pt x="181" y="4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1">
              <a:extLst>
                <a:ext uri="{FF2B5EF4-FFF2-40B4-BE49-F238E27FC236}">
                  <a16:creationId xmlns:a16="http://schemas.microsoft.com/office/drawing/2014/main" id="{C54E52D4-6F8A-414C-83E2-D543BC849D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5538" y="5557838"/>
              <a:ext cx="450850" cy="468313"/>
            </a:xfrm>
            <a:custGeom>
              <a:avLst/>
              <a:gdLst>
                <a:gd name="T0" fmla="*/ 89 w 120"/>
                <a:gd name="T1" fmla="*/ 96 h 125"/>
                <a:gd name="T2" fmla="*/ 49 w 120"/>
                <a:gd name="T3" fmla="*/ 83 h 125"/>
                <a:gd name="T4" fmla="*/ 63 w 120"/>
                <a:gd name="T5" fmla="*/ 56 h 125"/>
                <a:gd name="T6" fmla="*/ 81 w 120"/>
                <a:gd name="T7" fmla="*/ 30 h 125"/>
                <a:gd name="T8" fmla="*/ 76 w 120"/>
                <a:gd name="T9" fmla="*/ 11 h 125"/>
                <a:gd name="T10" fmla="*/ 40 w 120"/>
                <a:gd name="T11" fmla="*/ 17 h 125"/>
                <a:gd name="T12" fmla="*/ 34 w 120"/>
                <a:gd name="T13" fmla="*/ 3 h 125"/>
                <a:gd name="T14" fmla="*/ 25 w 120"/>
                <a:gd name="T15" fmla="*/ 22 h 125"/>
                <a:gd name="T16" fmla="*/ 17 w 120"/>
                <a:gd name="T17" fmla="*/ 50 h 125"/>
                <a:gd name="T18" fmla="*/ 8 w 120"/>
                <a:gd name="T19" fmla="*/ 72 h 125"/>
                <a:gd name="T20" fmla="*/ 4 w 120"/>
                <a:gd name="T21" fmla="*/ 80 h 125"/>
                <a:gd name="T22" fmla="*/ 8 w 120"/>
                <a:gd name="T23" fmla="*/ 82 h 125"/>
                <a:gd name="T24" fmla="*/ 83 w 120"/>
                <a:gd name="T25" fmla="*/ 105 h 125"/>
                <a:gd name="T26" fmla="*/ 120 w 120"/>
                <a:gd name="T27" fmla="*/ 125 h 125"/>
                <a:gd name="T28" fmla="*/ 89 w 120"/>
                <a:gd name="T29" fmla="*/ 9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5">
                  <a:moveTo>
                    <a:pt x="89" y="96"/>
                  </a:moveTo>
                  <a:cubicBezTo>
                    <a:pt x="78" y="89"/>
                    <a:pt x="60" y="84"/>
                    <a:pt x="49" y="83"/>
                  </a:cubicBezTo>
                  <a:cubicBezTo>
                    <a:pt x="52" y="73"/>
                    <a:pt x="56" y="60"/>
                    <a:pt x="63" y="56"/>
                  </a:cubicBezTo>
                  <a:cubicBezTo>
                    <a:pt x="71" y="51"/>
                    <a:pt x="83" y="34"/>
                    <a:pt x="81" y="30"/>
                  </a:cubicBezTo>
                  <a:cubicBezTo>
                    <a:pt x="79" y="26"/>
                    <a:pt x="93" y="0"/>
                    <a:pt x="76" y="11"/>
                  </a:cubicBezTo>
                  <a:cubicBezTo>
                    <a:pt x="59" y="21"/>
                    <a:pt x="40" y="24"/>
                    <a:pt x="40" y="17"/>
                  </a:cubicBezTo>
                  <a:cubicBezTo>
                    <a:pt x="41" y="11"/>
                    <a:pt x="37" y="0"/>
                    <a:pt x="34" y="3"/>
                  </a:cubicBezTo>
                  <a:cubicBezTo>
                    <a:pt x="31" y="7"/>
                    <a:pt x="26" y="18"/>
                    <a:pt x="25" y="22"/>
                  </a:cubicBezTo>
                  <a:cubicBezTo>
                    <a:pt x="24" y="26"/>
                    <a:pt x="17" y="44"/>
                    <a:pt x="17" y="50"/>
                  </a:cubicBezTo>
                  <a:cubicBezTo>
                    <a:pt x="16" y="56"/>
                    <a:pt x="11" y="68"/>
                    <a:pt x="8" y="72"/>
                  </a:cubicBezTo>
                  <a:cubicBezTo>
                    <a:pt x="5" y="75"/>
                    <a:pt x="0" y="80"/>
                    <a:pt x="4" y="80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2" y="83"/>
                    <a:pt x="76" y="99"/>
                    <a:pt x="83" y="105"/>
                  </a:cubicBezTo>
                  <a:cubicBezTo>
                    <a:pt x="91" y="111"/>
                    <a:pt x="120" y="125"/>
                    <a:pt x="120" y="125"/>
                  </a:cubicBezTo>
                  <a:cubicBezTo>
                    <a:pt x="120" y="125"/>
                    <a:pt x="102" y="104"/>
                    <a:pt x="89" y="96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2">
              <a:extLst>
                <a:ext uri="{FF2B5EF4-FFF2-40B4-BE49-F238E27FC236}">
                  <a16:creationId xmlns:a16="http://schemas.microsoft.com/office/drawing/2014/main" id="{45D20703-0323-4765-9405-533BCD217D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3025" y="4702175"/>
              <a:ext cx="150812" cy="481013"/>
            </a:xfrm>
            <a:custGeom>
              <a:avLst/>
              <a:gdLst>
                <a:gd name="T0" fmla="*/ 15 w 40"/>
                <a:gd name="T1" fmla="*/ 5 h 128"/>
                <a:gd name="T2" fmla="*/ 5 w 40"/>
                <a:gd name="T3" fmla="*/ 43 h 128"/>
                <a:gd name="T4" fmla="*/ 5 w 40"/>
                <a:gd name="T5" fmla="*/ 97 h 128"/>
                <a:gd name="T6" fmla="*/ 9 w 40"/>
                <a:gd name="T7" fmla="*/ 124 h 128"/>
                <a:gd name="T8" fmla="*/ 15 w 40"/>
                <a:gd name="T9" fmla="*/ 51 h 128"/>
                <a:gd name="T10" fmla="*/ 13 w 40"/>
                <a:gd name="T11" fmla="*/ 17 h 128"/>
                <a:gd name="T12" fmla="*/ 32 w 40"/>
                <a:gd name="T13" fmla="*/ 0 h 128"/>
                <a:gd name="T14" fmla="*/ 15 w 40"/>
                <a:gd name="T15" fmla="*/ 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128">
                  <a:moveTo>
                    <a:pt x="15" y="5"/>
                  </a:moveTo>
                  <a:cubicBezTo>
                    <a:pt x="15" y="5"/>
                    <a:pt x="1" y="28"/>
                    <a:pt x="5" y="43"/>
                  </a:cubicBezTo>
                  <a:cubicBezTo>
                    <a:pt x="9" y="57"/>
                    <a:pt x="11" y="91"/>
                    <a:pt x="5" y="97"/>
                  </a:cubicBezTo>
                  <a:cubicBezTo>
                    <a:pt x="0" y="104"/>
                    <a:pt x="7" y="120"/>
                    <a:pt x="9" y="124"/>
                  </a:cubicBezTo>
                  <a:cubicBezTo>
                    <a:pt x="12" y="128"/>
                    <a:pt x="16" y="59"/>
                    <a:pt x="15" y="51"/>
                  </a:cubicBezTo>
                  <a:cubicBezTo>
                    <a:pt x="13" y="43"/>
                    <a:pt x="4" y="24"/>
                    <a:pt x="13" y="17"/>
                  </a:cubicBezTo>
                  <a:cubicBezTo>
                    <a:pt x="23" y="11"/>
                    <a:pt x="40" y="0"/>
                    <a:pt x="32" y="0"/>
                  </a:cubicBezTo>
                  <a:cubicBezTo>
                    <a:pt x="24" y="0"/>
                    <a:pt x="15" y="5"/>
                    <a:pt x="15" y="5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3">
              <a:extLst>
                <a:ext uri="{FF2B5EF4-FFF2-40B4-BE49-F238E27FC236}">
                  <a16:creationId xmlns:a16="http://schemas.microsoft.com/office/drawing/2014/main" id="{B5DF4BDD-3B64-4DC7-9CB2-BDBDDF7D21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2525" y="4594225"/>
              <a:ext cx="165100" cy="330200"/>
            </a:xfrm>
            <a:custGeom>
              <a:avLst/>
              <a:gdLst>
                <a:gd name="T0" fmla="*/ 42 w 44"/>
                <a:gd name="T1" fmla="*/ 18 h 88"/>
                <a:gd name="T2" fmla="*/ 26 w 44"/>
                <a:gd name="T3" fmla="*/ 57 h 88"/>
                <a:gd name="T4" fmla="*/ 2 w 44"/>
                <a:gd name="T5" fmla="*/ 78 h 88"/>
                <a:gd name="T6" fmla="*/ 11 w 44"/>
                <a:gd name="T7" fmla="*/ 42 h 88"/>
                <a:gd name="T8" fmla="*/ 43 w 44"/>
                <a:gd name="T9" fmla="*/ 9 h 88"/>
                <a:gd name="T10" fmla="*/ 42 w 44"/>
                <a:gd name="T11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88">
                  <a:moveTo>
                    <a:pt x="42" y="18"/>
                  </a:moveTo>
                  <a:cubicBezTo>
                    <a:pt x="42" y="22"/>
                    <a:pt x="44" y="46"/>
                    <a:pt x="26" y="57"/>
                  </a:cubicBezTo>
                  <a:cubicBezTo>
                    <a:pt x="7" y="68"/>
                    <a:pt x="0" y="69"/>
                    <a:pt x="2" y="78"/>
                  </a:cubicBezTo>
                  <a:cubicBezTo>
                    <a:pt x="3" y="88"/>
                    <a:pt x="3" y="48"/>
                    <a:pt x="11" y="42"/>
                  </a:cubicBezTo>
                  <a:cubicBezTo>
                    <a:pt x="19" y="37"/>
                    <a:pt x="43" y="18"/>
                    <a:pt x="43" y="9"/>
                  </a:cubicBezTo>
                  <a:cubicBezTo>
                    <a:pt x="43" y="0"/>
                    <a:pt x="42" y="18"/>
                    <a:pt x="42" y="18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4">
              <a:extLst>
                <a:ext uri="{FF2B5EF4-FFF2-40B4-BE49-F238E27FC236}">
                  <a16:creationId xmlns:a16="http://schemas.microsoft.com/office/drawing/2014/main" id="{4B5C313A-E745-4212-80D5-4120ED08C8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588" y="3862388"/>
              <a:ext cx="228600" cy="2144713"/>
            </a:xfrm>
            <a:custGeom>
              <a:avLst/>
              <a:gdLst>
                <a:gd name="T0" fmla="*/ 10 w 61"/>
                <a:gd name="T1" fmla="*/ 0 h 572"/>
                <a:gd name="T2" fmla="*/ 37 w 61"/>
                <a:gd name="T3" fmla="*/ 1 h 572"/>
                <a:gd name="T4" fmla="*/ 42 w 61"/>
                <a:gd name="T5" fmla="*/ 10 h 572"/>
                <a:gd name="T6" fmla="*/ 39 w 61"/>
                <a:gd name="T7" fmla="*/ 38 h 572"/>
                <a:gd name="T8" fmla="*/ 48 w 61"/>
                <a:gd name="T9" fmla="*/ 71 h 572"/>
                <a:gd name="T10" fmla="*/ 59 w 61"/>
                <a:gd name="T11" fmla="*/ 177 h 572"/>
                <a:gd name="T12" fmla="*/ 61 w 61"/>
                <a:gd name="T13" fmla="*/ 273 h 572"/>
                <a:gd name="T14" fmla="*/ 61 w 61"/>
                <a:gd name="T15" fmla="*/ 353 h 572"/>
                <a:gd name="T16" fmla="*/ 61 w 61"/>
                <a:gd name="T17" fmla="*/ 472 h 572"/>
                <a:gd name="T18" fmla="*/ 52 w 61"/>
                <a:gd name="T19" fmla="*/ 486 h 572"/>
                <a:gd name="T20" fmla="*/ 30 w 61"/>
                <a:gd name="T21" fmla="*/ 554 h 572"/>
                <a:gd name="T22" fmla="*/ 2 w 61"/>
                <a:gd name="T23" fmla="*/ 571 h 572"/>
                <a:gd name="T24" fmla="*/ 1 w 61"/>
                <a:gd name="T25" fmla="*/ 518 h 572"/>
                <a:gd name="T26" fmla="*/ 3 w 61"/>
                <a:gd name="T27" fmla="*/ 430 h 572"/>
                <a:gd name="T28" fmla="*/ 8 w 61"/>
                <a:gd name="T29" fmla="*/ 330 h 572"/>
                <a:gd name="T30" fmla="*/ 15 w 61"/>
                <a:gd name="T31" fmla="*/ 126 h 572"/>
                <a:gd name="T32" fmla="*/ 18 w 61"/>
                <a:gd name="T33" fmla="*/ 76 h 572"/>
                <a:gd name="T34" fmla="*/ 2 w 61"/>
                <a:gd name="T35" fmla="*/ 13 h 572"/>
                <a:gd name="T36" fmla="*/ 10 w 61"/>
                <a:gd name="T37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572">
                  <a:moveTo>
                    <a:pt x="10" y="0"/>
                  </a:moveTo>
                  <a:cubicBezTo>
                    <a:pt x="10" y="0"/>
                    <a:pt x="31" y="0"/>
                    <a:pt x="37" y="1"/>
                  </a:cubicBezTo>
                  <a:cubicBezTo>
                    <a:pt x="42" y="2"/>
                    <a:pt x="45" y="3"/>
                    <a:pt x="42" y="10"/>
                  </a:cubicBezTo>
                  <a:cubicBezTo>
                    <a:pt x="38" y="18"/>
                    <a:pt x="36" y="32"/>
                    <a:pt x="39" y="38"/>
                  </a:cubicBezTo>
                  <a:cubicBezTo>
                    <a:pt x="41" y="44"/>
                    <a:pt x="47" y="64"/>
                    <a:pt x="48" y="71"/>
                  </a:cubicBezTo>
                  <a:cubicBezTo>
                    <a:pt x="50" y="78"/>
                    <a:pt x="59" y="177"/>
                    <a:pt x="59" y="177"/>
                  </a:cubicBezTo>
                  <a:cubicBezTo>
                    <a:pt x="61" y="273"/>
                    <a:pt x="61" y="273"/>
                    <a:pt x="61" y="273"/>
                  </a:cubicBezTo>
                  <a:cubicBezTo>
                    <a:pt x="61" y="353"/>
                    <a:pt x="61" y="353"/>
                    <a:pt x="61" y="353"/>
                  </a:cubicBezTo>
                  <a:cubicBezTo>
                    <a:pt x="61" y="472"/>
                    <a:pt x="61" y="472"/>
                    <a:pt x="61" y="472"/>
                  </a:cubicBezTo>
                  <a:cubicBezTo>
                    <a:pt x="61" y="472"/>
                    <a:pt x="54" y="477"/>
                    <a:pt x="52" y="486"/>
                  </a:cubicBezTo>
                  <a:cubicBezTo>
                    <a:pt x="50" y="495"/>
                    <a:pt x="32" y="545"/>
                    <a:pt x="30" y="554"/>
                  </a:cubicBezTo>
                  <a:cubicBezTo>
                    <a:pt x="28" y="563"/>
                    <a:pt x="4" y="572"/>
                    <a:pt x="2" y="571"/>
                  </a:cubicBezTo>
                  <a:cubicBezTo>
                    <a:pt x="0" y="569"/>
                    <a:pt x="1" y="518"/>
                    <a:pt x="1" y="518"/>
                  </a:cubicBezTo>
                  <a:cubicBezTo>
                    <a:pt x="3" y="430"/>
                    <a:pt x="3" y="430"/>
                    <a:pt x="3" y="430"/>
                  </a:cubicBezTo>
                  <a:cubicBezTo>
                    <a:pt x="8" y="330"/>
                    <a:pt x="8" y="330"/>
                    <a:pt x="8" y="330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5" y="126"/>
                    <a:pt x="20" y="80"/>
                    <a:pt x="18" y="76"/>
                  </a:cubicBezTo>
                  <a:cubicBezTo>
                    <a:pt x="16" y="72"/>
                    <a:pt x="1" y="20"/>
                    <a:pt x="2" y="13"/>
                  </a:cubicBezTo>
                  <a:cubicBezTo>
                    <a:pt x="2" y="5"/>
                    <a:pt x="10" y="0"/>
                    <a:pt x="1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id="{EDB61538-F085-48C6-8389-A85F43D66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2825" y="3856038"/>
              <a:ext cx="147637" cy="209550"/>
            </a:xfrm>
            <a:custGeom>
              <a:avLst/>
              <a:gdLst>
                <a:gd name="T0" fmla="*/ 16 w 39"/>
                <a:gd name="T1" fmla="*/ 10 h 56"/>
                <a:gd name="T2" fmla="*/ 11 w 39"/>
                <a:gd name="T3" fmla="*/ 29 h 56"/>
                <a:gd name="T4" fmla="*/ 38 w 39"/>
                <a:gd name="T5" fmla="*/ 38 h 56"/>
                <a:gd name="T6" fmla="*/ 32 w 39"/>
                <a:gd name="T7" fmla="*/ 45 h 56"/>
                <a:gd name="T8" fmla="*/ 13 w 39"/>
                <a:gd name="T9" fmla="*/ 56 h 56"/>
                <a:gd name="T10" fmla="*/ 6 w 39"/>
                <a:gd name="T11" fmla="*/ 36 h 56"/>
                <a:gd name="T12" fmla="*/ 2 w 39"/>
                <a:gd name="T13" fmla="*/ 12 h 56"/>
                <a:gd name="T14" fmla="*/ 13 w 39"/>
                <a:gd name="T15" fmla="*/ 1 h 56"/>
                <a:gd name="T16" fmla="*/ 16 w 39"/>
                <a:gd name="T17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56">
                  <a:moveTo>
                    <a:pt x="16" y="10"/>
                  </a:moveTo>
                  <a:cubicBezTo>
                    <a:pt x="16" y="10"/>
                    <a:pt x="8" y="24"/>
                    <a:pt x="11" y="29"/>
                  </a:cubicBezTo>
                  <a:cubicBezTo>
                    <a:pt x="13" y="34"/>
                    <a:pt x="38" y="38"/>
                    <a:pt x="38" y="38"/>
                  </a:cubicBezTo>
                  <a:cubicBezTo>
                    <a:pt x="38" y="38"/>
                    <a:pt x="39" y="43"/>
                    <a:pt x="32" y="45"/>
                  </a:cubicBezTo>
                  <a:cubicBezTo>
                    <a:pt x="25" y="46"/>
                    <a:pt x="13" y="56"/>
                    <a:pt x="13" y="56"/>
                  </a:cubicBezTo>
                  <a:cubicBezTo>
                    <a:pt x="13" y="56"/>
                    <a:pt x="6" y="37"/>
                    <a:pt x="6" y="36"/>
                  </a:cubicBezTo>
                  <a:cubicBezTo>
                    <a:pt x="6" y="35"/>
                    <a:pt x="0" y="15"/>
                    <a:pt x="2" y="12"/>
                  </a:cubicBezTo>
                  <a:cubicBezTo>
                    <a:pt x="4" y="8"/>
                    <a:pt x="11" y="0"/>
                    <a:pt x="13" y="1"/>
                  </a:cubicBezTo>
                  <a:cubicBezTo>
                    <a:pt x="15" y="3"/>
                    <a:pt x="16" y="10"/>
                    <a:pt x="16" y="1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6">
              <a:extLst>
                <a:ext uri="{FF2B5EF4-FFF2-40B4-BE49-F238E27FC236}">
                  <a16:creationId xmlns:a16="http://schemas.microsoft.com/office/drawing/2014/main" id="{8462845D-55BF-4F3A-8DBC-E75388E7EE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6275" y="2535238"/>
              <a:ext cx="809625" cy="1357313"/>
            </a:xfrm>
            <a:custGeom>
              <a:avLst/>
              <a:gdLst>
                <a:gd name="T0" fmla="*/ 101 w 216"/>
                <a:gd name="T1" fmla="*/ 0 h 362"/>
                <a:gd name="T2" fmla="*/ 171 w 216"/>
                <a:gd name="T3" fmla="*/ 30 h 362"/>
                <a:gd name="T4" fmla="*/ 194 w 216"/>
                <a:gd name="T5" fmla="*/ 104 h 362"/>
                <a:gd name="T6" fmla="*/ 198 w 216"/>
                <a:gd name="T7" fmla="*/ 125 h 362"/>
                <a:gd name="T8" fmla="*/ 213 w 216"/>
                <a:gd name="T9" fmla="*/ 132 h 362"/>
                <a:gd name="T10" fmla="*/ 204 w 216"/>
                <a:gd name="T11" fmla="*/ 193 h 362"/>
                <a:gd name="T12" fmla="*/ 190 w 216"/>
                <a:gd name="T13" fmla="*/ 210 h 362"/>
                <a:gd name="T14" fmla="*/ 184 w 216"/>
                <a:gd name="T15" fmla="*/ 267 h 362"/>
                <a:gd name="T16" fmla="*/ 122 w 216"/>
                <a:gd name="T17" fmla="*/ 340 h 362"/>
                <a:gd name="T18" fmla="*/ 54 w 216"/>
                <a:gd name="T19" fmla="*/ 320 h 362"/>
                <a:gd name="T20" fmla="*/ 8 w 216"/>
                <a:gd name="T21" fmla="*/ 233 h 362"/>
                <a:gd name="T22" fmla="*/ 1 w 216"/>
                <a:gd name="T23" fmla="*/ 102 h 362"/>
                <a:gd name="T24" fmla="*/ 17 w 216"/>
                <a:gd name="T25" fmla="*/ 34 h 362"/>
                <a:gd name="T26" fmla="*/ 68 w 216"/>
                <a:gd name="T27" fmla="*/ 2 h 362"/>
                <a:gd name="T28" fmla="*/ 101 w 216"/>
                <a:gd name="T2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6" h="362">
                  <a:moveTo>
                    <a:pt x="101" y="0"/>
                  </a:moveTo>
                  <a:cubicBezTo>
                    <a:pt x="101" y="0"/>
                    <a:pt x="160" y="10"/>
                    <a:pt x="171" y="30"/>
                  </a:cubicBezTo>
                  <a:cubicBezTo>
                    <a:pt x="182" y="50"/>
                    <a:pt x="198" y="87"/>
                    <a:pt x="194" y="104"/>
                  </a:cubicBezTo>
                  <a:cubicBezTo>
                    <a:pt x="191" y="120"/>
                    <a:pt x="192" y="131"/>
                    <a:pt x="198" y="125"/>
                  </a:cubicBezTo>
                  <a:cubicBezTo>
                    <a:pt x="204" y="119"/>
                    <a:pt x="214" y="121"/>
                    <a:pt x="213" y="132"/>
                  </a:cubicBezTo>
                  <a:cubicBezTo>
                    <a:pt x="212" y="143"/>
                    <a:pt x="216" y="189"/>
                    <a:pt x="204" y="193"/>
                  </a:cubicBezTo>
                  <a:cubicBezTo>
                    <a:pt x="193" y="197"/>
                    <a:pt x="192" y="200"/>
                    <a:pt x="190" y="210"/>
                  </a:cubicBezTo>
                  <a:cubicBezTo>
                    <a:pt x="188" y="219"/>
                    <a:pt x="188" y="258"/>
                    <a:pt x="184" y="267"/>
                  </a:cubicBezTo>
                  <a:cubicBezTo>
                    <a:pt x="179" y="276"/>
                    <a:pt x="136" y="333"/>
                    <a:pt x="122" y="340"/>
                  </a:cubicBezTo>
                  <a:cubicBezTo>
                    <a:pt x="109" y="347"/>
                    <a:pt x="78" y="362"/>
                    <a:pt x="54" y="320"/>
                  </a:cubicBezTo>
                  <a:cubicBezTo>
                    <a:pt x="31" y="279"/>
                    <a:pt x="8" y="252"/>
                    <a:pt x="8" y="233"/>
                  </a:cubicBezTo>
                  <a:cubicBezTo>
                    <a:pt x="8" y="214"/>
                    <a:pt x="2" y="115"/>
                    <a:pt x="1" y="102"/>
                  </a:cubicBezTo>
                  <a:cubicBezTo>
                    <a:pt x="1" y="90"/>
                    <a:pt x="0" y="52"/>
                    <a:pt x="17" y="34"/>
                  </a:cubicBezTo>
                  <a:cubicBezTo>
                    <a:pt x="34" y="17"/>
                    <a:pt x="56" y="4"/>
                    <a:pt x="68" y="2"/>
                  </a:cubicBezTo>
                  <a:cubicBezTo>
                    <a:pt x="8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965B39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7">
              <a:extLst>
                <a:ext uri="{FF2B5EF4-FFF2-40B4-BE49-F238E27FC236}">
                  <a16:creationId xmlns:a16="http://schemas.microsoft.com/office/drawing/2014/main" id="{9CEA3A98-79B0-4C61-B777-0F8F0B4712C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6313" y="3281363"/>
              <a:ext cx="430212" cy="561975"/>
            </a:xfrm>
            <a:custGeom>
              <a:avLst/>
              <a:gdLst>
                <a:gd name="T0" fmla="*/ 105 w 115"/>
                <a:gd name="T1" fmla="*/ 35 h 150"/>
                <a:gd name="T2" fmla="*/ 91 w 115"/>
                <a:gd name="T3" fmla="*/ 75 h 150"/>
                <a:gd name="T4" fmla="*/ 53 w 115"/>
                <a:gd name="T5" fmla="*/ 120 h 150"/>
                <a:gd name="T6" fmla="*/ 8 w 115"/>
                <a:gd name="T7" fmla="*/ 147 h 150"/>
                <a:gd name="T8" fmla="*/ 43 w 115"/>
                <a:gd name="T9" fmla="*/ 143 h 150"/>
                <a:gd name="T10" fmla="*/ 89 w 115"/>
                <a:gd name="T11" fmla="*/ 91 h 150"/>
                <a:gd name="T12" fmla="*/ 106 w 115"/>
                <a:gd name="T13" fmla="*/ 63 h 150"/>
                <a:gd name="T14" fmla="*/ 112 w 115"/>
                <a:gd name="T15" fmla="*/ 5 h 150"/>
                <a:gd name="T16" fmla="*/ 105 w 115"/>
                <a:gd name="T17" fmla="*/ 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0">
                  <a:moveTo>
                    <a:pt x="105" y="35"/>
                  </a:moveTo>
                  <a:cubicBezTo>
                    <a:pt x="105" y="35"/>
                    <a:pt x="95" y="70"/>
                    <a:pt x="91" y="75"/>
                  </a:cubicBezTo>
                  <a:cubicBezTo>
                    <a:pt x="86" y="80"/>
                    <a:pt x="60" y="114"/>
                    <a:pt x="53" y="120"/>
                  </a:cubicBezTo>
                  <a:cubicBezTo>
                    <a:pt x="46" y="126"/>
                    <a:pt x="0" y="145"/>
                    <a:pt x="8" y="147"/>
                  </a:cubicBezTo>
                  <a:cubicBezTo>
                    <a:pt x="16" y="149"/>
                    <a:pt x="34" y="150"/>
                    <a:pt x="43" y="143"/>
                  </a:cubicBezTo>
                  <a:cubicBezTo>
                    <a:pt x="51" y="137"/>
                    <a:pt x="83" y="99"/>
                    <a:pt x="89" y="91"/>
                  </a:cubicBezTo>
                  <a:cubicBezTo>
                    <a:pt x="96" y="83"/>
                    <a:pt x="105" y="69"/>
                    <a:pt x="106" y="63"/>
                  </a:cubicBezTo>
                  <a:cubicBezTo>
                    <a:pt x="107" y="58"/>
                    <a:pt x="115" y="0"/>
                    <a:pt x="112" y="5"/>
                  </a:cubicBezTo>
                  <a:cubicBezTo>
                    <a:pt x="110" y="11"/>
                    <a:pt x="105" y="35"/>
                    <a:pt x="105" y="35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58">
              <a:extLst>
                <a:ext uri="{FF2B5EF4-FFF2-40B4-BE49-F238E27FC236}">
                  <a16:creationId xmlns:a16="http://schemas.microsoft.com/office/drawing/2014/main" id="{5CBB7927-64F1-42F4-B338-2A349CEE0B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9541" y="6119712"/>
              <a:ext cx="508327" cy="384108"/>
            </a:xfrm>
            <a:custGeom>
              <a:avLst/>
              <a:gdLst>
                <a:gd name="T0" fmla="*/ 43 w 142"/>
                <a:gd name="T1" fmla="*/ 3 h 159"/>
                <a:gd name="T2" fmla="*/ 75 w 142"/>
                <a:gd name="T3" fmla="*/ 3 h 159"/>
                <a:gd name="T4" fmla="*/ 125 w 142"/>
                <a:gd name="T5" fmla="*/ 40 h 159"/>
                <a:gd name="T6" fmla="*/ 141 w 142"/>
                <a:gd name="T7" fmla="*/ 71 h 159"/>
                <a:gd name="T8" fmla="*/ 131 w 142"/>
                <a:gd name="T9" fmla="*/ 111 h 159"/>
                <a:gd name="T10" fmla="*/ 112 w 142"/>
                <a:gd name="T11" fmla="*/ 143 h 159"/>
                <a:gd name="T12" fmla="*/ 101 w 142"/>
                <a:gd name="T13" fmla="*/ 157 h 159"/>
                <a:gd name="T14" fmla="*/ 93 w 142"/>
                <a:gd name="T15" fmla="*/ 139 h 159"/>
                <a:gd name="T16" fmla="*/ 104 w 142"/>
                <a:gd name="T17" fmla="*/ 107 h 159"/>
                <a:gd name="T18" fmla="*/ 83 w 142"/>
                <a:gd name="T19" fmla="*/ 89 h 159"/>
                <a:gd name="T20" fmla="*/ 64 w 142"/>
                <a:gd name="T21" fmla="*/ 68 h 159"/>
                <a:gd name="T22" fmla="*/ 58 w 142"/>
                <a:gd name="T23" fmla="*/ 88 h 159"/>
                <a:gd name="T24" fmla="*/ 31 w 142"/>
                <a:gd name="T25" fmla="*/ 81 h 159"/>
                <a:gd name="T26" fmla="*/ 7 w 142"/>
                <a:gd name="T27" fmla="*/ 56 h 159"/>
                <a:gd name="T28" fmla="*/ 20 w 142"/>
                <a:gd name="T29" fmla="*/ 13 h 159"/>
                <a:gd name="T30" fmla="*/ 43 w 142"/>
                <a:gd name="T31" fmla="*/ 3 h 159"/>
                <a:gd name="connsiteX0" fmla="*/ 2619 w 9529"/>
                <a:gd name="connsiteY0" fmla="*/ 84 h 9889"/>
                <a:gd name="connsiteX1" fmla="*/ 4873 w 9529"/>
                <a:gd name="connsiteY1" fmla="*/ 84 h 9889"/>
                <a:gd name="connsiteX2" fmla="*/ 8394 w 9529"/>
                <a:gd name="connsiteY2" fmla="*/ 2411 h 9889"/>
                <a:gd name="connsiteX3" fmla="*/ 9521 w 9529"/>
                <a:gd name="connsiteY3" fmla="*/ 4360 h 9889"/>
                <a:gd name="connsiteX4" fmla="*/ 8816 w 9529"/>
                <a:gd name="connsiteY4" fmla="*/ 6876 h 9889"/>
                <a:gd name="connsiteX5" fmla="*/ 7478 w 9529"/>
                <a:gd name="connsiteY5" fmla="*/ 8889 h 9889"/>
                <a:gd name="connsiteX6" fmla="*/ 6704 w 9529"/>
                <a:gd name="connsiteY6" fmla="*/ 9769 h 9889"/>
                <a:gd name="connsiteX7" fmla="*/ 6915 w 9529"/>
                <a:gd name="connsiteY7" fmla="*/ 6625 h 9889"/>
                <a:gd name="connsiteX8" fmla="*/ 5436 w 9529"/>
                <a:gd name="connsiteY8" fmla="*/ 5492 h 9889"/>
                <a:gd name="connsiteX9" fmla="*/ 4098 w 9529"/>
                <a:gd name="connsiteY9" fmla="*/ 4172 h 9889"/>
                <a:gd name="connsiteX10" fmla="*/ 3676 w 9529"/>
                <a:gd name="connsiteY10" fmla="*/ 5430 h 9889"/>
                <a:gd name="connsiteX11" fmla="*/ 1774 w 9529"/>
                <a:gd name="connsiteY11" fmla="*/ 4989 h 9889"/>
                <a:gd name="connsiteX12" fmla="*/ 84 w 9529"/>
                <a:gd name="connsiteY12" fmla="*/ 3417 h 9889"/>
                <a:gd name="connsiteX13" fmla="*/ 999 w 9529"/>
                <a:gd name="connsiteY13" fmla="*/ 713 h 9889"/>
                <a:gd name="connsiteX14" fmla="*/ 2619 w 9529"/>
                <a:gd name="connsiteY14" fmla="*/ 84 h 9889"/>
                <a:gd name="connsiteX0" fmla="*/ 2748 w 10001"/>
                <a:gd name="connsiteY0" fmla="*/ 85 h 8989"/>
                <a:gd name="connsiteX1" fmla="*/ 5114 w 10001"/>
                <a:gd name="connsiteY1" fmla="*/ 85 h 8989"/>
                <a:gd name="connsiteX2" fmla="*/ 8809 w 10001"/>
                <a:gd name="connsiteY2" fmla="*/ 2438 h 8989"/>
                <a:gd name="connsiteX3" fmla="*/ 9992 w 10001"/>
                <a:gd name="connsiteY3" fmla="*/ 4409 h 8989"/>
                <a:gd name="connsiteX4" fmla="*/ 9252 w 10001"/>
                <a:gd name="connsiteY4" fmla="*/ 6953 h 8989"/>
                <a:gd name="connsiteX5" fmla="*/ 7848 w 10001"/>
                <a:gd name="connsiteY5" fmla="*/ 8989 h 8989"/>
                <a:gd name="connsiteX6" fmla="*/ 7257 w 10001"/>
                <a:gd name="connsiteY6" fmla="*/ 6699 h 8989"/>
                <a:gd name="connsiteX7" fmla="*/ 5705 w 10001"/>
                <a:gd name="connsiteY7" fmla="*/ 5554 h 8989"/>
                <a:gd name="connsiteX8" fmla="*/ 4301 w 10001"/>
                <a:gd name="connsiteY8" fmla="*/ 4219 h 8989"/>
                <a:gd name="connsiteX9" fmla="*/ 3858 w 10001"/>
                <a:gd name="connsiteY9" fmla="*/ 5491 h 8989"/>
                <a:gd name="connsiteX10" fmla="*/ 1862 w 10001"/>
                <a:gd name="connsiteY10" fmla="*/ 5045 h 8989"/>
                <a:gd name="connsiteX11" fmla="*/ 88 w 10001"/>
                <a:gd name="connsiteY11" fmla="*/ 3455 h 8989"/>
                <a:gd name="connsiteX12" fmla="*/ 1048 w 10001"/>
                <a:gd name="connsiteY12" fmla="*/ 721 h 8989"/>
                <a:gd name="connsiteX13" fmla="*/ 2748 w 10001"/>
                <a:gd name="connsiteY13" fmla="*/ 85 h 8989"/>
                <a:gd name="connsiteX0" fmla="*/ 2748 w 10000"/>
                <a:gd name="connsiteY0" fmla="*/ 95 h 7910"/>
                <a:gd name="connsiteX1" fmla="*/ 5113 w 10000"/>
                <a:gd name="connsiteY1" fmla="*/ 95 h 7910"/>
                <a:gd name="connsiteX2" fmla="*/ 8808 w 10000"/>
                <a:gd name="connsiteY2" fmla="*/ 2712 h 7910"/>
                <a:gd name="connsiteX3" fmla="*/ 9991 w 10000"/>
                <a:gd name="connsiteY3" fmla="*/ 4905 h 7910"/>
                <a:gd name="connsiteX4" fmla="*/ 9251 w 10000"/>
                <a:gd name="connsiteY4" fmla="*/ 7735 h 7910"/>
                <a:gd name="connsiteX5" fmla="*/ 7256 w 10000"/>
                <a:gd name="connsiteY5" fmla="*/ 7452 h 7910"/>
                <a:gd name="connsiteX6" fmla="*/ 5704 w 10000"/>
                <a:gd name="connsiteY6" fmla="*/ 6179 h 7910"/>
                <a:gd name="connsiteX7" fmla="*/ 4301 w 10000"/>
                <a:gd name="connsiteY7" fmla="*/ 4694 h 7910"/>
                <a:gd name="connsiteX8" fmla="*/ 3858 w 10000"/>
                <a:gd name="connsiteY8" fmla="*/ 6109 h 7910"/>
                <a:gd name="connsiteX9" fmla="*/ 1862 w 10000"/>
                <a:gd name="connsiteY9" fmla="*/ 5612 h 7910"/>
                <a:gd name="connsiteX10" fmla="*/ 88 w 10000"/>
                <a:gd name="connsiteY10" fmla="*/ 3844 h 7910"/>
                <a:gd name="connsiteX11" fmla="*/ 1048 w 10000"/>
                <a:gd name="connsiteY11" fmla="*/ 802 h 7910"/>
                <a:gd name="connsiteX12" fmla="*/ 2748 w 10000"/>
                <a:gd name="connsiteY12" fmla="*/ 95 h 7910"/>
                <a:gd name="connsiteX0" fmla="*/ 2748 w 10000"/>
                <a:gd name="connsiteY0" fmla="*/ 120 h 9493"/>
                <a:gd name="connsiteX1" fmla="*/ 5113 w 10000"/>
                <a:gd name="connsiteY1" fmla="*/ 120 h 9493"/>
                <a:gd name="connsiteX2" fmla="*/ 8808 w 10000"/>
                <a:gd name="connsiteY2" fmla="*/ 3429 h 9493"/>
                <a:gd name="connsiteX3" fmla="*/ 9991 w 10000"/>
                <a:gd name="connsiteY3" fmla="*/ 6201 h 9493"/>
                <a:gd name="connsiteX4" fmla="*/ 9251 w 10000"/>
                <a:gd name="connsiteY4" fmla="*/ 8352 h 9493"/>
                <a:gd name="connsiteX5" fmla="*/ 7256 w 10000"/>
                <a:gd name="connsiteY5" fmla="*/ 9421 h 9493"/>
                <a:gd name="connsiteX6" fmla="*/ 5704 w 10000"/>
                <a:gd name="connsiteY6" fmla="*/ 7812 h 9493"/>
                <a:gd name="connsiteX7" fmla="*/ 4301 w 10000"/>
                <a:gd name="connsiteY7" fmla="*/ 5934 h 9493"/>
                <a:gd name="connsiteX8" fmla="*/ 3858 w 10000"/>
                <a:gd name="connsiteY8" fmla="*/ 7723 h 9493"/>
                <a:gd name="connsiteX9" fmla="*/ 1862 w 10000"/>
                <a:gd name="connsiteY9" fmla="*/ 7095 h 9493"/>
                <a:gd name="connsiteX10" fmla="*/ 88 w 10000"/>
                <a:gd name="connsiteY10" fmla="*/ 4860 h 9493"/>
                <a:gd name="connsiteX11" fmla="*/ 1048 w 10000"/>
                <a:gd name="connsiteY11" fmla="*/ 1014 h 9493"/>
                <a:gd name="connsiteX12" fmla="*/ 2748 w 10000"/>
                <a:gd name="connsiteY12" fmla="*/ 120 h 9493"/>
                <a:gd name="connsiteX0" fmla="*/ 2748 w 10000"/>
                <a:gd name="connsiteY0" fmla="*/ 126 h 9988"/>
                <a:gd name="connsiteX1" fmla="*/ 5113 w 10000"/>
                <a:gd name="connsiteY1" fmla="*/ 126 h 9988"/>
                <a:gd name="connsiteX2" fmla="*/ 8808 w 10000"/>
                <a:gd name="connsiteY2" fmla="*/ 3612 h 9988"/>
                <a:gd name="connsiteX3" fmla="*/ 9991 w 10000"/>
                <a:gd name="connsiteY3" fmla="*/ 6532 h 9988"/>
                <a:gd name="connsiteX4" fmla="*/ 9251 w 10000"/>
                <a:gd name="connsiteY4" fmla="*/ 8798 h 9988"/>
                <a:gd name="connsiteX5" fmla="*/ 7256 w 10000"/>
                <a:gd name="connsiteY5" fmla="*/ 9924 h 9988"/>
                <a:gd name="connsiteX6" fmla="*/ 7159 w 10000"/>
                <a:gd name="connsiteY6" fmla="*/ 9653 h 9988"/>
                <a:gd name="connsiteX7" fmla="*/ 5704 w 10000"/>
                <a:gd name="connsiteY7" fmla="*/ 8229 h 9988"/>
                <a:gd name="connsiteX8" fmla="*/ 4301 w 10000"/>
                <a:gd name="connsiteY8" fmla="*/ 6251 h 9988"/>
                <a:gd name="connsiteX9" fmla="*/ 3858 w 10000"/>
                <a:gd name="connsiteY9" fmla="*/ 8135 h 9988"/>
                <a:gd name="connsiteX10" fmla="*/ 1862 w 10000"/>
                <a:gd name="connsiteY10" fmla="*/ 7474 h 9988"/>
                <a:gd name="connsiteX11" fmla="*/ 88 w 10000"/>
                <a:gd name="connsiteY11" fmla="*/ 5120 h 9988"/>
                <a:gd name="connsiteX12" fmla="*/ 1048 w 10000"/>
                <a:gd name="connsiteY12" fmla="*/ 1068 h 9988"/>
                <a:gd name="connsiteX13" fmla="*/ 2748 w 10000"/>
                <a:gd name="connsiteY13" fmla="*/ 126 h 9988"/>
                <a:gd name="connsiteX0" fmla="*/ 2748 w 10000"/>
                <a:gd name="connsiteY0" fmla="*/ 126 h 9678"/>
                <a:gd name="connsiteX1" fmla="*/ 5113 w 10000"/>
                <a:gd name="connsiteY1" fmla="*/ 126 h 9678"/>
                <a:gd name="connsiteX2" fmla="*/ 8808 w 10000"/>
                <a:gd name="connsiteY2" fmla="*/ 3616 h 9678"/>
                <a:gd name="connsiteX3" fmla="*/ 9991 w 10000"/>
                <a:gd name="connsiteY3" fmla="*/ 6540 h 9678"/>
                <a:gd name="connsiteX4" fmla="*/ 9251 w 10000"/>
                <a:gd name="connsiteY4" fmla="*/ 8809 h 9678"/>
                <a:gd name="connsiteX5" fmla="*/ 7159 w 10000"/>
                <a:gd name="connsiteY5" fmla="*/ 9665 h 9678"/>
                <a:gd name="connsiteX6" fmla="*/ 5704 w 10000"/>
                <a:gd name="connsiteY6" fmla="*/ 8239 h 9678"/>
                <a:gd name="connsiteX7" fmla="*/ 4301 w 10000"/>
                <a:gd name="connsiteY7" fmla="*/ 6259 h 9678"/>
                <a:gd name="connsiteX8" fmla="*/ 3858 w 10000"/>
                <a:gd name="connsiteY8" fmla="*/ 8145 h 9678"/>
                <a:gd name="connsiteX9" fmla="*/ 1862 w 10000"/>
                <a:gd name="connsiteY9" fmla="*/ 7483 h 9678"/>
                <a:gd name="connsiteX10" fmla="*/ 88 w 10000"/>
                <a:gd name="connsiteY10" fmla="*/ 5126 h 9678"/>
                <a:gd name="connsiteX11" fmla="*/ 1048 w 10000"/>
                <a:gd name="connsiteY11" fmla="*/ 1069 h 9678"/>
                <a:gd name="connsiteX12" fmla="*/ 2748 w 10000"/>
                <a:gd name="connsiteY12" fmla="*/ 126 h 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0" h="9678">
                  <a:moveTo>
                    <a:pt x="2748" y="126"/>
                  </a:moveTo>
                  <a:cubicBezTo>
                    <a:pt x="2748" y="126"/>
                    <a:pt x="4449" y="-157"/>
                    <a:pt x="5113" y="126"/>
                  </a:cubicBezTo>
                  <a:cubicBezTo>
                    <a:pt x="5704" y="408"/>
                    <a:pt x="8439" y="3049"/>
                    <a:pt x="8808" y="3616"/>
                  </a:cubicBezTo>
                  <a:cubicBezTo>
                    <a:pt x="9177" y="4276"/>
                    <a:pt x="9916" y="6067"/>
                    <a:pt x="9991" y="6540"/>
                  </a:cubicBezTo>
                  <a:cubicBezTo>
                    <a:pt x="10064" y="6918"/>
                    <a:pt x="9723" y="8288"/>
                    <a:pt x="9251" y="8809"/>
                  </a:cubicBezTo>
                  <a:cubicBezTo>
                    <a:pt x="8779" y="9330"/>
                    <a:pt x="7750" y="9760"/>
                    <a:pt x="7159" y="9665"/>
                  </a:cubicBezTo>
                  <a:cubicBezTo>
                    <a:pt x="6568" y="9570"/>
                    <a:pt x="6180" y="8807"/>
                    <a:pt x="5704" y="8239"/>
                  </a:cubicBezTo>
                  <a:cubicBezTo>
                    <a:pt x="5228" y="7671"/>
                    <a:pt x="4301" y="6067"/>
                    <a:pt x="4301" y="6259"/>
                  </a:cubicBezTo>
                  <a:cubicBezTo>
                    <a:pt x="4227" y="6354"/>
                    <a:pt x="4670" y="7671"/>
                    <a:pt x="3858" y="8145"/>
                  </a:cubicBezTo>
                  <a:cubicBezTo>
                    <a:pt x="3044" y="8614"/>
                    <a:pt x="2231" y="7957"/>
                    <a:pt x="1862" y="7483"/>
                  </a:cubicBezTo>
                  <a:cubicBezTo>
                    <a:pt x="1492" y="7012"/>
                    <a:pt x="-429" y="6354"/>
                    <a:pt x="88" y="5126"/>
                  </a:cubicBezTo>
                  <a:cubicBezTo>
                    <a:pt x="531" y="3805"/>
                    <a:pt x="753" y="1447"/>
                    <a:pt x="1048" y="1069"/>
                  </a:cubicBezTo>
                  <a:cubicBezTo>
                    <a:pt x="1419" y="691"/>
                    <a:pt x="2748" y="126"/>
                    <a:pt x="2748" y="126"/>
                  </a:cubicBezTo>
                  <a:close/>
                </a:path>
              </a:pathLst>
            </a:custGeom>
            <a:solidFill>
              <a:srgbClr val="965B39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56DC698E-A406-466B-A288-4289D16B25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1550" y="6254750"/>
              <a:ext cx="120650" cy="115888"/>
            </a:xfrm>
            <a:custGeom>
              <a:avLst/>
              <a:gdLst>
                <a:gd name="T0" fmla="*/ 9 w 32"/>
                <a:gd name="T1" fmla="*/ 1 h 31"/>
                <a:gd name="T2" fmla="*/ 2 w 32"/>
                <a:gd name="T3" fmla="*/ 5 h 31"/>
                <a:gd name="T4" fmla="*/ 16 w 32"/>
                <a:gd name="T5" fmla="*/ 20 h 31"/>
                <a:gd name="T6" fmla="*/ 32 w 32"/>
                <a:gd name="T7" fmla="*/ 31 h 31"/>
                <a:gd name="T8" fmla="*/ 25 w 32"/>
                <a:gd name="T9" fmla="*/ 17 h 31"/>
                <a:gd name="T10" fmla="*/ 9 w 32"/>
                <a:gd name="T11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9" y="1"/>
                  </a:moveTo>
                  <a:cubicBezTo>
                    <a:pt x="9" y="1"/>
                    <a:pt x="0" y="0"/>
                    <a:pt x="2" y="5"/>
                  </a:cubicBezTo>
                  <a:cubicBezTo>
                    <a:pt x="5" y="10"/>
                    <a:pt x="8" y="15"/>
                    <a:pt x="16" y="20"/>
                  </a:cubicBezTo>
                  <a:cubicBezTo>
                    <a:pt x="23" y="25"/>
                    <a:pt x="32" y="31"/>
                    <a:pt x="32" y="31"/>
                  </a:cubicBezTo>
                  <a:cubicBezTo>
                    <a:pt x="32" y="31"/>
                    <a:pt x="31" y="24"/>
                    <a:pt x="25" y="17"/>
                  </a:cubicBezTo>
                  <a:cubicBezTo>
                    <a:pt x="18" y="10"/>
                    <a:pt x="9" y="1"/>
                    <a:pt x="9" y="1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0">
              <a:extLst>
                <a:ext uri="{FF2B5EF4-FFF2-40B4-BE49-F238E27FC236}">
                  <a16:creationId xmlns:a16="http://schemas.microsoft.com/office/drawing/2014/main" id="{64B76E81-E072-4722-9813-ABA907CB2C34}"/>
                </a:ext>
              </a:extLst>
            </p:cNvPr>
            <p:cNvSpPr>
              <a:spLocks/>
            </p:cNvSpPr>
            <p:nvPr/>
          </p:nvSpPr>
          <p:spPr bwMode="gray">
            <a:xfrm rot="21150270">
              <a:off x="6213443" y="6207156"/>
              <a:ext cx="104775" cy="300038"/>
            </a:xfrm>
            <a:custGeom>
              <a:avLst/>
              <a:gdLst>
                <a:gd name="T0" fmla="*/ 36 w 48"/>
                <a:gd name="T1" fmla="*/ 27 h 80"/>
                <a:gd name="T2" fmla="*/ 1 w 48"/>
                <a:gd name="T3" fmla="*/ 0 h 80"/>
                <a:gd name="T4" fmla="*/ 18 w 48"/>
                <a:gd name="T5" fmla="*/ 30 h 80"/>
                <a:gd name="T6" fmla="*/ 34 w 48"/>
                <a:gd name="T7" fmla="*/ 54 h 80"/>
                <a:gd name="T8" fmla="*/ 28 w 48"/>
                <a:gd name="T9" fmla="*/ 69 h 80"/>
                <a:gd name="T10" fmla="*/ 0 w 48"/>
                <a:gd name="T11" fmla="*/ 55 h 80"/>
                <a:gd name="T12" fmla="*/ 22 w 48"/>
                <a:gd name="T13" fmla="*/ 76 h 80"/>
                <a:gd name="T14" fmla="*/ 38 w 48"/>
                <a:gd name="T15" fmla="*/ 76 h 80"/>
                <a:gd name="T16" fmla="*/ 42 w 48"/>
                <a:gd name="T17" fmla="*/ 62 h 80"/>
                <a:gd name="T18" fmla="*/ 45 w 48"/>
                <a:gd name="T19" fmla="*/ 49 h 80"/>
                <a:gd name="T20" fmla="*/ 36 w 48"/>
                <a:gd name="T21" fmla="*/ 2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80">
                  <a:moveTo>
                    <a:pt x="36" y="27"/>
                  </a:moveTo>
                  <a:cubicBezTo>
                    <a:pt x="24" y="15"/>
                    <a:pt x="1" y="0"/>
                    <a:pt x="1" y="0"/>
                  </a:cubicBezTo>
                  <a:cubicBezTo>
                    <a:pt x="1" y="0"/>
                    <a:pt x="12" y="22"/>
                    <a:pt x="18" y="30"/>
                  </a:cubicBezTo>
                  <a:cubicBezTo>
                    <a:pt x="22" y="35"/>
                    <a:pt x="29" y="46"/>
                    <a:pt x="34" y="54"/>
                  </a:cubicBezTo>
                  <a:cubicBezTo>
                    <a:pt x="33" y="57"/>
                    <a:pt x="33" y="68"/>
                    <a:pt x="28" y="69"/>
                  </a:cubicBezTo>
                  <a:cubicBezTo>
                    <a:pt x="20" y="69"/>
                    <a:pt x="0" y="55"/>
                    <a:pt x="0" y="55"/>
                  </a:cubicBezTo>
                  <a:cubicBezTo>
                    <a:pt x="0" y="55"/>
                    <a:pt x="17" y="72"/>
                    <a:pt x="22" y="76"/>
                  </a:cubicBezTo>
                  <a:cubicBezTo>
                    <a:pt x="27" y="80"/>
                    <a:pt x="32" y="78"/>
                    <a:pt x="38" y="76"/>
                  </a:cubicBezTo>
                  <a:cubicBezTo>
                    <a:pt x="42" y="74"/>
                    <a:pt x="42" y="65"/>
                    <a:pt x="42" y="62"/>
                  </a:cubicBezTo>
                  <a:cubicBezTo>
                    <a:pt x="43" y="59"/>
                    <a:pt x="46" y="54"/>
                    <a:pt x="45" y="49"/>
                  </a:cubicBezTo>
                  <a:cubicBezTo>
                    <a:pt x="45" y="42"/>
                    <a:pt x="48" y="38"/>
                    <a:pt x="36" y="27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42F2AD4C-80B3-43E9-A97A-54E3B8C27E0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375" y="3438525"/>
              <a:ext cx="977900" cy="1563688"/>
            </a:xfrm>
            <a:custGeom>
              <a:avLst/>
              <a:gdLst>
                <a:gd name="T0" fmla="*/ 256 w 261"/>
                <a:gd name="T1" fmla="*/ 160 h 417"/>
                <a:gd name="T2" fmla="*/ 256 w 261"/>
                <a:gd name="T3" fmla="*/ 160 h 417"/>
                <a:gd name="T4" fmla="*/ 252 w 261"/>
                <a:gd name="T5" fmla="*/ 141 h 417"/>
                <a:gd name="T6" fmla="*/ 235 w 261"/>
                <a:gd name="T7" fmla="*/ 59 h 417"/>
                <a:gd name="T8" fmla="*/ 199 w 261"/>
                <a:gd name="T9" fmla="*/ 18 h 417"/>
                <a:gd name="T10" fmla="*/ 111 w 261"/>
                <a:gd name="T11" fmla="*/ 3 h 417"/>
                <a:gd name="T12" fmla="*/ 84 w 261"/>
                <a:gd name="T13" fmla="*/ 5 h 417"/>
                <a:gd name="T14" fmla="*/ 34 w 261"/>
                <a:gd name="T15" fmla="*/ 34 h 417"/>
                <a:gd name="T16" fmla="*/ 4 w 261"/>
                <a:gd name="T17" fmla="*/ 115 h 417"/>
                <a:gd name="T18" fmla="*/ 23 w 261"/>
                <a:gd name="T19" fmla="*/ 197 h 417"/>
                <a:gd name="T20" fmla="*/ 27 w 261"/>
                <a:gd name="T21" fmla="*/ 207 h 417"/>
                <a:gd name="T22" fmla="*/ 30 w 261"/>
                <a:gd name="T23" fmla="*/ 224 h 417"/>
                <a:gd name="T24" fmla="*/ 67 w 261"/>
                <a:gd name="T25" fmla="*/ 291 h 417"/>
                <a:gd name="T26" fmla="*/ 63 w 261"/>
                <a:gd name="T27" fmla="*/ 326 h 417"/>
                <a:gd name="T28" fmla="*/ 105 w 261"/>
                <a:gd name="T29" fmla="*/ 393 h 417"/>
                <a:gd name="T30" fmla="*/ 195 w 261"/>
                <a:gd name="T31" fmla="*/ 392 h 417"/>
                <a:gd name="T32" fmla="*/ 226 w 261"/>
                <a:gd name="T33" fmla="*/ 312 h 417"/>
                <a:gd name="T34" fmla="*/ 235 w 261"/>
                <a:gd name="T35" fmla="*/ 250 h 417"/>
                <a:gd name="T36" fmla="*/ 252 w 261"/>
                <a:gd name="T37" fmla="*/ 202 h 417"/>
                <a:gd name="T38" fmla="*/ 256 w 261"/>
                <a:gd name="T39" fmla="*/ 16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1" h="417">
                  <a:moveTo>
                    <a:pt x="256" y="160"/>
                  </a:moveTo>
                  <a:cubicBezTo>
                    <a:pt x="256" y="160"/>
                    <a:pt x="256" y="160"/>
                    <a:pt x="256" y="160"/>
                  </a:cubicBezTo>
                  <a:cubicBezTo>
                    <a:pt x="251" y="159"/>
                    <a:pt x="252" y="150"/>
                    <a:pt x="252" y="141"/>
                  </a:cubicBezTo>
                  <a:cubicBezTo>
                    <a:pt x="253" y="133"/>
                    <a:pt x="241" y="71"/>
                    <a:pt x="235" y="59"/>
                  </a:cubicBezTo>
                  <a:cubicBezTo>
                    <a:pt x="229" y="48"/>
                    <a:pt x="222" y="35"/>
                    <a:pt x="199" y="18"/>
                  </a:cubicBezTo>
                  <a:cubicBezTo>
                    <a:pt x="176" y="0"/>
                    <a:pt x="111" y="3"/>
                    <a:pt x="111" y="3"/>
                  </a:cubicBezTo>
                  <a:cubicBezTo>
                    <a:pt x="111" y="3"/>
                    <a:pt x="91" y="4"/>
                    <a:pt x="84" y="5"/>
                  </a:cubicBezTo>
                  <a:cubicBezTo>
                    <a:pt x="76" y="6"/>
                    <a:pt x="46" y="23"/>
                    <a:pt x="34" y="34"/>
                  </a:cubicBezTo>
                  <a:cubicBezTo>
                    <a:pt x="22" y="44"/>
                    <a:pt x="7" y="99"/>
                    <a:pt x="4" y="115"/>
                  </a:cubicBezTo>
                  <a:cubicBezTo>
                    <a:pt x="0" y="132"/>
                    <a:pt x="16" y="172"/>
                    <a:pt x="23" y="197"/>
                  </a:cubicBezTo>
                  <a:cubicBezTo>
                    <a:pt x="25" y="201"/>
                    <a:pt x="26" y="205"/>
                    <a:pt x="27" y="207"/>
                  </a:cubicBezTo>
                  <a:cubicBezTo>
                    <a:pt x="31" y="216"/>
                    <a:pt x="30" y="209"/>
                    <a:pt x="30" y="224"/>
                  </a:cubicBezTo>
                  <a:cubicBezTo>
                    <a:pt x="30" y="243"/>
                    <a:pt x="64" y="285"/>
                    <a:pt x="67" y="291"/>
                  </a:cubicBezTo>
                  <a:cubicBezTo>
                    <a:pt x="69" y="297"/>
                    <a:pt x="68" y="320"/>
                    <a:pt x="63" y="326"/>
                  </a:cubicBezTo>
                  <a:cubicBezTo>
                    <a:pt x="59" y="333"/>
                    <a:pt x="88" y="369"/>
                    <a:pt x="105" y="393"/>
                  </a:cubicBezTo>
                  <a:cubicBezTo>
                    <a:pt x="121" y="417"/>
                    <a:pt x="175" y="407"/>
                    <a:pt x="195" y="392"/>
                  </a:cubicBezTo>
                  <a:cubicBezTo>
                    <a:pt x="215" y="376"/>
                    <a:pt x="224" y="332"/>
                    <a:pt x="226" y="312"/>
                  </a:cubicBezTo>
                  <a:cubicBezTo>
                    <a:pt x="227" y="291"/>
                    <a:pt x="234" y="259"/>
                    <a:pt x="235" y="250"/>
                  </a:cubicBezTo>
                  <a:cubicBezTo>
                    <a:pt x="237" y="242"/>
                    <a:pt x="249" y="214"/>
                    <a:pt x="252" y="202"/>
                  </a:cubicBezTo>
                  <a:cubicBezTo>
                    <a:pt x="256" y="191"/>
                    <a:pt x="261" y="163"/>
                    <a:pt x="256" y="160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5232DB30-4E00-45C7-B28C-BA8A2053E5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250" y="4484688"/>
              <a:ext cx="584200" cy="304800"/>
            </a:xfrm>
            <a:custGeom>
              <a:avLst/>
              <a:gdLst>
                <a:gd name="T0" fmla="*/ 0 w 156"/>
                <a:gd name="T1" fmla="*/ 20 h 81"/>
                <a:gd name="T2" fmla="*/ 65 w 156"/>
                <a:gd name="T3" fmla="*/ 74 h 81"/>
                <a:gd name="T4" fmla="*/ 121 w 156"/>
                <a:gd name="T5" fmla="*/ 58 h 81"/>
                <a:gd name="T6" fmla="*/ 156 w 156"/>
                <a:gd name="T7" fmla="*/ 0 h 81"/>
                <a:gd name="T8" fmla="*/ 114 w 156"/>
                <a:gd name="T9" fmla="*/ 50 h 81"/>
                <a:gd name="T10" fmla="*/ 63 w 156"/>
                <a:gd name="T11" fmla="*/ 62 h 81"/>
                <a:gd name="T12" fmla="*/ 0 w 156"/>
                <a:gd name="T13" fmla="*/ 2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81">
                  <a:moveTo>
                    <a:pt x="0" y="20"/>
                  </a:moveTo>
                  <a:cubicBezTo>
                    <a:pt x="0" y="20"/>
                    <a:pt x="46" y="67"/>
                    <a:pt x="65" y="74"/>
                  </a:cubicBezTo>
                  <a:cubicBezTo>
                    <a:pt x="85" y="81"/>
                    <a:pt x="114" y="67"/>
                    <a:pt x="121" y="58"/>
                  </a:cubicBezTo>
                  <a:cubicBezTo>
                    <a:pt x="129" y="49"/>
                    <a:pt x="156" y="0"/>
                    <a:pt x="156" y="0"/>
                  </a:cubicBezTo>
                  <a:cubicBezTo>
                    <a:pt x="156" y="0"/>
                    <a:pt x="124" y="43"/>
                    <a:pt x="114" y="50"/>
                  </a:cubicBezTo>
                  <a:cubicBezTo>
                    <a:pt x="103" y="58"/>
                    <a:pt x="86" y="73"/>
                    <a:pt x="63" y="62"/>
                  </a:cubicBezTo>
                  <a:cubicBezTo>
                    <a:pt x="41" y="52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6FA9FB49-9BE1-4FD7-B78D-A25DFBDE63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2550" y="3443288"/>
              <a:ext cx="966787" cy="817563"/>
            </a:xfrm>
            <a:custGeom>
              <a:avLst/>
              <a:gdLst>
                <a:gd name="T0" fmla="*/ 44 w 258"/>
                <a:gd name="T1" fmla="*/ 209 h 218"/>
                <a:gd name="T2" fmla="*/ 57 w 258"/>
                <a:gd name="T3" fmla="*/ 119 h 218"/>
                <a:gd name="T4" fmla="*/ 99 w 258"/>
                <a:gd name="T5" fmla="*/ 82 h 218"/>
                <a:gd name="T6" fmla="*/ 127 w 258"/>
                <a:gd name="T7" fmla="*/ 87 h 218"/>
                <a:gd name="T8" fmla="*/ 184 w 258"/>
                <a:gd name="T9" fmla="*/ 83 h 218"/>
                <a:gd name="T10" fmla="*/ 219 w 258"/>
                <a:gd name="T11" fmla="*/ 156 h 218"/>
                <a:gd name="T12" fmla="*/ 235 w 258"/>
                <a:gd name="T13" fmla="*/ 201 h 218"/>
                <a:gd name="T14" fmla="*/ 241 w 258"/>
                <a:gd name="T15" fmla="*/ 157 h 218"/>
                <a:gd name="T16" fmla="*/ 258 w 258"/>
                <a:gd name="T17" fmla="*/ 164 h 218"/>
                <a:gd name="T18" fmla="*/ 255 w 258"/>
                <a:gd name="T19" fmla="*/ 160 h 218"/>
                <a:gd name="T20" fmla="*/ 252 w 258"/>
                <a:gd name="T21" fmla="*/ 141 h 218"/>
                <a:gd name="T22" fmla="*/ 234 w 258"/>
                <a:gd name="T23" fmla="*/ 59 h 218"/>
                <a:gd name="T24" fmla="*/ 198 w 258"/>
                <a:gd name="T25" fmla="*/ 18 h 218"/>
                <a:gd name="T26" fmla="*/ 110 w 258"/>
                <a:gd name="T27" fmla="*/ 3 h 218"/>
                <a:gd name="T28" fmla="*/ 83 w 258"/>
                <a:gd name="T29" fmla="*/ 5 h 218"/>
                <a:gd name="T30" fmla="*/ 34 w 258"/>
                <a:gd name="T31" fmla="*/ 34 h 218"/>
                <a:gd name="T32" fmla="*/ 3 w 258"/>
                <a:gd name="T33" fmla="*/ 115 h 218"/>
                <a:gd name="T34" fmla="*/ 23 w 258"/>
                <a:gd name="T35" fmla="*/ 197 h 218"/>
                <a:gd name="T36" fmla="*/ 26 w 258"/>
                <a:gd name="T37" fmla="*/ 207 h 218"/>
                <a:gd name="T38" fmla="*/ 44 w 258"/>
                <a:gd name="T39" fmla="*/ 20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8" h="218">
                  <a:moveTo>
                    <a:pt x="44" y="209"/>
                  </a:moveTo>
                  <a:cubicBezTo>
                    <a:pt x="45" y="196"/>
                    <a:pt x="53" y="129"/>
                    <a:pt x="57" y="119"/>
                  </a:cubicBezTo>
                  <a:cubicBezTo>
                    <a:pt x="61" y="109"/>
                    <a:pt x="82" y="79"/>
                    <a:pt x="99" y="82"/>
                  </a:cubicBezTo>
                  <a:cubicBezTo>
                    <a:pt x="116" y="85"/>
                    <a:pt x="119" y="95"/>
                    <a:pt x="127" y="87"/>
                  </a:cubicBezTo>
                  <a:cubicBezTo>
                    <a:pt x="136" y="79"/>
                    <a:pt x="162" y="71"/>
                    <a:pt x="184" y="83"/>
                  </a:cubicBezTo>
                  <a:cubicBezTo>
                    <a:pt x="206" y="94"/>
                    <a:pt x="215" y="139"/>
                    <a:pt x="219" y="156"/>
                  </a:cubicBezTo>
                  <a:cubicBezTo>
                    <a:pt x="223" y="173"/>
                    <a:pt x="235" y="201"/>
                    <a:pt x="235" y="201"/>
                  </a:cubicBezTo>
                  <a:cubicBezTo>
                    <a:pt x="241" y="157"/>
                    <a:pt x="241" y="157"/>
                    <a:pt x="241" y="157"/>
                  </a:cubicBezTo>
                  <a:cubicBezTo>
                    <a:pt x="258" y="164"/>
                    <a:pt x="258" y="164"/>
                    <a:pt x="258" y="164"/>
                  </a:cubicBezTo>
                  <a:cubicBezTo>
                    <a:pt x="258" y="164"/>
                    <a:pt x="255" y="160"/>
                    <a:pt x="255" y="160"/>
                  </a:cubicBezTo>
                  <a:cubicBezTo>
                    <a:pt x="250" y="159"/>
                    <a:pt x="251" y="150"/>
                    <a:pt x="252" y="141"/>
                  </a:cubicBezTo>
                  <a:cubicBezTo>
                    <a:pt x="253" y="133"/>
                    <a:pt x="241" y="71"/>
                    <a:pt x="234" y="59"/>
                  </a:cubicBezTo>
                  <a:cubicBezTo>
                    <a:pt x="228" y="48"/>
                    <a:pt x="221" y="35"/>
                    <a:pt x="198" y="18"/>
                  </a:cubicBezTo>
                  <a:cubicBezTo>
                    <a:pt x="175" y="0"/>
                    <a:pt x="110" y="3"/>
                    <a:pt x="110" y="3"/>
                  </a:cubicBezTo>
                  <a:cubicBezTo>
                    <a:pt x="110" y="3"/>
                    <a:pt x="90" y="4"/>
                    <a:pt x="83" y="5"/>
                  </a:cubicBezTo>
                  <a:cubicBezTo>
                    <a:pt x="76" y="6"/>
                    <a:pt x="46" y="23"/>
                    <a:pt x="34" y="34"/>
                  </a:cubicBezTo>
                  <a:cubicBezTo>
                    <a:pt x="22" y="44"/>
                    <a:pt x="6" y="99"/>
                    <a:pt x="3" y="115"/>
                  </a:cubicBezTo>
                  <a:cubicBezTo>
                    <a:pt x="0" y="132"/>
                    <a:pt x="15" y="172"/>
                    <a:pt x="23" y="197"/>
                  </a:cubicBezTo>
                  <a:cubicBezTo>
                    <a:pt x="24" y="201"/>
                    <a:pt x="26" y="205"/>
                    <a:pt x="26" y="207"/>
                  </a:cubicBezTo>
                  <a:cubicBezTo>
                    <a:pt x="34" y="213"/>
                    <a:pt x="42" y="218"/>
                    <a:pt x="44" y="209"/>
                  </a:cubicBezTo>
                  <a:close/>
                </a:path>
              </a:pathLst>
            </a:custGeom>
            <a:solidFill>
              <a:srgbClr val="38291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54AAAA3C-620C-4885-8217-BE5BCB24FC7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9875" y="3498850"/>
              <a:ext cx="555625" cy="239713"/>
            </a:xfrm>
            <a:custGeom>
              <a:avLst/>
              <a:gdLst>
                <a:gd name="T0" fmla="*/ 63 w 148"/>
                <a:gd name="T1" fmla="*/ 0 h 64"/>
                <a:gd name="T2" fmla="*/ 16 w 148"/>
                <a:gd name="T3" fmla="*/ 25 h 64"/>
                <a:gd name="T4" fmla="*/ 43 w 148"/>
                <a:gd name="T5" fmla="*/ 39 h 64"/>
                <a:gd name="T6" fmla="*/ 14 w 148"/>
                <a:gd name="T7" fmla="*/ 61 h 64"/>
                <a:gd name="T8" fmla="*/ 66 w 148"/>
                <a:gd name="T9" fmla="*/ 58 h 64"/>
                <a:gd name="T10" fmla="*/ 81 w 148"/>
                <a:gd name="T11" fmla="*/ 56 h 64"/>
                <a:gd name="T12" fmla="*/ 139 w 148"/>
                <a:gd name="T13" fmla="*/ 61 h 64"/>
                <a:gd name="T14" fmla="*/ 94 w 148"/>
                <a:gd name="T15" fmla="*/ 31 h 64"/>
                <a:gd name="T16" fmla="*/ 115 w 148"/>
                <a:gd name="T17" fmla="*/ 20 h 64"/>
                <a:gd name="T18" fmla="*/ 127 w 148"/>
                <a:gd name="T19" fmla="*/ 12 h 64"/>
                <a:gd name="T20" fmla="*/ 63 w 148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64">
                  <a:moveTo>
                    <a:pt x="63" y="0"/>
                  </a:moveTo>
                  <a:cubicBezTo>
                    <a:pt x="63" y="0"/>
                    <a:pt x="2" y="21"/>
                    <a:pt x="16" y="25"/>
                  </a:cubicBezTo>
                  <a:cubicBezTo>
                    <a:pt x="31" y="28"/>
                    <a:pt x="58" y="30"/>
                    <a:pt x="43" y="39"/>
                  </a:cubicBezTo>
                  <a:cubicBezTo>
                    <a:pt x="28" y="48"/>
                    <a:pt x="0" y="62"/>
                    <a:pt x="14" y="61"/>
                  </a:cubicBezTo>
                  <a:cubicBezTo>
                    <a:pt x="27" y="59"/>
                    <a:pt x="62" y="52"/>
                    <a:pt x="66" y="58"/>
                  </a:cubicBezTo>
                  <a:cubicBezTo>
                    <a:pt x="71" y="64"/>
                    <a:pt x="70" y="59"/>
                    <a:pt x="81" y="56"/>
                  </a:cubicBezTo>
                  <a:cubicBezTo>
                    <a:pt x="92" y="52"/>
                    <a:pt x="139" y="61"/>
                    <a:pt x="139" y="61"/>
                  </a:cubicBezTo>
                  <a:cubicBezTo>
                    <a:pt x="139" y="61"/>
                    <a:pt x="105" y="36"/>
                    <a:pt x="94" y="31"/>
                  </a:cubicBezTo>
                  <a:cubicBezTo>
                    <a:pt x="83" y="26"/>
                    <a:pt x="91" y="19"/>
                    <a:pt x="115" y="20"/>
                  </a:cubicBezTo>
                  <a:cubicBezTo>
                    <a:pt x="139" y="21"/>
                    <a:pt x="148" y="19"/>
                    <a:pt x="127" y="12"/>
                  </a:cubicBezTo>
                  <a:cubicBezTo>
                    <a:pt x="107" y="4"/>
                    <a:pt x="63" y="0"/>
                    <a:pt x="63" y="0"/>
                  </a:cubicBezTo>
                  <a:close/>
                </a:path>
              </a:pathLst>
            </a:custGeom>
            <a:solidFill>
              <a:srgbClr val="4C392A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5C5FAC5-7F16-4538-8A1C-4817C277F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438" y="4500563"/>
              <a:ext cx="3103562" cy="1847850"/>
            </a:xfrm>
            <a:custGeom>
              <a:avLst/>
              <a:gdLst>
                <a:gd name="T0" fmla="*/ 421 w 828"/>
                <a:gd name="T1" fmla="*/ 110 h 493"/>
                <a:gd name="T2" fmla="*/ 456 w 828"/>
                <a:gd name="T3" fmla="*/ 91 h 493"/>
                <a:gd name="T4" fmla="*/ 497 w 828"/>
                <a:gd name="T5" fmla="*/ 27 h 493"/>
                <a:gd name="T6" fmla="*/ 502 w 828"/>
                <a:gd name="T7" fmla="*/ 0 h 493"/>
                <a:gd name="T8" fmla="*/ 506 w 828"/>
                <a:gd name="T9" fmla="*/ 7 h 493"/>
                <a:gd name="T10" fmla="*/ 530 w 828"/>
                <a:gd name="T11" fmla="*/ 24 h 493"/>
                <a:gd name="T12" fmla="*/ 663 w 828"/>
                <a:gd name="T13" fmla="*/ 82 h 493"/>
                <a:gd name="T14" fmla="*/ 727 w 828"/>
                <a:gd name="T15" fmla="*/ 132 h 493"/>
                <a:gd name="T16" fmla="*/ 780 w 828"/>
                <a:gd name="T17" fmla="*/ 260 h 493"/>
                <a:gd name="T18" fmla="*/ 826 w 828"/>
                <a:gd name="T19" fmla="*/ 357 h 493"/>
                <a:gd name="T20" fmla="*/ 795 w 828"/>
                <a:gd name="T21" fmla="*/ 368 h 493"/>
                <a:gd name="T22" fmla="*/ 450 w 828"/>
                <a:gd name="T23" fmla="*/ 477 h 493"/>
                <a:gd name="T24" fmla="*/ 253 w 828"/>
                <a:gd name="T25" fmla="*/ 485 h 493"/>
                <a:gd name="T26" fmla="*/ 132 w 828"/>
                <a:gd name="T27" fmla="*/ 482 h 493"/>
                <a:gd name="T28" fmla="*/ 10 w 828"/>
                <a:gd name="T29" fmla="*/ 447 h 493"/>
                <a:gd name="T30" fmla="*/ 51 w 828"/>
                <a:gd name="T31" fmla="*/ 372 h 493"/>
                <a:gd name="T32" fmla="*/ 95 w 828"/>
                <a:gd name="T33" fmla="*/ 258 h 493"/>
                <a:gd name="T34" fmla="*/ 128 w 828"/>
                <a:gd name="T35" fmla="*/ 162 h 493"/>
                <a:gd name="T36" fmla="*/ 196 w 828"/>
                <a:gd name="T37" fmla="*/ 86 h 493"/>
                <a:gd name="T38" fmla="*/ 286 w 828"/>
                <a:gd name="T39" fmla="*/ 50 h 493"/>
                <a:gd name="T40" fmla="*/ 320 w 828"/>
                <a:gd name="T41" fmla="*/ 50 h 493"/>
                <a:gd name="T42" fmla="*/ 341 w 828"/>
                <a:gd name="T43" fmla="*/ 23 h 493"/>
                <a:gd name="T44" fmla="*/ 365 w 828"/>
                <a:gd name="T45" fmla="*/ 73 h 493"/>
                <a:gd name="T46" fmla="*/ 399 w 828"/>
                <a:gd name="T47" fmla="*/ 101 h 493"/>
                <a:gd name="T48" fmla="*/ 421 w 828"/>
                <a:gd name="T49" fmla="*/ 11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28" h="493">
                  <a:moveTo>
                    <a:pt x="421" y="110"/>
                  </a:moveTo>
                  <a:cubicBezTo>
                    <a:pt x="421" y="110"/>
                    <a:pt x="442" y="103"/>
                    <a:pt x="456" y="91"/>
                  </a:cubicBezTo>
                  <a:cubicBezTo>
                    <a:pt x="469" y="79"/>
                    <a:pt x="497" y="39"/>
                    <a:pt x="497" y="27"/>
                  </a:cubicBezTo>
                  <a:cubicBezTo>
                    <a:pt x="497" y="17"/>
                    <a:pt x="498" y="1"/>
                    <a:pt x="502" y="0"/>
                  </a:cubicBezTo>
                  <a:cubicBezTo>
                    <a:pt x="504" y="0"/>
                    <a:pt x="505" y="6"/>
                    <a:pt x="506" y="7"/>
                  </a:cubicBezTo>
                  <a:cubicBezTo>
                    <a:pt x="514" y="14"/>
                    <a:pt x="520" y="18"/>
                    <a:pt x="530" y="24"/>
                  </a:cubicBezTo>
                  <a:cubicBezTo>
                    <a:pt x="540" y="29"/>
                    <a:pt x="644" y="68"/>
                    <a:pt x="663" y="82"/>
                  </a:cubicBezTo>
                  <a:cubicBezTo>
                    <a:pt x="681" y="96"/>
                    <a:pt x="715" y="112"/>
                    <a:pt x="727" y="132"/>
                  </a:cubicBezTo>
                  <a:cubicBezTo>
                    <a:pt x="739" y="153"/>
                    <a:pt x="764" y="233"/>
                    <a:pt x="780" y="260"/>
                  </a:cubicBezTo>
                  <a:cubicBezTo>
                    <a:pt x="796" y="288"/>
                    <a:pt x="824" y="346"/>
                    <a:pt x="826" y="357"/>
                  </a:cubicBezTo>
                  <a:cubicBezTo>
                    <a:pt x="828" y="368"/>
                    <a:pt x="812" y="366"/>
                    <a:pt x="795" y="368"/>
                  </a:cubicBezTo>
                  <a:cubicBezTo>
                    <a:pt x="778" y="370"/>
                    <a:pt x="476" y="460"/>
                    <a:pt x="450" y="477"/>
                  </a:cubicBezTo>
                  <a:cubicBezTo>
                    <a:pt x="425" y="493"/>
                    <a:pt x="266" y="489"/>
                    <a:pt x="253" y="485"/>
                  </a:cubicBezTo>
                  <a:cubicBezTo>
                    <a:pt x="240" y="481"/>
                    <a:pt x="160" y="486"/>
                    <a:pt x="132" y="482"/>
                  </a:cubicBezTo>
                  <a:cubicBezTo>
                    <a:pt x="103" y="477"/>
                    <a:pt x="0" y="463"/>
                    <a:pt x="10" y="447"/>
                  </a:cubicBezTo>
                  <a:cubicBezTo>
                    <a:pt x="21" y="431"/>
                    <a:pt x="45" y="387"/>
                    <a:pt x="51" y="372"/>
                  </a:cubicBezTo>
                  <a:cubicBezTo>
                    <a:pt x="57" y="357"/>
                    <a:pt x="92" y="272"/>
                    <a:pt x="95" y="258"/>
                  </a:cubicBezTo>
                  <a:cubicBezTo>
                    <a:pt x="99" y="243"/>
                    <a:pt x="124" y="172"/>
                    <a:pt x="128" y="162"/>
                  </a:cubicBezTo>
                  <a:cubicBezTo>
                    <a:pt x="132" y="152"/>
                    <a:pt x="183" y="93"/>
                    <a:pt x="196" y="86"/>
                  </a:cubicBezTo>
                  <a:cubicBezTo>
                    <a:pt x="209" y="79"/>
                    <a:pt x="268" y="46"/>
                    <a:pt x="286" y="50"/>
                  </a:cubicBezTo>
                  <a:cubicBezTo>
                    <a:pt x="305" y="54"/>
                    <a:pt x="311" y="56"/>
                    <a:pt x="320" y="50"/>
                  </a:cubicBezTo>
                  <a:cubicBezTo>
                    <a:pt x="328" y="45"/>
                    <a:pt x="339" y="13"/>
                    <a:pt x="341" y="23"/>
                  </a:cubicBezTo>
                  <a:cubicBezTo>
                    <a:pt x="344" y="33"/>
                    <a:pt x="358" y="62"/>
                    <a:pt x="365" y="73"/>
                  </a:cubicBezTo>
                  <a:cubicBezTo>
                    <a:pt x="373" y="83"/>
                    <a:pt x="391" y="96"/>
                    <a:pt x="399" y="101"/>
                  </a:cubicBezTo>
                  <a:cubicBezTo>
                    <a:pt x="407" y="107"/>
                    <a:pt x="421" y="110"/>
                    <a:pt x="421" y="110"/>
                  </a:cubicBezTo>
                  <a:close/>
                </a:path>
              </a:pathLst>
            </a:custGeom>
            <a:solidFill>
              <a:srgbClr val="E4EFF7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03FC6F81-77FD-49E2-9D89-B4F83CA3A2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8475" y="4916488"/>
              <a:ext cx="266700" cy="558800"/>
            </a:xfrm>
            <a:custGeom>
              <a:avLst/>
              <a:gdLst>
                <a:gd name="T0" fmla="*/ 0 w 71"/>
                <a:gd name="T1" fmla="*/ 27 h 149"/>
                <a:gd name="T2" fmla="*/ 22 w 71"/>
                <a:gd name="T3" fmla="*/ 1 h 149"/>
                <a:gd name="T4" fmla="*/ 44 w 71"/>
                <a:gd name="T5" fmla="*/ 10 h 149"/>
                <a:gd name="T6" fmla="*/ 58 w 71"/>
                <a:gd name="T7" fmla="*/ 40 h 149"/>
                <a:gd name="T8" fmla="*/ 51 w 71"/>
                <a:gd name="T9" fmla="*/ 63 h 149"/>
                <a:gd name="T10" fmla="*/ 65 w 71"/>
                <a:gd name="T11" fmla="*/ 95 h 149"/>
                <a:gd name="T12" fmla="*/ 51 w 71"/>
                <a:gd name="T13" fmla="*/ 149 h 149"/>
                <a:gd name="T14" fmla="*/ 11 w 71"/>
                <a:gd name="T15" fmla="*/ 141 h 149"/>
                <a:gd name="T16" fmla="*/ 19 w 71"/>
                <a:gd name="T17" fmla="*/ 65 h 149"/>
                <a:gd name="T18" fmla="*/ 4 w 71"/>
                <a:gd name="T19" fmla="*/ 35 h 149"/>
                <a:gd name="T20" fmla="*/ 0 w 71"/>
                <a:gd name="T21" fmla="*/ 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49">
                  <a:moveTo>
                    <a:pt x="0" y="27"/>
                  </a:moveTo>
                  <a:cubicBezTo>
                    <a:pt x="0" y="27"/>
                    <a:pt x="17" y="2"/>
                    <a:pt x="22" y="1"/>
                  </a:cubicBezTo>
                  <a:cubicBezTo>
                    <a:pt x="28" y="0"/>
                    <a:pt x="40" y="2"/>
                    <a:pt x="44" y="10"/>
                  </a:cubicBezTo>
                  <a:cubicBezTo>
                    <a:pt x="49" y="17"/>
                    <a:pt x="60" y="36"/>
                    <a:pt x="58" y="40"/>
                  </a:cubicBezTo>
                  <a:cubicBezTo>
                    <a:pt x="56" y="45"/>
                    <a:pt x="49" y="62"/>
                    <a:pt x="51" y="63"/>
                  </a:cubicBezTo>
                  <a:cubicBezTo>
                    <a:pt x="53" y="65"/>
                    <a:pt x="71" y="79"/>
                    <a:pt x="65" y="95"/>
                  </a:cubicBezTo>
                  <a:cubicBezTo>
                    <a:pt x="59" y="111"/>
                    <a:pt x="51" y="149"/>
                    <a:pt x="51" y="149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1"/>
                    <a:pt x="17" y="71"/>
                    <a:pt x="19" y="65"/>
                  </a:cubicBezTo>
                  <a:cubicBezTo>
                    <a:pt x="20" y="59"/>
                    <a:pt x="7" y="38"/>
                    <a:pt x="4" y="35"/>
                  </a:cubicBezTo>
                  <a:cubicBezTo>
                    <a:pt x="2" y="31"/>
                    <a:pt x="0" y="27"/>
                    <a:pt x="0" y="2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2C151256-F5FC-4FFB-889C-FFFC9A594D9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5300" y="4908550"/>
              <a:ext cx="195262" cy="307975"/>
            </a:xfrm>
            <a:custGeom>
              <a:avLst/>
              <a:gdLst>
                <a:gd name="T0" fmla="*/ 31 w 52"/>
                <a:gd name="T1" fmla="*/ 11 h 82"/>
                <a:gd name="T2" fmla="*/ 18 w 52"/>
                <a:gd name="T3" fmla="*/ 35 h 82"/>
                <a:gd name="T4" fmla="*/ 29 w 52"/>
                <a:gd name="T5" fmla="*/ 61 h 82"/>
                <a:gd name="T6" fmla="*/ 52 w 52"/>
                <a:gd name="T7" fmla="*/ 65 h 82"/>
                <a:gd name="T8" fmla="*/ 17 w 52"/>
                <a:gd name="T9" fmla="*/ 78 h 82"/>
                <a:gd name="T10" fmla="*/ 18 w 52"/>
                <a:gd name="T11" fmla="*/ 61 h 82"/>
                <a:gd name="T12" fmla="*/ 1 w 52"/>
                <a:gd name="T13" fmla="*/ 29 h 82"/>
                <a:gd name="T14" fmla="*/ 20 w 52"/>
                <a:gd name="T15" fmla="*/ 4 h 82"/>
                <a:gd name="T16" fmla="*/ 29 w 52"/>
                <a:gd name="T17" fmla="*/ 3 h 82"/>
                <a:gd name="T18" fmla="*/ 31 w 52"/>
                <a:gd name="T19" fmla="*/ 1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82">
                  <a:moveTo>
                    <a:pt x="31" y="11"/>
                  </a:moveTo>
                  <a:cubicBezTo>
                    <a:pt x="31" y="11"/>
                    <a:pt x="16" y="25"/>
                    <a:pt x="18" y="35"/>
                  </a:cubicBezTo>
                  <a:cubicBezTo>
                    <a:pt x="19" y="46"/>
                    <a:pt x="26" y="60"/>
                    <a:pt x="29" y="61"/>
                  </a:cubicBezTo>
                  <a:cubicBezTo>
                    <a:pt x="33" y="61"/>
                    <a:pt x="52" y="65"/>
                    <a:pt x="52" y="65"/>
                  </a:cubicBezTo>
                  <a:cubicBezTo>
                    <a:pt x="52" y="65"/>
                    <a:pt x="17" y="82"/>
                    <a:pt x="17" y="78"/>
                  </a:cubicBezTo>
                  <a:cubicBezTo>
                    <a:pt x="17" y="75"/>
                    <a:pt x="23" y="69"/>
                    <a:pt x="18" y="61"/>
                  </a:cubicBezTo>
                  <a:cubicBezTo>
                    <a:pt x="12" y="52"/>
                    <a:pt x="0" y="35"/>
                    <a:pt x="1" y="29"/>
                  </a:cubicBezTo>
                  <a:cubicBezTo>
                    <a:pt x="1" y="23"/>
                    <a:pt x="16" y="6"/>
                    <a:pt x="20" y="4"/>
                  </a:cubicBezTo>
                  <a:cubicBezTo>
                    <a:pt x="23" y="3"/>
                    <a:pt x="26" y="0"/>
                    <a:pt x="29" y="3"/>
                  </a:cubicBezTo>
                  <a:cubicBezTo>
                    <a:pt x="31" y="6"/>
                    <a:pt x="31" y="11"/>
                    <a:pt x="31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AFD2C81B-4D35-4F99-BAE4-320712B8DC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1838" y="4537075"/>
              <a:ext cx="306387" cy="773113"/>
            </a:xfrm>
            <a:custGeom>
              <a:avLst/>
              <a:gdLst>
                <a:gd name="T0" fmla="*/ 3 w 82"/>
                <a:gd name="T1" fmla="*/ 145 h 206"/>
                <a:gd name="T2" fmla="*/ 16 w 82"/>
                <a:gd name="T3" fmla="*/ 185 h 206"/>
                <a:gd name="T4" fmla="*/ 44 w 82"/>
                <a:gd name="T5" fmla="*/ 128 h 206"/>
                <a:gd name="T6" fmla="*/ 71 w 82"/>
                <a:gd name="T7" fmla="*/ 40 h 206"/>
                <a:gd name="T8" fmla="*/ 60 w 82"/>
                <a:gd name="T9" fmla="*/ 7 h 206"/>
                <a:gd name="T10" fmla="*/ 79 w 82"/>
                <a:gd name="T11" fmla="*/ 45 h 206"/>
                <a:gd name="T12" fmla="*/ 72 w 82"/>
                <a:gd name="T13" fmla="*/ 88 h 206"/>
                <a:gd name="T14" fmla="*/ 21 w 82"/>
                <a:gd name="T15" fmla="*/ 189 h 206"/>
                <a:gd name="T16" fmla="*/ 13 w 82"/>
                <a:gd name="T17" fmla="*/ 202 h 206"/>
                <a:gd name="T18" fmla="*/ 3 w 82"/>
                <a:gd name="T19" fmla="*/ 166 h 206"/>
                <a:gd name="T20" fmla="*/ 3 w 82"/>
                <a:gd name="T21" fmla="*/ 14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206">
                  <a:moveTo>
                    <a:pt x="3" y="145"/>
                  </a:moveTo>
                  <a:cubicBezTo>
                    <a:pt x="16" y="185"/>
                    <a:pt x="16" y="185"/>
                    <a:pt x="16" y="185"/>
                  </a:cubicBezTo>
                  <a:cubicBezTo>
                    <a:pt x="16" y="185"/>
                    <a:pt x="36" y="141"/>
                    <a:pt x="44" y="128"/>
                  </a:cubicBezTo>
                  <a:cubicBezTo>
                    <a:pt x="51" y="116"/>
                    <a:pt x="76" y="52"/>
                    <a:pt x="71" y="40"/>
                  </a:cubicBezTo>
                  <a:cubicBezTo>
                    <a:pt x="67" y="27"/>
                    <a:pt x="55" y="0"/>
                    <a:pt x="60" y="7"/>
                  </a:cubicBezTo>
                  <a:cubicBezTo>
                    <a:pt x="66" y="14"/>
                    <a:pt x="77" y="33"/>
                    <a:pt x="79" y="45"/>
                  </a:cubicBezTo>
                  <a:cubicBezTo>
                    <a:pt x="82" y="57"/>
                    <a:pt x="80" y="72"/>
                    <a:pt x="72" y="88"/>
                  </a:cubicBezTo>
                  <a:cubicBezTo>
                    <a:pt x="64" y="103"/>
                    <a:pt x="22" y="179"/>
                    <a:pt x="21" y="189"/>
                  </a:cubicBezTo>
                  <a:cubicBezTo>
                    <a:pt x="20" y="200"/>
                    <a:pt x="13" y="206"/>
                    <a:pt x="13" y="202"/>
                  </a:cubicBezTo>
                  <a:cubicBezTo>
                    <a:pt x="13" y="199"/>
                    <a:pt x="6" y="171"/>
                    <a:pt x="3" y="166"/>
                  </a:cubicBezTo>
                  <a:cubicBezTo>
                    <a:pt x="0" y="160"/>
                    <a:pt x="3" y="145"/>
                    <a:pt x="3" y="145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F8A26693-BCDA-44DD-B690-C5B791FBB2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8275" y="4721225"/>
              <a:ext cx="330200" cy="566738"/>
            </a:xfrm>
            <a:custGeom>
              <a:avLst/>
              <a:gdLst>
                <a:gd name="T0" fmla="*/ 83 w 88"/>
                <a:gd name="T1" fmla="*/ 83 h 151"/>
                <a:gd name="T2" fmla="*/ 65 w 88"/>
                <a:gd name="T3" fmla="*/ 127 h 151"/>
                <a:gd name="T4" fmla="*/ 22 w 88"/>
                <a:gd name="T5" fmla="*/ 71 h 151"/>
                <a:gd name="T6" fmla="*/ 4 w 88"/>
                <a:gd name="T7" fmla="*/ 0 h 151"/>
                <a:gd name="T8" fmla="*/ 0 w 88"/>
                <a:gd name="T9" fmla="*/ 38 h 151"/>
                <a:gd name="T10" fmla="*/ 8 w 88"/>
                <a:gd name="T11" fmla="*/ 67 h 151"/>
                <a:gd name="T12" fmla="*/ 54 w 88"/>
                <a:gd name="T13" fmla="*/ 128 h 151"/>
                <a:gd name="T14" fmla="*/ 65 w 88"/>
                <a:gd name="T15" fmla="*/ 145 h 151"/>
                <a:gd name="T16" fmla="*/ 75 w 88"/>
                <a:gd name="T17" fmla="*/ 124 h 151"/>
                <a:gd name="T18" fmla="*/ 88 w 88"/>
                <a:gd name="T19" fmla="*/ 100 h 151"/>
                <a:gd name="T20" fmla="*/ 83 w 88"/>
                <a:gd name="T21" fmla="*/ 8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51">
                  <a:moveTo>
                    <a:pt x="83" y="83"/>
                  </a:move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42" y="94"/>
                    <a:pt x="22" y="71"/>
                  </a:cubicBezTo>
                  <a:cubicBezTo>
                    <a:pt x="2" y="49"/>
                    <a:pt x="4" y="0"/>
                    <a:pt x="4" y="0"/>
                  </a:cubicBezTo>
                  <a:cubicBezTo>
                    <a:pt x="4" y="0"/>
                    <a:pt x="0" y="26"/>
                    <a:pt x="0" y="38"/>
                  </a:cubicBezTo>
                  <a:cubicBezTo>
                    <a:pt x="0" y="50"/>
                    <a:pt x="0" y="52"/>
                    <a:pt x="8" y="67"/>
                  </a:cubicBezTo>
                  <a:cubicBezTo>
                    <a:pt x="16" y="81"/>
                    <a:pt x="52" y="125"/>
                    <a:pt x="54" y="128"/>
                  </a:cubicBezTo>
                  <a:cubicBezTo>
                    <a:pt x="57" y="130"/>
                    <a:pt x="64" y="140"/>
                    <a:pt x="65" y="145"/>
                  </a:cubicBezTo>
                  <a:cubicBezTo>
                    <a:pt x="65" y="151"/>
                    <a:pt x="67" y="134"/>
                    <a:pt x="75" y="124"/>
                  </a:cubicBezTo>
                  <a:cubicBezTo>
                    <a:pt x="82" y="114"/>
                    <a:pt x="88" y="111"/>
                    <a:pt x="88" y="100"/>
                  </a:cubicBezTo>
                  <a:cubicBezTo>
                    <a:pt x="88" y="90"/>
                    <a:pt x="83" y="83"/>
                    <a:pt x="83" y="83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F8F2797B-B3A6-42A3-9EC7-EBFD5F106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86138" y="4949825"/>
              <a:ext cx="296862" cy="930275"/>
            </a:xfrm>
            <a:custGeom>
              <a:avLst/>
              <a:gdLst>
                <a:gd name="T0" fmla="*/ 0 w 79"/>
                <a:gd name="T1" fmla="*/ 50 h 248"/>
                <a:gd name="T2" fmla="*/ 59 w 79"/>
                <a:gd name="T3" fmla="*/ 97 h 248"/>
                <a:gd name="T4" fmla="*/ 59 w 79"/>
                <a:gd name="T5" fmla="*/ 0 h 248"/>
                <a:gd name="T6" fmla="*/ 73 w 79"/>
                <a:gd name="T7" fmla="*/ 128 h 248"/>
                <a:gd name="T8" fmla="*/ 77 w 79"/>
                <a:gd name="T9" fmla="*/ 210 h 248"/>
                <a:gd name="T10" fmla="*/ 78 w 79"/>
                <a:gd name="T11" fmla="*/ 245 h 248"/>
                <a:gd name="T12" fmla="*/ 63 w 79"/>
                <a:gd name="T13" fmla="*/ 128 h 248"/>
                <a:gd name="T14" fmla="*/ 0 w 79"/>
                <a:gd name="T15" fmla="*/ 5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248">
                  <a:moveTo>
                    <a:pt x="0" y="50"/>
                  </a:moveTo>
                  <a:cubicBezTo>
                    <a:pt x="0" y="50"/>
                    <a:pt x="58" y="101"/>
                    <a:pt x="59" y="97"/>
                  </a:cubicBezTo>
                  <a:cubicBezTo>
                    <a:pt x="61" y="93"/>
                    <a:pt x="59" y="0"/>
                    <a:pt x="59" y="0"/>
                  </a:cubicBezTo>
                  <a:cubicBezTo>
                    <a:pt x="59" y="0"/>
                    <a:pt x="72" y="112"/>
                    <a:pt x="73" y="128"/>
                  </a:cubicBezTo>
                  <a:cubicBezTo>
                    <a:pt x="73" y="145"/>
                    <a:pt x="78" y="201"/>
                    <a:pt x="77" y="210"/>
                  </a:cubicBezTo>
                  <a:cubicBezTo>
                    <a:pt x="76" y="218"/>
                    <a:pt x="78" y="241"/>
                    <a:pt x="78" y="245"/>
                  </a:cubicBezTo>
                  <a:cubicBezTo>
                    <a:pt x="79" y="248"/>
                    <a:pt x="69" y="140"/>
                    <a:pt x="63" y="128"/>
                  </a:cubicBezTo>
                  <a:cubicBezTo>
                    <a:pt x="57" y="116"/>
                    <a:pt x="0" y="50"/>
                    <a:pt x="0" y="50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8E03EE29-0ED4-4597-BC4F-6AC7644181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5938" y="5876925"/>
              <a:ext cx="368300" cy="104775"/>
            </a:xfrm>
            <a:custGeom>
              <a:avLst/>
              <a:gdLst>
                <a:gd name="T0" fmla="*/ 0 w 98"/>
                <a:gd name="T1" fmla="*/ 17 h 28"/>
                <a:gd name="T2" fmla="*/ 52 w 98"/>
                <a:gd name="T3" fmla="*/ 12 h 28"/>
                <a:gd name="T4" fmla="*/ 98 w 98"/>
                <a:gd name="T5" fmla="*/ 28 h 28"/>
                <a:gd name="T6" fmla="*/ 33 w 98"/>
                <a:gd name="T7" fmla="*/ 3 h 28"/>
                <a:gd name="T8" fmla="*/ 0 w 98"/>
                <a:gd name="T9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8">
                  <a:moveTo>
                    <a:pt x="0" y="17"/>
                  </a:moveTo>
                  <a:cubicBezTo>
                    <a:pt x="0" y="17"/>
                    <a:pt x="30" y="5"/>
                    <a:pt x="52" y="12"/>
                  </a:cubicBezTo>
                  <a:cubicBezTo>
                    <a:pt x="75" y="19"/>
                    <a:pt x="98" y="28"/>
                    <a:pt x="98" y="28"/>
                  </a:cubicBezTo>
                  <a:cubicBezTo>
                    <a:pt x="98" y="28"/>
                    <a:pt x="46" y="0"/>
                    <a:pt x="33" y="3"/>
                  </a:cubicBezTo>
                  <a:cubicBezTo>
                    <a:pt x="20" y="5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D13A99BC-E38B-41A2-AAEC-7FCE74440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6100" y="5194300"/>
              <a:ext cx="479425" cy="663575"/>
            </a:xfrm>
            <a:custGeom>
              <a:avLst/>
              <a:gdLst>
                <a:gd name="T0" fmla="*/ 46 w 128"/>
                <a:gd name="T1" fmla="*/ 49 h 177"/>
                <a:gd name="T2" fmla="*/ 14 w 128"/>
                <a:gd name="T3" fmla="*/ 129 h 177"/>
                <a:gd name="T4" fmla="*/ 0 w 128"/>
                <a:gd name="T5" fmla="*/ 174 h 177"/>
                <a:gd name="T6" fmla="*/ 43 w 128"/>
                <a:gd name="T7" fmla="*/ 129 h 177"/>
                <a:gd name="T8" fmla="*/ 92 w 128"/>
                <a:gd name="T9" fmla="*/ 111 h 177"/>
                <a:gd name="T10" fmla="*/ 33 w 128"/>
                <a:gd name="T11" fmla="*/ 109 h 177"/>
                <a:gd name="T12" fmla="*/ 89 w 128"/>
                <a:gd name="T13" fmla="*/ 50 h 177"/>
                <a:gd name="T14" fmla="*/ 50 w 128"/>
                <a:gd name="T15" fmla="*/ 65 h 177"/>
                <a:gd name="T16" fmla="*/ 57 w 128"/>
                <a:gd name="T17" fmla="*/ 9 h 177"/>
                <a:gd name="T18" fmla="*/ 46 w 128"/>
                <a:gd name="T19" fmla="*/ 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77">
                  <a:moveTo>
                    <a:pt x="46" y="49"/>
                  </a:move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0" y="177"/>
                    <a:pt x="0" y="174"/>
                  </a:cubicBezTo>
                  <a:cubicBezTo>
                    <a:pt x="0" y="170"/>
                    <a:pt x="3" y="143"/>
                    <a:pt x="43" y="129"/>
                  </a:cubicBezTo>
                  <a:cubicBezTo>
                    <a:pt x="83" y="115"/>
                    <a:pt x="128" y="109"/>
                    <a:pt x="92" y="111"/>
                  </a:cubicBezTo>
                  <a:cubicBezTo>
                    <a:pt x="55" y="113"/>
                    <a:pt x="12" y="135"/>
                    <a:pt x="33" y="109"/>
                  </a:cubicBezTo>
                  <a:cubicBezTo>
                    <a:pt x="54" y="84"/>
                    <a:pt x="111" y="42"/>
                    <a:pt x="89" y="50"/>
                  </a:cubicBezTo>
                  <a:cubicBezTo>
                    <a:pt x="67" y="59"/>
                    <a:pt x="42" y="90"/>
                    <a:pt x="50" y="65"/>
                  </a:cubicBezTo>
                  <a:cubicBezTo>
                    <a:pt x="59" y="41"/>
                    <a:pt x="61" y="0"/>
                    <a:pt x="57" y="9"/>
                  </a:cubicBezTo>
                  <a:cubicBezTo>
                    <a:pt x="52" y="18"/>
                    <a:pt x="46" y="49"/>
                    <a:pt x="46" y="49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474F437E-4482-4F54-A915-C1B96C8F82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2313" y="6007100"/>
              <a:ext cx="90487" cy="282575"/>
            </a:xfrm>
            <a:custGeom>
              <a:avLst/>
              <a:gdLst>
                <a:gd name="T0" fmla="*/ 20 w 24"/>
                <a:gd name="T1" fmla="*/ 3 h 75"/>
                <a:gd name="T2" fmla="*/ 13 w 24"/>
                <a:gd name="T3" fmla="*/ 42 h 75"/>
                <a:gd name="T4" fmla="*/ 24 w 24"/>
                <a:gd name="T5" fmla="*/ 75 h 75"/>
                <a:gd name="T6" fmla="*/ 2 w 24"/>
                <a:gd name="T7" fmla="*/ 34 h 75"/>
                <a:gd name="T8" fmla="*/ 17 w 24"/>
                <a:gd name="T9" fmla="*/ 0 h 75"/>
                <a:gd name="T10" fmla="*/ 20 w 24"/>
                <a:gd name="T11" fmla="*/ 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5">
                  <a:moveTo>
                    <a:pt x="20" y="3"/>
                  </a:moveTo>
                  <a:cubicBezTo>
                    <a:pt x="20" y="3"/>
                    <a:pt x="7" y="23"/>
                    <a:pt x="13" y="42"/>
                  </a:cubicBezTo>
                  <a:cubicBezTo>
                    <a:pt x="18" y="61"/>
                    <a:pt x="24" y="75"/>
                    <a:pt x="24" y="75"/>
                  </a:cubicBezTo>
                  <a:cubicBezTo>
                    <a:pt x="24" y="75"/>
                    <a:pt x="4" y="48"/>
                    <a:pt x="2" y="34"/>
                  </a:cubicBezTo>
                  <a:cubicBezTo>
                    <a:pt x="0" y="20"/>
                    <a:pt x="17" y="0"/>
                    <a:pt x="17" y="0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085FB7B4-F71F-4DCD-BF0E-642D45AAD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3875" y="6007100"/>
              <a:ext cx="344487" cy="307975"/>
            </a:xfrm>
            <a:custGeom>
              <a:avLst/>
              <a:gdLst>
                <a:gd name="T0" fmla="*/ 24 w 92"/>
                <a:gd name="T1" fmla="*/ 71 h 82"/>
                <a:gd name="T2" fmla="*/ 8 w 92"/>
                <a:gd name="T3" fmla="*/ 44 h 82"/>
                <a:gd name="T4" fmla="*/ 35 w 92"/>
                <a:gd name="T5" fmla="*/ 0 h 82"/>
                <a:gd name="T6" fmla="*/ 15 w 92"/>
                <a:gd name="T7" fmla="*/ 48 h 82"/>
                <a:gd name="T8" fmla="*/ 41 w 92"/>
                <a:gd name="T9" fmla="*/ 67 h 82"/>
                <a:gd name="T10" fmla="*/ 83 w 92"/>
                <a:gd name="T11" fmla="*/ 75 h 82"/>
                <a:gd name="T12" fmla="*/ 76 w 92"/>
                <a:gd name="T13" fmla="*/ 80 h 82"/>
                <a:gd name="T14" fmla="*/ 24 w 92"/>
                <a:gd name="T15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82">
                  <a:moveTo>
                    <a:pt x="24" y="71"/>
                  </a:moveTo>
                  <a:cubicBezTo>
                    <a:pt x="20" y="67"/>
                    <a:pt x="0" y="64"/>
                    <a:pt x="8" y="44"/>
                  </a:cubicBezTo>
                  <a:cubicBezTo>
                    <a:pt x="15" y="23"/>
                    <a:pt x="35" y="0"/>
                    <a:pt x="35" y="0"/>
                  </a:cubicBezTo>
                  <a:cubicBezTo>
                    <a:pt x="35" y="0"/>
                    <a:pt x="14" y="40"/>
                    <a:pt x="15" y="48"/>
                  </a:cubicBezTo>
                  <a:cubicBezTo>
                    <a:pt x="16" y="55"/>
                    <a:pt x="31" y="67"/>
                    <a:pt x="41" y="67"/>
                  </a:cubicBezTo>
                  <a:cubicBezTo>
                    <a:pt x="50" y="68"/>
                    <a:pt x="79" y="72"/>
                    <a:pt x="83" y="75"/>
                  </a:cubicBezTo>
                  <a:cubicBezTo>
                    <a:pt x="87" y="77"/>
                    <a:pt x="92" y="82"/>
                    <a:pt x="76" y="80"/>
                  </a:cubicBezTo>
                  <a:cubicBezTo>
                    <a:pt x="60" y="79"/>
                    <a:pt x="24" y="71"/>
                    <a:pt x="24" y="71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20B1A997-9283-45F3-939E-47E342285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0" y="6007100"/>
              <a:ext cx="277812" cy="263525"/>
            </a:xfrm>
            <a:custGeom>
              <a:avLst/>
              <a:gdLst>
                <a:gd name="T0" fmla="*/ 27 w 74"/>
                <a:gd name="T1" fmla="*/ 61 h 70"/>
                <a:gd name="T2" fmla="*/ 3 w 74"/>
                <a:gd name="T3" fmla="*/ 51 h 70"/>
                <a:gd name="T4" fmla="*/ 10 w 74"/>
                <a:gd name="T5" fmla="*/ 36 h 70"/>
                <a:gd name="T6" fmla="*/ 31 w 74"/>
                <a:gd name="T7" fmla="*/ 0 h 70"/>
                <a:gd name="T8" fmla="*/ 18 w 74"/>
                <a:gd name="T9" fmla="*/ 41 h 70"/>
                <a:gd name="T10" fmla="*/ 74 w 74"/>
                <a:gd name="T11" fmla="*/ 70 h 70"/>
                <a:gd name="T12" fmla="*/ 27 w 74"/>
                <a:gd name="T13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0">
                  <a:moveTo>
                    <a:pt x="27" y="61"/>
                  </a:moveTo>
                  <a:cubicBezTo>
                    <a:pt x="19" y="59"/>
                    <a:pt x="6" y="54"/>
                    <a:pt x="3" y="51"/>
                  </a:cubicBezTo>
                  <a:cubicBezTo>
                    <a:pt x="0" y="48"/>
                    <a:pt x="7" y="44"/>
                    <a:pt x="10" y="36"/>
                  </a:cubicBezTo>
                  <a:cubicBezTo>
                    <a:pt x="16" y="19"/>
                    <a:pt x="31" y="0"/>
                    <a:pt x="31" y="0"/>
                  </a:cubicBezTo>
                  <a:cubicBezTo>
                    <a:pt x="31" y="0"/>
                    <a:pt x="22" y="33"/>
                    <a:pt x="18" y="41"/>
                  </a:cubicBezTo>
                  <a:cubicBezTo>
                    <a:pt x="12" y="49"/>
                    <a:pt x="74" y="70"/>
                    <a:pt x="74" y="70"/>
                  </a:cubicBezTo>
                  <a:lnTo>
                    <a:pt x="27" y="61"/>
                  </a:ln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338CE18E-D096-4011-925B-DCFF38625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3688" y="4987925"/>
              <a:ext cx="195262" cy="622300"/>
            </a:xfrm>
            <a:custGeom>
              <a:avLst/>
              <a:gdLst>
                <a:gd name="T0" fmla="*/ 1 w 52"/>
                <a:gd name="T1" fmla="*/ 19 h 166"/>
                <a:gd name="T2" fmla="*/ 7 w 52"/>
                <a:gd name="T3" fmla="*/ 54 h 166"/>
                <a:gd name="T4" fmla="*/ 26 w 52"/>
                <a:gd name="T5" fmla="*/ 50 h 166"/>
                <a:gd name="T6" fmla="*/ 50 w 52"/>
                <a:gd name="T7" fmla="*/ 12 h 166"/>
                <a:gd name="T8" fmla="*/ 38 w 52"/>
                <a:gd name="T9" fmla="*/ 64 h 166"/>
                <a:gd name="T10" fmla="*/ 12 w 52"/>
                <a:gd name="T11" fmla="*/ 157 h 166"/>
                <a:gd name="T12" fmla="*/ 11 w 52"/>
                <a:gd name="T13" fmla="*/ 108 h 166"/>
                <a:gd name="T14" fmla="*/ 1 w 52"/>
                <a:gd name="T15" fmla="*/ 1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66">
                  <a:moveTo>
                    <a:pt x="1" y="19"/>
                  </a:moveTo>
                  <a:cubicBezTo>
                    <a:pt x="1" y="19"/>
                    <a:pt x="4" y="50"/>
                    <a:pt x="7" y="54"/>
                  </a:cubicBezTo>
                  <a:cubicBezTo>
                    <a:pt x="9" y="59"/>
                    <a:pt x="12" y="71"/>
                    <a:pt x="26" y="50"/>
                  </a:cubicBezTo>
                  <a:cubicBezTo>
                    <a:pt x="41" y="29"/>
                    <a:pt x="48" y="0"/>
                    <a:pt x="50" y="12"/>
                  </a:cubicBezTo>
                  <a:cubicBezTo>
                    <a:pt x="52" y="25"/>
                    <a:pt x="44" y="45"/>
                    <a:pt x="38" y="64"/>
                  </a:cubicBezTo>
                  <a:cubicBezTo>
                    <a:pt x="32" y="83"/>
                    <a:pt x="12" y="147"/>
                    <a:pt x="12" y="157"/>
                  </a:cubicBezTo>
                  <a:cubicBezTo>
                    <a:pt x="12" y="166"/>
                    <a:pt x="22" y="147"/>
                    <a:pt x="11" y="108"/>
                  </a:cubicBezTo>
                  <a:cubicBezTo>
                    <a:pt x="0" y="69"/>
                    <a:pt x="1" y="19"/>
                    <a:pt x="1" y="19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394E2D75-2EBC-445A-B868-4626B70F0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6325" y="4732338"/>
              <a:ext cx="307975" cy="588963"/>
            </a:xfrm>
            <a:custGeom>
              <a:avLst/>
              <a:gdLst>
                <a:gd name="T0" fmla="*/ 0 w 82"/>
                <a:gd name="T1" fmla="*/ 0 h 157"/>
                <a:gd name="T2" fmla="*/ 30 w 82"/>
                <a:gd name="T3" fmla="*/ 70 h 157"/>
                <a:gd name="T4" fmla="*/ 40 w 82"/>
                <a:gd name="T5" fmla="*/ 154 h 157"/>
                <a:gd name="T6" fmla="*/ 63 w 82"/>
                <a:gd name="T7" fmla="*/ 81 h 157"/>
                <a:gd name="T8" fmla="*/ 82 w 82"/>
                <a:gd name="T9" fmla="*/ 15 h 157"/>
                <a:gd name="T10" fmla="*/ 61 w 82"/>
                <a:gd name="T11" fmla="*/ 54 h 157"/>
                <a:gd name="T12" fmla="*/ 34 w 82"/>
                <a:gd name="T13" fmla="*/ 62 h 157"/>
                <a:gd name="T14" fmla="*/ 0 w 82"/>
                <a:gd name="T1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57">
                  <a:moveTo>
                    <a:pt x="0" y="0"/>
                  </a:moveTo>
                  <a:cubicBezTo>
                    <a:pt x="2" y="2"/>
                    <a:pt x="25" y="51"/>
                    <a:pt x="30" y="70"/>
                  </a:cubicBezTo>
                  <a:cubicBezTo>
                    <a:pt x="36" y="90"/>
                    <a:pt x="40" y="150"/>
                    <a:pt x="40" y="154"/>
                  </a:cubicBezTo>
                  <a:cubicBezTo>
                    <a:pt x="40" y="157"/>
                    <a:pt x="51" y="97"/>
                    <a:pt x="63" y="81"/>
                  </a:cubicBezTo>
                  <a:cubicBezTo>
                    <a:pt x="74" y="66"/>
                    <a:pt x="82" y="15"/>
                    <a:pt x="82" y="15"/>
                  </a:cubicBezTo>
                  <a:cubicBezTo>
                    <a:pt x="82" y="15"/>
                    <a:pt x="71" y="36"/>
                    <a:pt x="61" y="54"/>
                  </a:cubicBezTo>
                  <a:cubicBezTo>
                    <a:pt x="51" y="72"/>
                    <a:pt x="42" y="80"/>
                    <a:pt x="34" y="62"/>
                  </a:cubicBezTo>
                  <a:cubicBezTo>
                    <a:pt x="25" y="4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2EE0272E-BDAB-4A2C-BEE2-9328117F0B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1850" y="5813425"/>
              <a:ext cx="498475" cy="542925"/>
            </a:xfrm>
            <a:custGeom>
              <a:avLst/>
              <a:gdLst>
                <a:gd name="T0" fmla="*/ 8 w 133"/>
                <a:gd name="T1" fmla="*/ 36 h 145"/>
                <a:gd name="T2" fmla="*/ 25 w 133"/>
                <a:gd name="T3" fmla="*/ 20 h 145"/>
                <a:gd name="T4" fmla="*/ 47 w 133"/>
                <a:gd name="T5" fmla="*/ 5 h 145"/>
                <a:gd name="T6" fmla="*/ 68 w 133"/>
                <a:gd name="T7" fmla="*/ 5 h 145"/>
                <a:gd name="T8" fmla="*/ 97 w 133"/>
                <a:gd name="T9" fmla="*/ 23 h 145"/>
                <a:gd name="T10" fmla="*/ 119 w 133"/>
                <a:gd name="T11" fmla="*/ 34 h 145"/>
                <a:gd name="T12" fmla="*/ 133 w 133"/>
                <a:gd name="T13" fmla="*/ 47 h 145"/>
                <a:gd name="T14" fmla="*/ 123 w 133"/>
                <a:gd name="T15" fmla="*/ 61 h 145"/>
                <a:gd name="T16" fmla="*/ 109 w 133"/>
                <a:gd name="T17" fmla="*/ 52 h 145"/>
                <a:gd name="T18" fmla="*/ 107 w 133"/>
                <a:gd name="T19" fmla="*/ 67 h 145"/>
                <a:gd name="T20" fmla="*/ 118 w 133"/>
                <a:gd name="T21" fmla="*/ 97 h 145"/>
                <a:gd name="T22" fmla="*/ 110 w 133"/>
                <a:gd name="T23" fmla="*/ 109 h 145"/>
                <a:gd name="T24" fmla="*/ 100 w 133"/>
                <a:gd name="T25" fmla="*/ 126 h 145"/>
                <a:gd name="T26" fmla="*/ 80 w 133"/>
                <a:gd name="T27" fmla="*/ 125 h 145"/>
                <a:gd name="T28" fmla="*/ 67 w 133"/>
                <a:gd name="T29" fmla="*/ 144 h 145"/>
                <a:gd name="T30" fmla="*/ 8 w 133"/>
                <a:gd name="T31" fmla="*/ 119 h 145"/>
                <a:gd name="T32" fmla="*/ 3 w 133"/>
                <a:gd name="T33" fmla="*/ 61 h 145"/>
                <a:gd name="T34" fmla="*/ 8 w 133"/>
                <a:gd name="T35" fmla="*/ 3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145">
                  <a:moveTo>
                    <a:pt x="8" y="36"/>
                  </a:moveTo>
                  <a:cubicBezTo>
                    <a:pt x="8" y="36"/>
                    <a:pt x="18" y="27"/>
                    <a:pt x="25" y="20"/>
                  </a:cubicBezTo>
                  <a:cubicBezTo>
                    <a:pt x="31" y="13"/>
                    <a:pt x="36" y="6"/>
                    <a:pt x="47" y="5"/>
                  </a:cubicBezTo>
                  <a:cubicBezTo>
                    <a:pt x="58" y="3"/>
                    <a:pt x="61" y="0"/>
                    <a:pt x="68" y="5"/>
                  </a:cubicBezTo>
                  <a:cubicBezTo>
                    <a:pt x="74" y="9"/>
                    <a:pt x="92" y="18"/>
                    <a:pt x="97" y="23"/>
                  </a:cubicBezTo>
                  <a:cubicBezTo>
                    <a:pt x="102" y="28"/>
                    <a:pt x="114" y="36"/>
                    <a:pt x="119" y="34"/>
                  </a:cubicBezTo>
                  <a:cubicBezTo>
                    <a:pt x="124" y="31"/>
                    <a:pt x="133" y="39"/>
                    <a:pt x="133" y="47"/>
                  </a:cubicBezTo>
                  <a:cubicBezTo>
                    <a:pt x="133" y="55"/>
                    <a:pt x="129" y="65"/>
                    <a:pt x="123" y="61"/>
                  </a:cubicBezTo>
                  <a:cubicBezTo>
                    <a:pt x="118" y="56"/>
                    <a:pt x="111" y="49"/>
                    <a:pt x="109" y="52"/>
                  </a:cubicBezTo>
                  <a:cubicBezTo>
                    <a:pt x="107" y="56"/>
                    <a:pt x="101" y="63"/>
                    <a:pt x="107" y="67"/>
                  </a:cubicBezTo>
                  <a:cubicBezTo>
                    <a:pt x="113" y="72"/>
                    <a:pt x="123" y="89"/>
                    <a:pt x="118" y="97"/>
                  </a:cubicBezTo>
                  <a:cubicBezTo>
                    <a:pt x="113" y="106"/>
                    <a:pt x="108" y="103"/>
                    <a:pt x="110" y="109"/>
                  </a:cubicBezTo>
                  <a:cubicBezTo>
                    <a:pt x="112" y="116"/>
                    <a:pt x="115" y="128"/>
                    <a:pt x="100" y="126"/>
                  </a:cubicBezTo>
                  <a:cubicBezTo>
                    <a:pt x="86" y="124"/>
                    <a:pt x="80" y="117"/>
                    <a:pt x="80" y="125"/>
                  </a:cubicBezTo>
                  <a:cubicBezTo>
                    <a:pt x="80" y="133"/>
                    <a:pt x="75" y="145"/>
                    <a:pt x="67" y="144"/>
                  </a:cubicBezTo>
                  <a:cubicBezTo>
                    <a:pt x="59" y="144"/>
                    <a:pt x="13" y="124"/>
                    <a:pt x="8" y="119"/>
                  </a:cubicBezTo>
                  <a:cubicBezTo>
                    <a:pt x="3" y="114"/>
                    <a:pt x="0" y="71"/>
                    <a:pt x="3" y="61"/>
                  </a:cubicBezTo>
                  <a:cubicBezTo>
                    <a:pt x="6" y="52"/>
                    <a:pt x="8" y="36"/>
                    <a:pt x="8" y="36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21191B3-5F81-4849-A6FB-907D6FAF71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0913" y="5907088"/>
              <a:ext cx="288925" cy="149225"/>
            </a:xfrm>
            <a:custGeom>
              <a:avLst/>
              <a:gdLst>
                <a:gd name="T0" fmla="*/ 4 w 77"/>
                <a:gd name="T1" fmla="*/ 10 h 40"/>
                <a:gd name="T2" fmla="*/ 32 w 77"/>
                <a:gd name="T3" fmla="*/ 18 h 40"/>
                <a:gd name="T4" fmla="*/ 66 w 77"/>
                <a:gd name="T5" fmla="*/ 38 h 40"/>
                <a:gd name="T6" fmla="*/ 73 w 77"/>
                <a:gd name="T7" fmla="*/ 34 h 40"/>
                <a:gd name="T8" fmla="*/ 45 w 77"/>
                <a:gd name="T9" fmla="*/ 16 h 40"/>
                <a:gd name="T10" fmla="*/ 13 w 77"/>
                <a:gd name="T11" fmla="*/ 2 h 40"/>
                <a:gd name="T12" fmla="*/ 1 w 77"/>
                <a:gd name="T13" fmla="*/ 7 h 40"/>
                <a:gd name="T14" fmla="*/ 4 w 77"/>
                <a:gd name="T15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40">
                  <a:moveTo>
                    <a:pt x="4" y="10"/>
                  </a:moveTo>
                  <a:cubicBezTo>
                    <a:pt x="5" y="10"/>
                    <a:pt x="21" y="12"/>
                    <a:pt x="32" y="18"/>
                  </a:cubicBezTo>
                  <a:cubicBezTo>
                    <a:pt x="43" y="25"/>
                    <a:pt x="63" y="36"/>
                    <a:pt x="66" y="38"/>
                  </a:cubicBezTo>
                  <a:cubicBezTo>
                    <a:pt x="68" y="40"/>
                    <a:pt x="77" y="39"/>
                    <a:pt x="73" y="34"/>
                  </a:cubicBezTo>
                  <a:cubicBezTo>
                    <a:pt x="69" y="30"/>
                    <a:pt x="63" y="26"/>
                    <a:pt x="45" y="16"/>
                  </a:cubicBezTo>
                  <a:cubicBezTo>
                    <a:pt x="28" y="6"/>
                    <a:pt x="19" y="0"/>
                    <a:pt x="13" y="2"/>
                  </a:cubicBezTo>
                  <a:cubicBezTo>
                    <a:pt x="8" y="3"/>
                    <a:pt x="0" y="5"/>
                    <a:pt x="1" y="7"/>
                  </a:cubicBezTo>
                  <a:cubicBezTo>
                    <a:pt x="3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8EBFA454-9A29-455B-AC75-1D3E768A31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0625" y="5910263"/>
              <a:ext cx="68262" cy="142875"/>
            </a:xfrm>
            <a:custGeom>
              <a:avLst/>
              <a:gdLst>
                <a:gd name="T0" fmla="*/ 15 w 18"/>
                <a:gd name="T1" fmla="*/ 10 h 38"/>
                <a:gd name="T2" fmla="*/ 17 w 18"/>
                <a:gd name="T3" fmla="*/ 24 h 38"/>
                <a:gd name="T4" fmla="*/ 4 w 18"/>
                <a:gd name="T5" fmla="*/ 31 h 38"/>
                <a:gd name="T6" fmla="*/ 13 w 18"/>
                <a:gd name="T7" fmla="*/ 19 h 38"/>
                <a:gd name="T8" fmla="*/ 8 w 18"/>
                <a:gd name="T9" fmla="*/ 2 h 38"/>
                <a:gd name="T10" fmla="*/ 15 w 18"/>
                <a:gd name="T11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8">
                  <a:moveTo>
                    <a:pt x="15" y="10"/>
                  </a:moveTo>
                  <a:cubicBezTo>
                    <a:pt x="15" y="10"/>
                    <a:pt x="18" y="23"/>
                    <a:pt x="17" y="24"/>
                  </a:cubicBezTo>
                  <a:cubicBezTo>
                    <a:pt x="16" y="25"/>
                    <a:pt x="0" y="38"/>
                    <a:pt x="4" y="31"/>
                  </a:cubicBezTo>
                  <a:cubicBezTo>
                    <a:pt x="8" y="25"/>
                    <a:pt x="13" y="26"/>
                    <a:pt x="13" y="19"/>
                  </a:cubicBezTo>
                  <a:cubicBezTo>
                    <a:pt x="12" y="12"/>
                    <a:pt x="6" y="0"/>
                    <a:pt x="8" y="2"/>
                  </a:cubicBezTo>
                  <a:cubicBezTo>
                    <a:pt x="11" y="5"/>
                    <a:pt x="15" y="10"/>
                    <a:pt x="15" y="1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0D6273DB-540B-4876-9F22-02384460E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7938" y="5940425"/>
              <a:ext cx="55562" cy="101600"/>
            </a:xfrm>
            <a:custGeom>
              <a:avLst/>
              <a:gdLst>
                <a:gd name="T0" fmla="*/ 0 w 15"/>
                <a:gd name="T1" fmla="*/ 1 h 27"/>
                <a:gd name="T2" fmla="*/ 3 w 15"/>
                <a:gd name="T3" fmla="*/ 10 h 27"/>
                <a:gd name="T4" fmla="*/ 7 w 15"/>
                <a:gd name="T5" fmla="*/ 25 h 27"/>
                <a:gd name="T6" fmla="*/ 13 w 15"/>
                <a:gd name="T7" fmla="*/ 16 h 27"/>
                <a:gd name="T8" fmla="*/ 7 w 15"/>
                <a:gd name="T9" fmla="*/ 1 h 27"/>
                <a:gd name="T10" fmla="*/ 0 w 15"/>
                <a:gd name="T1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"/>
                  </a:moveTo>
                  <a:cubicBezTo>
                    <a:pt x="0" y="1"/>
                    <a:pt x="2" y="5"/>
                    <a:pt x="3" y="10"/>
                  </a:cubicBezTo>
                  <a:cubicBezTo>
                    <a:pt x="5" y="14"/>
                    <a:pt x="2" y="23"/>
                    <a:pt x="7" y="25"/>
                  </a:cubicBezTo>
                  <a:cubicBezTo>
                    <a:pt x="11" y="27"/>
                    <a:pt x="15" y="27"/>
                    <a:pt x="13" y="16"/>
                  </a:cubicBezTo>
                  <a:cubicBezTo>
                    <a:pt x="12" y="5"/>
                    <a:pt x="12" y="3"/>
                    <a:pt x="7" y="1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B1A7AB76-E634-49DD-BD1F-C19CD1E05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5350" y="6003925"/>
              <a:ext cx="382587" cy="214313"/>
            </a:xfrm>
            <a:custGeom>
              <a:avLst/>
              <a:gdLst>
                <a:gd name="T0" fmla="*/ 16 w 102"/>
                <a:gd name="T1" fmla="*/ 0 h 57"/>
                <a:gd name="T2" fmla="*/ 56 w 102"/>
                <a:gd name="T3" fmla="*/ 19 h 57"/>
                <a:gd name="T4" fmla="*/ 90 w 102"/>
                <a:gd name="T5" fmla="*/ 46 h 57"/>
                <a:gd name="T6" fmla="*/ 94 w 102"/>
                <a:gd name="T7" fmla="*/ 52 h 57"/>
                <a:gd name="T8" fmla="*/ 71 w 102"/>
                <a:gd name="T9" fmla="*/ 38 h 57"/>
                <a:gd name="T10" fmla="*/ 30 w 102"/>
                <a:gd name="T11" fmla="*/ 17 h 57"/>
                <a:gd name="T12" fmla="*/ 4 w 102"/>
                <a:gd name="T13" fmla="*/ 4 h 57"/>
                <a:gd name="T14" fmla="*/ 16 w 102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57">
                  <a:moveTo>
                    <a:pt x="16" y="0"/>
                  </a:moveTo>
                  <a:cubicBezTo>
                    <a:pt x="17" y="0"/>
                    <a:pt x="47" y="12"/>
                    <a:pt x="56" y="19"/>
                  </a:cubicBezTo>
                  <a:cubicBezTo>
                    <a:pt x="65" y="26"/>
                    <a:pt x="88" y="44"/>
                    <a:pt x="90" y="46"/>
                  </a:cubicBezTo>
                  <a:cubicBezTo>
                    <a:pt x="92" y="48"/>
                    <a:pt x="102" y="57"/>
                    <a:pt x="94" y="52"/>
                  </a:cubicBezTo>
                  <a:cubicBezTo>
                    <a:pt x="86" y="48"/>
                    <a:pt x="89" y="48"/>
                    <a:pt x="71" y="38"/>
                  </a:cubicBezTo>
                  <a:cubicBezTo>
                    <a:pt x="52" y="29"/>
                    <a:pt x="44" y="23"/>
                    <a:pt x="30" y="17"/>
                  </a:cubicBezTo>
                  <a:cubicBezTo>
                    <a:pt x="15" y="11"/>
                    <a:pt x="0" y="4"/>
                    <a:pt x="4" y="4"/>
                  </a:cubicBezTo>
                  <a:cubicBezTo>
                    <a:pt x="8" y="4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2AE0622-9F23-4E1F-ADB3-22E87FF6C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5513" y="6127750"/>
              <a:ext cx="292100" cy="165100"/>
            </a:xfrm>
            <a:custGeom>
              <a:avLst/>
              <a:gdLst>
                <a:gd name="T0" fmla="*/ 8 w 78"/>
                <a:gd name="T1" fmla="*/ 1 h 44"/>
                <a:gd name="T2" fmla="*/ 55 w 78"/>
                <a:gd name="T3" fmla="*/ 22 h 44"/>
                <a:gd name="T4" fmla="*/ 77 w 78"/>
                <a:gd name="T5" fmla="*/ 41 h 44"/>
                <a:gd name="T6" fmla="*/ 56 w 78"/>
                <a:gd name="T7" fmla="*/ 38 h 44"/>
                <a:gd name="T8" fmla="*/ 55 w 78"/>
                <a:gd name="T9" fmla="*/ 44 h 44"/>
                <a:gd name="T10" fmla="*/ 47 w 78"/>
                <a:gd name="T11" fmla="*/ 26 h 44"/>
                <a:gd name="T12" fmla="*/ 20 w 78"/>
                <a:gd name="T13" fmla="*/ 14 h 44"/>
                <a:gd name="T14" fmla="*/ 2 w 78"/>
                <a:gd name="T15" fmla="*/ 0 h 44"/>
                <a:gd name="T16" fmla="*/ 8 w 78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44">
                  <a:moveTo>
                    <a:pt x="8" y="1"/>
                  </a:moveTo>
                  <a:cubicBezTo>
                    <a:pt x="10" y="2"/>
                    <a:pt x="44" y="20"/>
                    <a:pt x="55" y="22"/>
                  </a:cubicBezTo>
                  <a:cubicBezTo>
                    <a:pt x="65" y="24"/>
                    <a:pt x="78" y="41"/>
                    <a:pt x="77" y="41"/>
                  </a:cubicBezTo>
                  <a:cubicBezTo>
                    <a:pt x="75" y="41"/>
                    <a:pt x="57" y="37"/>
                    <a:pt x="56" y="38"/>
                  </a:cubicBezTo>
                  <a:cubicBezTo>
                    <a:pt x="55" y="38"/>
                    <a:pt x="55" y="43"/>
                    <a:pt x="55" y="44"/>
                  </a:cubicBezTo>
                  <a:cubicBezTo>
                    <a:pt x="55" y="44"/>
                    <a:pt x="49" y="28"/>
                    <a:pt x="47" y="26"/>
                  </a:cubicBezTo>
                  <a:cubicBezTo>
                    <a:pt x="45" y="24"/>
                    <a:pt x="29" y="17"/>
                    <a:pt x="20" y="14"/>
                  </a:cubicBezTo>
                  <a:cubicBezTo>
                    <a:pt x="10" y="11"/>
                    <a:pt x="0" y="0"/>
                    <a:pt x="2" y="0"/>
                  </a:cubicBezTo>
                  <a:cubicBezTo>
                    <a:pt x="4" y="1"/>
                    <a:pt x="8" y="1"/>
                    <a:pt x="8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0EF5A9E9-6691-4680-AB1F-45424B104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1850" y="6138863"/>
              <a:ext cx="295275" cy="217488"/>
            </a:xfrm>
            <a:custGeom>
              <a:avLst/>
              <a:gdLst>
                <a:gd name="T0" fmla="*/ 15 w 79"/>
                <a:gd name="T1" fmla="*/ 24 h 58"/>
                <a:gd name="T2" fmla="*/ 41 w 79"/>
                <a:gd name="T3" fmla="*/ 44 h 58"/>
                <a:gd name="T4" fmla="*/ 66 w 79"/>
                <a:gd name="T5" fmla="*/ 49 h 58"/>
                <a:gd name="T6" fmla="*/ 79 w 79"/>
                <a:gd name="T7" fmla="*/ 39 h 58"/>
                <a:gd name="T8" fmla="*/ 74 w 79"/>
                <a:gd name="T9" fmla="*/ 55 h 58"/>
                <a:gd name="T10" fmla="*/ 55 w 79"/>
                <a:gd name="T11" fmla="*/ 54 h 58"/>
                <a:gd name="T12" fmla="*/ 19 w 79"/>
                <a:gd name="T13" fmla="*/ 40 h 58"/>
                <a:gd name="T14" fmla="*/ 4 w 79"/>
                <a:gd name="T15" fmla="*/ 15 h 58"/>
                <a:gd name="T16" fmla="*/ 3 w 79"/>
                <a:gd name="T17" fmla="*/ 6 h 58"/>
                <a:gd name="T18" fmla="*/ 12 w 79"/>
                <a:gd name="T19" fmla="*/ 20 h 58"/>
                <a:gd name="T20" fmla="*/ 15 w 79"/>
                <a:gd name="T21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58">
                  <a:moveTo>
                    <a:pt x="15" y="24"/>
                  </a:moveTo>
                  <a:cubicBezTo>
                    <a:pt x="16" y="26"/>
                    <a:pt x="38" y="43"/>
                    <a:pt x="41" y="44"/>
                  </a:cubicBezTo>
                  <a:cubicBezTo>
                    <a:pt x="45" y="46"/>
                    <a:pt x="59" y="50"/>
                    <a:pt x="66" y="49"/>
                  </a:cubicBezTo>
                  <a:cubicBezTo>
                    <a:pt x="73" y="47"/>
                    <a:pt x="78" y="36"/>
                    <a:pt x="79" y="39"/>
                  </a:cubicBezTo>
                  <a:cubicBezTo>
                    <a:pt x="79" y="43"/>
                    <a:pt x="78" y="52"/>
                    <a:pt x="74" y="55"/>
                  </a:cubicBezTo>
                  <a:cubicBezTo>
                    <a:pt x="70" y="58"/>
                    <a:pt x="61" y="55"/>
                    <a:pt x="55" y="54"/>
                  </a:cubicBezTo>
                  <a:cubicBezTo>
                    <a:pt x="49" y="52"/>
                    <a:pt x="23" y="43"/>
                    <a:pt x="19" y="40"/>
                  </a:cubicBezTo>
                  <a:cubicBezTo>
                    <a:pt x="14" y="38"/>
                    <a:pt x="4" y="19"/>
                    <a:pt x="4" y="15"/>
                  </a:cubicBezTo>
                  <a:cubicBezTo>
                    <a:pt x="4" y="12"/>
                    <a:pt x="0" y="0"/>
                    <a:pt x="3" y="6"/>
                  </a:cubicBezTo>
                  <a:cubicBezTo>
                    <a:pt x="7" y="12"/>
                    <a:pt x="11" y="18"/>
                    <a:pt x="12" y="20"/>
                  </a:cubicBezTo>
                  <a:cubicBezTo>
                    <a:pt x="12" y="22"/>
                    <a:pt x="15" y="24"/>
                    <a:pt x="15" y="24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1EE09D74-1981-4244-8A38-BD6511C85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6438" y="5846763"/>
              <a:ext cx="254000" cy="476250"/>
            </a:xfrm>
            <a:custGeom>
              <a:avLst/>
              <a:gdLst>
                <a:gd name="T0" fmla="*/ 17 w 68"/>
                <a:gd name="T1" fmla="*/ 5 h 127"/>
                <a:gd name="T2" fmla="*/ 18 w 68"/>
                <a:gd name="T3" fmla="*/ 4 h 127"/>
                <a:gd name="T4" fmla="*/ 38 w 68"/>
                <a:gd name="T5" fmla="*/ 4 h 127"/>
                <a:gd name="T6" fmla="*/ 56 w 68"/>
                <a:gd name="T7" fmla="*/ 26 h 127"/>
                <a:gd name="T8" fmla="*/ 58 w 68"/>
                <a:gd name="T9" fmla="*/ 40 h 127"/>
                <a:gd name="T10" fmla="*/ 65 w 68"/>
                <a:gd name="T11" fmla="*/ 59 h 127"/>
                <a:gd name="T12" fmla="*/ 60 w 68"/>
                <a:gd name="T13" fmla="*/ 75 h 127"/>
                <a:gd name="T14" fmla="*/ 56 w 68"/>
                <a:gd name="T15" fmla="*/ 96 h 127"/>
                <a:gd name="T16" fmla="*/ 55 w 68"/>
                <a:gd name="T17" fmla="*/ 106 h 127"/>
                <a:gd name="T18" fmla="*/ 42 w 68"/>
                <a:gd name="T19" fmla="*/ 125 h 127"/>
                <a:gd name="T20" fmla="*/ 9 w 68"/>
                <a:gd name="T21" fmla="*/ 121 h 127"/>
                <a:gd name="T22" fmla="*/ 8 w 68"/>
                <a:gd name="T23" fmla="*/ 104 h 127"/>
                <a:gd name="T24" fmla="*/ 5 w 68"/>
                <a:gd name="T25" fmla="*/ 85 h 127"/>
                <a:gd name="T26" fmla="*/ 5 w 68"/>
                <a:gd name="T27" fmla="*/ 60 h 127"/>
                <a:gd name="T28" fmla="*/ 7 w 68"/>
                <a:gd name="T29" fmla="*/ 39 h 127"/>
                <a:gd name="T30" fmla="*/ 6 w 68"/>
                <a:gd name="T31" fmla="*/ 16 h 127"/>
                <a:gd name="T32" fmla="*/ 17 w 68"/>
                <a:gd name="T33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127">
                  <a:moveTo>
                    <a:pt x="17" y="5"/>
                  </a:moveTo>
                  <a:cubicBezTo>
                    <a:pt x="17" y="5"/>
                    <a:pt x="17" y="5"/>
                    <a:pt x="18" y="4"/>
                  </a:cubicBezTo>
                  <a:cubicBezTo>
                    <a:pt x="20" y="4"/>
                    <a:pt x="32" y="0"/>
                    <a:pt x="38" y="4"/>
                  </a:cubicBezTo>
                  <a:cubicBezTo>
                    <a:pt x="44" y="9"/>
                    <a:pt x="57" y="17"/>
                    <a:pt x="56" y="26"/>
                  </a:cubicBezTo>
                  <a:cubicBezTo>
                    <a:pt x="56" y="34"/>
                    <a:pt x="54" y="38"/>
                    <a:pt x="58" y="40"/>
                  </a:cubicBezTo>
                  <a:cubicBezTo>
                    <a:pt x="61" y="42"/>
                    <a:pt x="68" y="49"/>
                    <a:pt x="65" y="59"/>
                  </a:cubicBezTo>
                  <a:cubicBezTo>
                    <a:pt x="61" y="68"/>
                    <a:pt x="58" y="71"/>
                    <a:pt x="60" y="75"/>
                  </a:cubicBezTo>
                  <a:cubicBezTo>
                    <a:pt x="61" y="79"/>
                    <a:pt x="59" y="91"/>
                    <a:pt x="56" y="96"/>
                  </a:cubicBezTo>
                  <a:cubicBezTo>
                    <a:pt x="53" y="101"/>
                    <a:pt x="55" y="100"/>
                    <a:pt x="55" y="106"/>
                  </a:cubicBezTo>
                  <a:cubicBezTo>
                    <a:pt x="55" y="112"/>
                    <a:pt x="57" y="123"/>
                    <a:pt x="42" y="125"/>
                  </a:cubicBezTo>
                  <a:cubicBezTo>
                    <a:pt x="27" y="127"/>
                    <a:pt x="8" y="124"/>
                    <a:pt x="9" y="121"/>
                  </a:cubicBezTo>
                  <a:cubicBezTo>
                    <a:pt x="10" y="118"/>
                    <a:pt x="16" y="110"/>
                    <a:pt x="8" y="104"/>
                  </a:cubicBezTo>
                  <a:cubicBezTo>
                    <a:pt x="1" y="98"/>
                    <a:pt x="0" y="93"/>
                    <a:pt x="5" y="85"/>
                  </a:cubicBezTo>
                  <a:cubicBezTo>
                    <a:pt x="10" y="77"/>
                    <a:pt x="7" y="70"/>
                    <a:pt x="5" y="60"/>
                  </a:cubicBezTo>
                  <a:cubicBezTo>
                    <a:pt x="4" y="51"/>
                    <a:pt x="3" y="45"/>
                    <a:pt x="7" y="39"/>
                  </a:cubicBezTo>
                  <a:cubicBezTo>
                    <a:pt x="10" y="32"/>
                    <a:pt x="4" y="20"/>
                    <a:pt x="6" y="16"/>
                  </a:cubicBezTo>
                  <a:cubicBezTo>
                    <a:pt x="7" y="12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4F909033-B9D9-4C2C-B305-07BA57777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2000" y="5872163"/>
              <a:ext cx="71437" cy="68263"/>
            </a:xfrm>
            <a:custGeom>
              <a:avLst/>
              <a:gdLst>
                <a:gd name="T0" fmla="*/ 7 w 19"/>
                <a:gd name="T1" fmla="*/ 1 h 18"/>
                <a:gd name="T2" fmla="*/ 19 w 19"/>
                <a:gd name="T3" fmla="*/ 3 h 18"/>
                <a:gd name="T4" fmla="*/ 4 w 19"/>
                <a:gd name="T5" fmla="*/ 15 h 18"/>
                <a:gd name="T6" fmla="*/ 1 w 19"/>
                <a:gd name="T7" fmla="*/ 11 h 18"/>
                <a:gd name="T8" fmla="*/ 7 w 19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7" y="1"/>
                  </a:moveTo>
                  <a:cubicBezTo>
                    <a:pt x="8" y="1"/>
                    <a:pt x="18" y="0"/>
                    <a:pt x="19" y="3"/>
                  </a:cubicBezTo>
                  <a:cubicBezTo>
                    <a:pt x="19" y="6"/>
                    <a:pt x="6" y="13"/>
                    <a:pt x="4" y="15"/>
                  </a:cubicBezTo>
                  <a:cubicBezTo>
                    <a:pt x="1" y="18"/>
                    <a:pt x="2" y="14"/>
                    <a:pt x="1" y="11"/>
                  </a:cubicBezTo>
                  <a:cubicBezTo>
                    <a:pt x="0" y="7"/>
                    <a:pt x="7" y="1"/>
                    <a:pt x="7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D032B191-D62A-4AA6-B95F-F32CC3661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6600" y="5976938"/>
              <a:ext cx="176212" cy="98425"/>
            </a:xfrm>
            <a:custGeom>
              <a:avLst/>
              <a:gdLst>
                <a:gd name="T0" fmla="*/ 5 w 47"/>
                <a:gd name="T1" fmla="*/ 17 h 26"/>
                <a:gd name="T2" fmla="*/ 23 w 47"/>
                <a:gd name="T3" fmla="*/ 11 h 26"/>
                <a:gd name="T4" fmla="*/ 47 w 47"/>
                <a:gd name="T5" fmla="*/ 3 h 26"/>
                <a:gd name="T6" fmla="*/ 32 w 47"/>
                <a:gd name="T7" fmla="*/ 13 h 26"/>
                <a:gd name="T8" fmla="*/ 2 w 47"/>
                <a:gd name="T9" fmla="*/ 24 h 26"/>
                <a:gd name="T10" fmla="*/ 5 w 47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6">
                  <a:moveTo>
                    <a:pt x="5" y="17"/>
                  </a:moveTo>
                  <a:cubicBezTo>
                    <a:pt x="6" y="17"/>
                    <a:pt x="16" y="13"/>
                    <a:pt x="23" y="11"/>
                  </a:cubicBezTo>
                  <a:cubicBezTo>
                    <a:pt x="30" y="8"/>
                    <a:pt x="47" y="0"/>
                    <a:pt x="47" y="3"/>
                  </a:cubicBezTo>
                  <a:cubicBezTo>
                    <a:pt x="47" y="5"/>
                    <a:pt x="40" y="8"/>
                    <a:pt x="32" y="13"/>
                  </a:cubicBezTo>
                  <a:cubicBezTo>
                    <a:pt x="25" y="17"/>
                    <a:pt x="0" y="26"/>
                    <a:pt x="2" y="24"/>
                  </a:cubicBezTo>
                  <a:cubicBezTo>
                    <a:pt x="4" y="21"/>
                    <a:pt x="5" y="17"/>
                    <a:pt x="5" y="17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D2A5B928-D104-433D-B9B6-DAE77B171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1838" y="6119813"/>
              <a:ext cx="195262" cy="33338"/>
            </a:xfrm>
            <a:custGeom>
              <a:avLst/>
              <a:gdLst>
                <a:gd name="T0" fmla="*/ 0 w 52"/>
                <a:gd name="T1" fmla="*/ 5 h 9"/>
                <a:gd name="T2" fmla="*/ 23 w 52"/>
                <a:gd name="T3" fmla="*/ 1 h 9"/>
                <a:gd name="T4" fmla="*/ 52 w 52"/>
                <a:gd name="T5" fmla="*/ 0 h 9"/>
                <a:gd name="T6" fmla="*/ 38 w 52"/>
                <a:gd name="T7" fmla="*/ 7 h 9"/>
                <a:gd name="T8" fmla="*/ 8 w 52"/>
                <a:gd name="T9" fmla="*/ 9 h 9"/>
                <a:gd name="T10" fmla="*/ 0 w 52"/>
                <a:gd name="T1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9">
                  <a:moveTo>
                    <a:pt x="0" y="5"/>
                  </a:moveTo>
                  <a:cubicBezTo>
                    <a:pt x="2" y="5"/>
                    <a:pt x="13" y="1"/>
                    <a:pt x="23" y="1"/>
                  </a:cubicBezTo>
                  <a:cubicBezTo>
                    <a:pt x="32" y="1"/>
                    <a:pt x="52" y="0"/>
                    <a:pt x="52" y="0"/>
                  </a:cubicBezTo>
                  <a:cubicBezTo>
                    <a:pt x="52" y="0"/>
                    <a:pt x="46" y="5"/>
                    <a:pt x="38" y="7"/>
                  </a:cubicBezTo>
                  <a:cubicBezTo>
                    <a:pt x="29" y="9"/>
                    <a:pt x="12" y="9"/>
                    <a:pt x="8" y="9"/>
                  </a:cubicBezTo>
                  <a:cubicBezTo>
                    <a:pt x="3" y="9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2A9C4B2B-34B9-405C-8829-A816834FA1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0888" y="6235700"/>
              <a:ext cx="134937" cy="30163"/>
            </a:xfrm>
            <a:custGeom>
              <a:avLst/>
              <a:gdLst>
                <a:gd name="T0" fmla="*/ 0 w 36"/>
                <a:gd name="T1" fmla="*/ 1 h 8"/>
                <a:gd name="T2" fmla="*/ 17 w 36"/>
                <a:gd name="T3" fmla="*/ 0 h 8"/>
                <a:gd name="T4" fmla="*/ 31 w 36"/>
                <a:gd name="T5" fmla="*/ 2 h 8"/>
                <a:gd name="T6" fmla="*/ 6 w 36"/>
                <a:gd name="T7" fmla="*/ 7 h 8"/>
                <a:gd name="T8" fmla="*/ 0 w 36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8">
                  <a:moveTo>
                    <a:pt x="0" y="1"/>
                  </a:moveTo>
                  <a:cubicBezTo>
                    <a:pt x="0" y="1"/>
                    <a:pt x="8" y="0"/>
                    <a:pt x="17" y="0"/>
                  </a:cubicBezTo>
                  <a:cubicBezTo>
                    <a:pt x="26" y="0"/>
                    <a:pt x="36" y="0"/>
                    <a:pt x="31" y="2"/>
                  </a:cubicBezTo>
                  <a:cubicBezTo>
                    <a:pt x="27" y="4"/>
                    <a:pt x="9" y="7"/>
                    <a:pt x="6" y="7"/>
                  </a:cubicBezTo>
                  <a:cubicBezTo>
                    <a:pt x="2" y="8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AD91D000-1C79-427C-86D2-CA3914B8A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5694" y="5213350"/>
              <a:ext cx="2265362" cy="1252538"/>
            </a:xfrm>
            <a:custGeom>
              <a:avLst/>
              <a:gdLst>
                <a:gd name="T0" fmla="*/ 604 w 604"/>
                <a:gd name="T1" fmla="*/ 0 h 334"/>
                <a:gd name="T2" fmla="*/ 70 w 604"/>
                <a:gd name="T3" fmla="*/ 0 h 334"/>
                <a:gd name="T4" fmla="*/ 54 w 604"/>
                <a:gd name="T5" fmla="*/ 294 h 334"/>
                <a:gd name="T6" fmla="*/ 0 w 604"/>
                <a:gd name="T7" fmla="*/ 294 h 334"/>
                <a:gd name="T8" fmla="*/ 54 w 604"/>
                <a:gd name="T9" fmla="*/ 328 h 334"/>
                <a:gd name="T10" fmla="*/ 577 w 604"/>
                <a:gd name="T11" fmla="*/ 328 h 334"/>
                <a:gd name="T12" fmla="*/ 580 w 604"/>
                <a:gd name="T13" fmla="*/ 314 h 334"/>
                <a:gd name="T14" fmla="*/ 604 w 604"/>
                <a:gd name="T15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4" h="334">
                  <a:moveTo>
                    <a:pt x="604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54" y="294"/>
                    <a:pt x="54" y="294"/>
                    <a:pt x="54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54" y="328"/>
                    <a:pt x="54" y="328"/>
                    <a:pt x="54" y="328"/>
                  </a:cubicBezTo>
                  <a:cubicBezTo>
                    <a:pt x="58" y="334"/>
                    <a:pt x="577" y="328"/>
                    <a:pt x="577" y="328"/>
                  </a:cubicBezTo>
                  <a:cubicBezTo>
                    <a:pt x="577" y="328"/>
                    <a:pt x="581" y="320"/>
                    <a:pt x="580" y="314"/>
                  </a:cubicBezTo>
                  <a:lnTo>
                    <a:pt x="604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99">
              <a:extLst>
                <a:ext uri="{FF2B5EF4-FFF2-40B4-BE49-F238E27FC236}">
                  <a16:creationId xmlns:a16="http://schemas.microsoft.com/office/drawing/2014/main" id="{0EB53B9A-72CC-4B6D-9D22-0FEEEB09C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7063" y="6202363"/>
              <a:ext cx="131762" cy="228600"/>
            </a:xfrm>
            <a:custGeom>
              <a:avLst/>
              <a:gdLst>
                <a:gd name="T0" fmla="*/ 35 w 35"/>
                <a:gd name="T1" fmla="*/ 0 h 61"/>
                <a:gd name="T2" fmla="*/ 29 w 35"/>
                <a:gd name="T3" fmla="*/ 60 h 61"/>
                <a:gd name="T4" fmla="*/ 0 w 35"/>
                <a:gd name="T5" fmla="*/ 57 h 61"/>
                <a:gd name="T6" fmla="*/ 26 w 35"/>
                <a:gd name="T7" fmla="*/ 50 h 61"/>
                <a:gd name="T8" fmla="*/ 35 w 35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1">
                  <a:moveTo>
                    <a:pt x="35" y="0"/>
                  </a:moveTo>
                  <a:cubicBezTo>
                    <a:pt x="35" y="0"/>
                    <a:pt x="33" y="59"/>
                    <a:pt x="29" y="60"/>
                  </a:cubicBezTo>
                  <a:cubicBezTo>
                    <a:pt x="26" y="61"/>
                    <a:pt x="0" y="57"/>
                    <a:pt x="0" y="57"/>
                  </a:cubicBezTo>
                  <a:cubicBezTo>
                    <a:pt x="0" y="57"/>
                    <a:pt x="24" y="60"/>
                    <a:pt x="26" y="50"/>
                  </a:cubicBezTo>
                  <a:cubicBezTo>
                    <a:pt x="28" y="41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707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5" name="Gruppieren 152">
              <a:extLst>
                <a:ext uri="{FF2B5EF4-FFF2-40B4-BE49-F238E27FC236}">
                  <a16:creationId xmlns:a16="http://schemas.microsoft.com/office/drawing/2014/main" id="{25147904-A4DB-4F39-83F2-AC132AE917FF}"/>
                </a:ext>
              </a:extLst>
            </p:cNvPr>
            <p:cNvGrpSpPr/>
            <p:nvPr/>
          </p:nvGrpSpPr>
          <p:grpSpPr bwMode="gray">
            <a:xfrm>
              <a:off x="3649326" y="5213350"/>
              <a:ext cx="2264111" cy="1255713"/>
              <a:chOff x="3649326" y="5213350"/>
              <a:chExt cx="2264111" cy="1255713"/>
            </a:xfrm>
          </p:grpSpPr>
          <p:sp>
            <p:nvSpPr>
              <p:cNvPr id="132" name="Freeform 93">
                <a:extLst>
                  <a:ext uri="{FF2B5EF4-FFF2-40B4-BE49-F238E27FC236}">
                    <a16:creationId xmlns:a16="http://schemas.microsoft.com/office/drawing/2014/main" id="{2F3BADCE-EE59-4017-A405-829F8EBB87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83038" y="5265738"/>
                <a:ext cx="1878012" cy="1139825"/>
              </a:xfrm>
              <a:custGeom>
                <a:avLst/>
                <a:gdLst>
                  <a:gd name="T0" fmla="*/ 0 w 501"/>
                  <a:gd name="T1" fmla="*/ 0 h 304"/>
                  <a:gd name="T2" fmla="*/ 498 w 501"/>
                  <a:gd name="T3" fmla="*/ 1 h 304"/>
                  <a:gd name="T4" fmla="*/ 477 w 501"/>
                  <a:gd name="T5" fmla="*/ 302 h 304"/>
                  <a:gd name="T6" fmla="*/ 484 w 501"/>
                  <a:gd name="T7" fmla="*/ 15 h 304"/>
                  <a:gd name="T8" fmla="*/ 0 w 501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1" h="304">
                    <a:moveTo>
                      <a:pt x="0" y="0"/>
                    </a:moveTo>
                    <a:cubicBezTo>
                      <a:pt x="498" y="1"/>
                      <a:pt x="498" y="1"/>
                      <a:pt x="498" y="1"/>
                    </a:cubicBezTo>
                    <a:cubicBezTo>
                      <a:pt x="498" y="1"/>
                      <a:pt x="483" y="299"/>
                      <a:pt x="477" y="302"/>
                    </a:cubicBezTo>
                    <a:cubicBezTo>
                      <a:pt x="471" y="304"/>
                      <a:pt x="501" y="15"/>
                      <a:pt x="484" y="15"/>
                    </a:cubicBezTo>
                    <a:cubicBezTo>
                      <a:pt x="467" y="1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94">
                <a:extLst>
                  <a:ext uri="{FF2B5EF4-FFF2-40B4-BE49-F238E27FC236}">
                    <a16:creationId xmlns:a16="http://schemas.microsoft.com/office/drawing/2014/main" id="{06304824-2A8E-4958-9F39-800A348F0B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65550" y="6318250"/>
                <a:ext cx="107950" cy="120650"/>
              </a:xfrm>
              <a:custGeom>
                <a:avLst/>
                <a:gdLst>
                  <a:gd name="T0" fmla="*/ 25 w 25"/>
                  <a:gd name="T1" fmla="*/ 1 h 32"/>
                  <a:gd name="T2" fmla="*/ 24 w 25"/>
                  <a:gd name="T3" fmla="*/ 32 h 32"/>
                  <a:gd name="T4" fmla="*/ 8 w 25"/>
                  <a:gd name="T5" fmla="*/ 23 h 32"/>
                  <a:gd name="T6" fmla="*/ 5 w 25"/>
                  <a:gd name="T7" fmla="*/ 14 h 32"/>
                  <a:gd name="T8" fmla="*/ 14 w 25"/>
                  <a:gd name="T9" fmla="*/ 8 h 32"/>
                  <a:gd name="T10" fmla="*/ 16 w 25"/>
                  <a:gd name="T11" fmla="*/ 0 h 32"/>
                  <a:gd name="T12" fmla="*/ 25 w 25"/>
                  <a:gd name="T1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32">
                    <a:moveTo>
                      <a:pt x="25" y="1"/>
                    </a:moveTo>
                    <a:cubicBezTo>
                      <a:pt x="25" y="1"/>
                      <a:pt x="24" y="32"/>
                      <a:pt x="24" y="32"/>
                    </a:cubicBezTo>
                    <a:cubicBezTo>
                      <a:pt x="24" y="32"/>
                      <a:pt x="9" y="23"/>
                      <a:pt x="8" y="23"/>
                    </a:cubicBezTo>
                    <a:cubicBezTo>
                      <a:pt x="8" y="22"/>
                      <a:pt x="0" y="14"/>
                      <a:pt x="5" y="14"/>
                    </a:cubicBezTo>
                    <a:cubicBezTo>
                      <a:pt x="9" y="15"/>
                      <a:pt x="16" y="12"/>
                      <a:pt x="14" y="8"/>
                    </a:cubicBezTo>
                    <a:cubicBezTo>
                      <a:pt x="11" y="3"/>
                      <a:pt x="12" y="0"/>
                      <a:pt x="16" y="0"/>
                    </a:cubicBezTo>
                    <a:cubicBezTo>
                      <a:pt x="19" y="0"/>
                      <a:pt x="25" y="1"/>
                      <a:pt x="25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95">
                <a:extLst>
                  <a:ext uri="{FF2B5EF4-FFF2-40B4-BE49-F238E27FC236}">
                    <a16:creationId xmlns:a16="http://schemas.microsoft.com/office/drawing/2014/main" id="{D5DDC281-DB9E-40D6-8622-64D7506292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14775" y="5295900"/>
                <a:ext cx="1792287" cy="1093788"/>
              </a:xfrm>
              <a:custGeom>
                <a:avLst/>
                <a:gdLst>
                  <a:gd name="T0" fmla="*/ 13 w 478"/>
                  <a:gd name="T1" fmla="*/ 0 h 292"/>
                  <a:gd name="T2" fmla="*/ 1 w 478"/>
                  <a:gd name="T3" fmla="*/ 288 h 292"/>
                  <a:gd name="T4" fmla="*/ 356 w 478"/>
                  <a:gd name="T5" fmla="*/ 291 h 292"/>
                  <a:gd name="T6" fmla="*/ 478 w 478"/>
                  <a:gd name="T7" fmla="*/ 290 h 292"/>
                  <a:gd name="T8" fmla="*/ 16 w 478"/>
                  <a:gd name="T9" fmla="*/ 272 h 292"/>
                  <a:gd name="T10" fmla="*/ 13 w 478"/>
                  <a:gd name="T1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8" h="292">
                    <a:moveTo>
                      <a:pt x="13" y="0"/>
                    </a:moveTo>
                    <a:cubicBezTo>
                      <a:pt x="13" y="0"/>
                      <a:pt x="0" y="284"/>
                      <a:pt x="1" y="288"/>
                    </a:cubicBezTo>
                    <a:cubicBezTo>
                      <a:pt x="2" y="292"/>
                      <a:pt x="356" y="291"/>
                      <a:pt x="356" y="291"/>
                    </a:cubicBezTo>
                    <a:cubicBezTo>
                      <a:pt x="478" y="290"/>
                      <a:pt x="478" y="290"/>
                      <a:pt x="478" y="290"/>
                    </a:cubicBezTo>
                    <a:cubicBezTo>
                      <a:pt x="478" y="290"/>
                      <a:pt x="17" y="286"/>
                      <a:pt x="16" y="272"/>
                    </a:cubicBezTo>
                    <a:cubicBezTo>
                      <a:pt x="15" y="258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96">
                <a:extLst>
                  <a:ext uri="{FF2B5EF4-FFF2-40B4-BE49-F238E27FC236}">
                    <a16:creationId xmlns:a16="http://schemas.microsoft.com/office/drawing/2014/main" id="{1157E904-2D44-4D11-83A8-3DE264326E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14775" y="5213350"/>
                <a:ext cx="1998662" cy="115888"/>
              </a:xfrm>
              <a:custGeom>
                <a:avLst/>
                <a:gdLst>
                  <a:gd name="T0" fmla="*/ 0 w 533"/>
                  <a:gd name="T1" fmla="*/ 1 h 31"/>
                  <a:gd name="T2" fmla="*/ 102 w 533"/>
                  <a:gd name="T3" fmla="*/ 1 h 31"/>
                  <a:gd name="T4" fmla="*/ 343 w 533"/>
                  <a:gd name="T5" fmla="*/ 1 h 31"/>
                  <a:gd name="T6" fmla="*/ 533 w 533"/>
                  <a:gd name="T7" fmla="*/ 0 h 31"/>
                  <a:gd name="T8" fmla="*/ 530 w 533"/>
                  <a:gd name="T9" fmla="*/ 31 h 31"/>
                  <a:gd name="T10" fmla="*/ 525 w 533"/>
                  <a:gd name="T11" fmla="*/ 7 h 31"/>
                  <a:gd name="T12" fmla="*/ 393 w 533"/>
                  <a:gd name="T13" fmla="*/ 5 h 31"/>
                  <a:gd name="T14" fmla="*/ 0 w 533"/>
                  <a:gd name="T15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3" h="31">
                    <a:moveTo>
                      <a:pt x="0" y="1"/>
                    </a:moveTo>
                    <a:cubicBezTo>
                      <a:pt x="102" y="1"/>
                      <a:pt x="102" y="1"/>
                      <a:pt x="102" y="1"/>
                    </a:cubicBezTo>
                    <a:cubicBezTo>
                      <a:pt x="343" y="1"/>
                      <a:pt x="343" y="1"/>
                      <a:pt x="343" y="1"/>
                    </a:cubicBezTo>
                    <a:cubicBezTo>
                      <a:pt x="533" y="0"/>
                      <a:pt x="533" y="0"/>
                      <a:pt x="533" y="0"/>
                    </a:cubicBezTo>
                    <a:cubicBezTo>
                      <a:pt x="530" y="31"/>
                      <a:pt x="530" y="31"/>
                      <a:pt x="530" y="31"/>
                    </a:cubicBezTo>
                    <a:cubicBezTo>
                      <a:pt x="530" y="31"/>
                      <a:pt x="532" y="9"/>
                      <a:pt x="525" y="7"/>
                    </a:cubicBezTo>
                    <a:cubicBezTo>
                      <a:pt x="517" y="5"/>
                      <a:pt x="451" y="5"/>
                      <a:pt x="393" y="5"/>
                    </a:cubicBezTo>
                    <a:cubicBezTo>
                      <a:pt x="335" y="5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97">
                <a:extLst>
                  <a:ext uri="{FF2B5EF4-FFF2-40B4-BE49-F238E27FC236}">
                    <a16:creationId xmlns:a16="http://schemas.microsoft.com/office/drawing/2014/main" id="{D3E7F074-78C3-4221-9021-1F736FC58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4450" y="5954713"/>
                <a:ext cx="536575" cy="481013"/>
              </a:xfrm>
              <a:custGeom>
                <a:avLst/>
                <a:gdLst>
                  <a:gd name="T0" fmla="*/ 3 w 143"/>
                  <a:gd name="T1" fmla="*/ 0 h 128"/>
                  <a:gd name="T2" fmla="*/ 1 w 143"/>
                  <a:gd name="T3" fmla="*/ 121 h 128"/>
                  <a:gd name="T4" fmla="*/ 21 w 143"/>
                  <a:gd name="T5" fmla="*/ 126 h 128"/>
                  <a:gd name="T6" fmla="*/ 143 w 143"/>
                  <a:gd name="T7" fmla="*/ 128 h 128"/>
                  <a:gd name="T8" fmla="*/ 5 w 143"/>
                  <a:gd name="T9" fmla="*/ 117 h 128"/>
                  <a:gd name="T10" fmla="*/ 3 w 143"/>
                  <a:gd name="T1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3" h="128">
                    <a:moveTo>
                      <a:pt x="3" y="0"/>
                    </a:moveTo>
                    <a:cubicBezTo>
                      <a:pt x="3" y="0"/>
                      <a:pt x="0" y="118"/>
                      <a:pt x="1" y="121"/>
                    </a:cubicBezTo>
                    <a:cubicBezTo>
                      <a:pt x="2" y="123"/>
                      <a:pt x="1" y="126"/>
                      <a:pt x="21" y="126"/>
                    </a:cubicBezTo>
                    <a:cubicBezTo>
                      <a:pt x="40" y="127"/>
                      <a:pt x="143" y="128"/>
                      <a:pt x="143" y="128"/>
                    </a:cubicBezTo>
                    <a:cubicBezTo>
                      <a:pt x="143" y="128"/>
                      <a:pt x="8" y="128"/>
                      <a:pt x="5" y="117"/>
                    </a:cubicBezTo>
                    <a:cubicBezTo>
                      <a:pt x="2" y="105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98">
                <a:extLst>
                  <a:ext uri="{FF2B5EF4-FFF2-40B4-BE49-F238E27FC236}">
                    <a16:creationId xmlns:a16="http://schemas.microsoft.com/office/drawing/2014/main" id="{C2B6B88A-DB89-4F88-A487-99DFDF2649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00488" y="5213350"/>
                <a:ext cx="179387" cy="276225"/>
              </a:xfrm>
              <a:custGeom>
                <a:avLst/>
                <a:gdLst>
                  <a:gd name="T0" fmla="*/ 3 w 48"/>
                  <a:gd name="T1" fmla="*/ 0 h 74"/>
                  <a:gd name="T2" fmla="*/ 0 w 48"/>
                  <a:gd name="T3" fmla="*/ 74 h 74"/>
                  <a:gd name="T4" fmla="*/ 8 w 48"/>
                  <a:gd name="T5" fmla="*/ 4 h 74"/>
                  <a:gd name="T6" fmla="*/ 48 w 48"/>
                  <a:gd name="T7" fmla="*/ 1 h 74"/>
                  <a:gd name="T8" fmla="*/ 3 w 48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4">
                    <a:moveTo>
                      <a:pt x="3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74"/>
                      <a:pt x="0" y="5"/>
                      <a:pt x="8" y="4"/>
                    </a:cubicBezTo>
                    <a:cubicBezTo>
                      <a:pt x="16" y="4"/>
                      <a:pt x="48" y="1"/>
                      <a:pt x="48" y="1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00">
                <a:extLst>
                  <a:ext uri="{FF2B5EF4-FFF2-40B4-BE49-F238E27FC236}">
                    <a16:creationId xmlns:a16="http://schemas.microsoft.com/office/drawing/2014/main" id="{F3105E3E-7F14-495A-8007-4DC56506FA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9326" y="6317456"/>
                <a:ext cx="221794" cy="148432"/>
              </a:xfrm>
              <a:custGeom>
                <a:avLst/>
                <a:gdLst>
                  <a:gd name="T0" fmla="*/ 55 w 55"/>
                  <a:gd name="T1" fmla="*/ 33 h 37"/>
                  <a:gd name="T2" fmla="*/ 0 w 55"/>
                  <a:gd name="T3" fmla="*/ 0 h 37"/>
                  <a:gd name="T4" fmla="*/ 3 w 55"/>
                  <a:gd name="T5" fmla="*/ 7 h 37"/>
                  <a:gd name="T6" fmla="*/ 33 w 55"/>
                  <a:gd name="T7" fmla="*/ 26 h 37"/>
                  <a:gd name="T8" fmla="*/ 52 w 55"/>
                  <a:gd name="T9" fmla="*/ 37 h 37"/>
                  <a:gd name="T10" fmla="*/ 55 w 55"/>
                  <a:gd name="T11" fmla="*/ 3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37">
                    <a:moveTo>
                      <a:pt x="55" y="3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4"/>
                      <a:pt x="3" y="7"/>
                    </a:cubicBezTo>
                    <a:cubicBezTo>
                      <a:pt x="5" y="10"/>
                      <a:pt x="30" y="24"/>
                      <a:pt x="33" y="26"/>
                    </a:cubicBezTo>
                    <a:cubicBezTo>
                      <a:pt x="36" y="29"/>
                      <a:pt x="52" y="37"/>
                      <a:pt x="52" y="37"/>
                    </a:cubicBezTo>
                    <a:lnTo>
                      <a:pt x="55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01">
                <a:extLst>
                  <a:ext uri="{FF2B5EF4-FFF2-40B4-BE49-F238E27FC236}">
                    <a16:creationId xmlns:a16="http://schemas.microsoft.com/office/drawing/2014/main" id="{5E8AFB21-EE99-46E8-974B-B0EC926E7A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0000" y="6408738"/>
                <a:ext cx="2012950" cy="60325"/>
              </a:xfrm>
              <a:custGeom>
                <a:avLst/>
                <a:gdLst>
                  <a:gd name="T0" fmla="*/ 536 w 537"/>
                  <a:gd name="T1" fmla="*/ 6 h 16"/>
                  <a:gd name="T2" fmla="*/ 537 w 537"/>
                  <a:gd name="T3" fmla="*/ 1 h 16"/>
                  <a:gd name="T4" fmla="*/ 522 w 537"/>
                  <a:gd name="T5" fmla="*/ 0 h 16"/>
                  <a:gd name="T6" fmla="*/ 266 w 537"/>
                  <a:gd name="T7" fmla="*/ 1 h 16"/>
                  <a:gd name="T8" fmla="*/ 103 w 537"/>
                  <a:gd name="T9" fmla="*/ 0 h 16"/>
                  <a:gd name="T10" fmla="*/ 12 w 537"/>
                  <a:gd name="T11" fmla="*/ 2 h 16"/>
                  <a:gd name="T12" fmla="*/ 12 w 537"/>
                  <a:gd name="T13" fmla="*/ 6 h 16"/>
                  <a:gd name="T14" fmla="*/ 4 w 537"/>
                  <a:gd name="T15" fmla="*/ 9 h 16"/>
                  <a:gd name="T16" fmla="*/ 9 w 537"/>
                  <a:gd name="T17" fmla="*/ 12 h 16"/>
                  <a:gd name="T18" fmla="*/ 19 w 537"/>
                  <a:gd name="T19" fmla="*/ 15 h 16"/>
                  <a:gd name="T20" fmla="*/ 125 w 537"/>
                  <a:gd name="T21" fmla="*/ 15 h 16"/>
                  <a:gd name="T22" fmla="*/ 531 w 537"/>
                  <a:gd name="T23" fmla="*/ 10 h 16"/>
                  <a:gd name="T24" fmla="*/ 536 w 537"/>
                  <a:gd name="T25" fmla="*/ 10 h 16"/>
                  <a:gd name="T26" fmla="*/ 536 w 537"/>
                  <a:gd name="T27" fmla="*/ 10 h 16"/>
                  <a:gd name="T28" fmla="*/ 536 w 537"/>
                  <a:gd name="T29" fmla="*/ 10 h 16"/>
                  <a:gd name="T30" fmla="*/ 536 w 537"/>
                  <a:gd name="T31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7" h="16">
                    <a:moveTo>
                      <a:pt x="536" y="6"/>
                    </a:moveTo>
                    <a:cubicBezTo>
                      <a:pt x="536" y="4"/>
                      <a:pt x="537" y="1"/>
                      <a:pt x="537" y="1"/>
                    </a:cubicBezTo>
                    <a:cubicBezTo>
                      <a:pt x="522" y="0"/>
                      <a:pt x="522" y="0"/>
                      <a:pt x="522" y="0"/>
                    </a:cubicBezTo>
                    <a:cubicBezTo>
                      <a:pt x="266" y="1"/>
                      <a:pt x="266" y="1"/>
                      <a:pt x="266" y="1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6" y="7"/>
                      <a:pt x="0" y="8"/>
                      <a:pt x="4" y="9"/>
                    </a:cubicBezTo>
                    <a:cubicBezTo>
                      <a:pt x="5" y="10"/>
                      <a:pt x="7" y="11"/>
                      <a:pt x="9" y="12"/>
                    </a:cubicBezTo>
                    <a:cubicBezTo>
                      <a:pt x="13" y="14"/>
                      <a:pt x="19" y="15"/>
                      <a:pt x="19" y="15"/>
                    </a:cubicBezTo>
                    <a:cubicBezTo>
                      <a:pt x="33" y="16"/>
                      <a:pt x="117" y="15"/>
                      <a:pt x="125" y="15"/>
                    </a:cubicBezTo>
                    <a:cubicBezTo>
                      <a:pt x="133" y="15"/>
                      <a:pt x="489" y="11"/>
                      <a:pt x="531" y="10"/>
                    </a:cubicBezTo>
                    <a:cubicBezTo>
                      <a:pt x="534" y="10"/>
                      <a:pt x="535" y="11"/>
                      <a:pt x="536" y="10"/>
                    </a:cubicBezTo>
                    <a:cubicBezTo>
                      <a:pt x="536" y="10"/>
                      <a:pt x="536" y="10"/>
                      <a:pt x="536" y="10"/>
                    </a:cubicBezTo>
                    <a:cubicBezTo>
                      <a:pt x="536" y="10"/>
                      <a:pt x="536" y="10"/>
                      <a:pt x="536" y="10"/>
                    </a:cubicBezTo>
                    <a:cubicBezTo>
                      <a:pt x="536" y="9"/>
                      <a:pt x="536" y="7"/>
                      <a:pt x="53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96" name="Freeform 102">
              <a:extLst>
                <a:ext uri="{FF2B5EF4-FFF2-40B4-BE49-F238E27FC236}">
                  <a16:creationId xmlns:a16="http://schemas.microsoft.com/office/drawing/2014/main" id="{0EA13DF0-955F-4CD6-91AA-DD9D3D2F6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3588" y="4743450"/>
              <a:ext cx="896937" cy="461963"/>
            </a:xfrm>
            <a:custGeom>
              <a:avLst/>
              <a:gdLst>
                <a:gd name="T0" fmla="*/ 57 w 239"/>
                <a:gd name="T1" fmla="*/ 18 h 123"/>
                <a:gd name="T2" fmla="*/ 95 w 239"/>
                <a:gd name="T3" fmla="*/ 34 h 123"/>
                <a:gd name="T4" fmla="*/ 136 w 239"/>
                <a:gd name="T5" fmla="*/ 12 h 123"/>
                <a:gd name="T6" fmla="*/ 167 w 239"/>
                <a:gd name="T7" fmla="*/ 3 h 123"/>
                <a:gd name="T8" fmla="*/ 209 w 239"/>
                <a:gd name="T9" fmla="*/ 2 h 123"/>
                <a:gd name="T10" fmla="*/ 238 w 239"/>
                <a:gd name="T11" fmla="*/ 15 h 123"/>
                <a:gd name="T12" fmla="*/ 230 w 239"/>
                <a:gd name="T13" fmla="*/ 25 h 123"/>
                <a:gd name="T14" fmla="*/ 205 w 239"/>
                <a:gd name="T15" fmla="*/ 18 h 123"/>
                <a:gd name="T16" fmla="*/ 185 w 239"/>
                <a:gd name="T17" fmla="*/ 30 h 123"/>
                <a:gd name="T18" fmla="*/ 193 w 239"/>
                <a:gd name="T19" fmla="*/ 48 h 123"/>
                <a:gd name="T20" fmla="*/ 211 w 239"/>
                <a:gd name="T21" fmla="*/ 62 h 123"/>
                <a:gd name="T22" fmla="*/ 236 w 239"/>
                <a:gd name="T23" fmla="*/ 85 h 123"/>
                <a:gd name="T24" fmla="*/ 218 w 239"/>
                <a:gd name="T25" fmla="*/ 92 h 123"/>
                <a:gd name="T26" fmla="*/ 203 w 239"/>
                <a:gd name="T27" fmla="*/ 86 h 123"/>
                <a:gd name="T28" fmla="*/ 200 w 239"/>
                <a:gd name="T29" fmla="*/ 119 h 123"/>
                <a:gd name="T30" fmla="*/ 185 w 239"/>
                <a:gd name="T31" fmla="*/ 105 h 123"/>
                <a:gd name="T32" fmla="*/ 178 w 239"/>
                <a:gd name="T33" fmla="*/ 81 h 123"/>
                <a:gd name="T34" fmla="*/ 167 w 239"/>
                <a:gd name="T35" fmla="*/ 112 h 123"/>
                <a:gd name="T36" fmla="*/ 150 w 239"/>
                <a:gd name="T37" fmla="*/ 116 h 123"/>
                <a:gd name="T38" fmla="*/ 134 w 239"/>
                <a:gd name="T39" fmla="*/ 109 h 123"/>
                <a:gd name="T40" fmla="*/ 127 w 239"/>
                <a:gd name="T41" fmla="*/ 103 h 123"/>
                <a:gd name="T42" fmla="*/ 119 w 239"/>
                <a:gd name="T43" fmla="*/ 90 h 123"/>
                <a:gd name="T44" fmla="*/ 81 w 239"/>
                <a:gd name="T45" fmla="*/ 96 h 123"/>
                <a:gd name="T46" fmla="*/ 38 w 239"/>
                <a:gd name="T47" fmla="*/ 77 h 123"/>
                <a:gd name="T48" fmla="*/ 6 w 239"/>
                <a:gd name="T49" fmla="*/ 69 h 123"/>
                <a:gd name="T50" fmla="*/ 23 w 239"/>
                <a:gd name="T51" fmla="*/ 38 h 123"/>
                <a:gd name="T52" fmla="*/ 48 w 239"/>
                <a:gd name="T53" fmla="*/ 21 h 123"/>
                <a:gd name="T54" fmla="*/ 57 w 239"/>
                <a:gd name="T55" fmla="*/ 1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9" h="123">
                  <a:moveTo>
                    <a:pt x="57" y="18"/>
                  </a:moveTo>
                  <a:cubicBezTo>
                    <a:pt x="58" y="19"/>
                    <a:pt x="87" y="34"/>
                    <a:pt x="95" y="34"/>
                  </a:cubicBezTo>
                  <a:cubicBezTo>
                    <a:pt x="103" y="34"/>
                    <a:pt x="132" y="15"/>
                    <a:pt x="136" y="12"/>
                  </a:cubicBezTo>
                  <a:cubicBezTo>
                    <a:pt x="140" y="8"/>
                    <a:pt x="152" y="3"/>
                    <a:pt x="167" y="3"/>
                  </a:cubicBezTo>
                  <a:cubicBezTo>
                    <a:pt x="181" y="2"/>
                    <a:pt x="201" y="0"/>
                    <a:pt x="209" y="2"/>
                  </a:cubicBezTo>
                  <a:cubicBezTo>
                    <a:pt x="218" y="5"/>
                    <a:pt x="237" y="10"/>
                    <a:pt x="238" y="15"/>
                  </a:cubicBezTo>
                  <a:cubicBezTo>
                    <a:pt x="239" y="20"/>
                    <a:pt x="237" y="27"/>
                    <a:pt x="230" y="25"/>
                  </a:cubicBezTo>
                  <a:cubicBezTo>
                    <a:pt x="223" y="23"/>
                    <a:pt x="211" y="15"/>
                    <a:pt x="205" y="18"/>
                  </a:cubicBezTo>
                  <a:cubicBezTo>
                    <a:pt x="199" y="21"/>
                    <a:pt x="185" y="26"/>
                    <a:pt x="185" y="30"/>
                  </a:cubicBezTo>
                  <a:cubicBezTo>
                    <a:pt x="184" y="33"/>
                    <a:pt x="191" y="46"/>
                    <a:pt x="193" y="48"/>
                  </a:cubicBezTo>
                  <a:cubicBezTo>
                    <a:pt x="195" y="50"/>
                    <a:pt x="204" y="57"/>
                    <a:pt x="211" y="62"/>
                  </a:cubicBezTo>
                  <a:cubicBezTo>
                    <a:pt x="219" y="67"/>
                    <a:pt x="238" y="80"/>
                    <a:pt x="236" y="85"/>
                  </a:cubicBezTo>
                  <a:cubicBezTo>
                    <a:pt x="234" y="90"/>
                    <a:pt x="225" y="94"/>
                    <a:pt x="218" y="92"/>
                  </a:cubicBezTo>
                  <a:cubicBezTo>
                    <a:pt x="210" y="89"/>
                    <a:pt x="202" y="80"/>
                    <a:pt x="203" y="86"/>
                  </a:cubicBezTo>
                  <a:cubicBezTo>
                    <a:pt x="203" y="91"/>
                    <a:pt x="206" y="117"/>
                    <a:pt x="200" y="119"/>
                  </a:cubicBezTo>
                  <a:cubicBezTo>
                    <a:pt x="193" y="121"/>
                    <a:pt x="185" y="114"/>
                    <a:pt x="185" y="105"/>
                  </a:cubicBezTo>
                  <a:cubicBezTo>
                    <a:pt x="185" y="96"/>
                    <a:pt x="178" y="74"/>
                    <a:pt x="178" y="81"/>
                  </a:cubicBezTo>
                  <a:cubicBezTo>
                    <a:pt x="177" y="88"/>
                    <a:pt x="171" y="107"/>
                    <a:pt x="167" y="112"/>
                  </a:cubicBezTo>
                  <a:cubicBezTo>
                    <a:pt x="163" y="118"/>
                    <a:pt x="156" y="123"/>
                    <a:pt x="150" y="116"/>
                  </a:cubicBezTo>
                  <a:cubicBezTo>
                    <a:pt x="143" y="110"/>
                    <a:pt x="138" y="109"/>
                    <a:pt x="134" y="109"/>
                  </a:cubicBezTo>
                  <a:cubicBezTo>
                    <a:pt x="129" y="110"/>
                    <a:pt x="125" y="111"/>
                    <a:pt x="127" y="103"/>
                  </a:cubicBezTo>
                  <a:cubicBezTo>
                    <a:pt x="130" y="95"/>
                    <a:pt x="128" y="87"/>
                    <a:pt x="119" y="90"/>
                  </a:cubicBezTo>
                  <a:cubicBezTo>
                    <a:pt x="110" y="94"/>
                    <a:pt x="92" y="101"/>
                    <a:pt x="81" y="96"/>
                  </a:cubicBezTo>
                  <a:cubicBezTo>
                    <a:pt x="71" y="91"/>
                    <a:pt x="54" y="81"/>
                    <a:pt x="38" y="77"/>
                  </a:cubicBezTo>
                  <a:cubicBezTo>
                    <a:pt x="22" y="73"/>
                    <a:pt x="0" y="79"/>
                    <a:pt x="6" y="69"/>
                  </a:cubicBezTo>
                  <a:cubicBezTo>
                    <a:pt x="11" y="59"/>
                    <a:pt x="15" y="43"/>
                    <a:pt x="23" y="38"/>
                  </a:cubicBezTo>
                  <a:cubicBezTo>
                    <a:pt x="31" y="34"/>
                    <a:pt x="44" y="22"/>
                    <a:pt x="48" y="21"/>
                  </a:cubicBezTo>
                  <a:cubicBezTo>
                    <a:pt x="52" y="20"/>
                    <a:pt x="57" y="18"/>
                    <a:pt x="57" y="18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03">
              <a:extLst>
                <a:ext uri="{FF2B5EF4-FFF2-40B4-BE49-F238E27FC236}">
                  <a16:creationId xmlns:a16="http://schemas.microsoft.com/office/drawing/2014/main" id="{F0B9D24D-B012-40D8-A132-7E8DFED26F0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3338" y="4905375"/>
              <a:ext cx="127000" cy="160338"/>
            </a:xfrm>
            <a:custGeom>
              <a:avLst/>
              <a:gdLst>
                <a:gd name="T0" fmla="*/ 9 w 34"/>
                <a:gd name="T1" fmla="*/ 0 h 43"/>
                <a:gd name="T2" fmla="*/ 25 w 34"/>
                <a:gd name="T3" fmla="*/ 16 h 43"/>
                <a:gd name="T4" fmla="*/ 33 w 34"/>
                <a:gd name="T5" fmla="*/ 34 h 43"/>
                <a:gd name="T6" fmla="*/ 28 w 34"/>
                <a:gd name="T7" fmla="*/ 35 h 43"/>
                <a:gd name="T8" fmla="*/ 19 w 34"/>
                <a:gd name="T9" fmla="*/ 16 h 43"/>
                <a:gd name="T10" fmla="*/ 3 w 34"/>
                <a:gd name="T11" fmla="*/ 2 h 43"/>
                <a:gd name="T12" fmla="*/ 9 w 3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3">
                  <a:moveTo>
                    <a:pt x="9" y="0"/>
                  </a:moveTo>
                  <a:cubicBezTo>
                    <a:pt x="10" y="0"/>
                    <a:pt x="23" y="11"/>
                    <a:pt x="25" y="16"/>
                  </a:cubicBezTo>
                  <a:cubicBezTo>
                    <a:pt x="28" y="20"/>
                    <a:pt x="33" y="32"/>
                    <a:pt x="33" y="34"/>
                  </a:cubicBezTo>
                  <a:cubicBezTo>
                    <a:pt x="34" y="36"/>
                    <a:pt x="31" y="43"/>
                    <a:pt x="28" y="35"/>
                  </a:cubicBezTo>
                  <a:cubicBezTo>
                    <a:pt x="25" y="27"/>
                    <a:pt x="23" y="20"/>
                    <a:pt x="19" y="16"/>
                  </a:cubicBezTo>
                  <a:cubicBezTo>
                    <a:pt x="16" y="12"/>
                    <a:pt x="0" y="3"/>
                    <a:pt x="3" y="2"/>
                  </a:cubicBezTo>
                  <a:cubicBezTo>
                    <a:pt x="6" y="1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104">
              <a:extLst>
                <a:ext uri="{FF2B5EF4-FFF2-40B4-BE49-F238E27FC236}">
                  <a16:creationId xmlns:a16="http://schemas.microsoft.com/office/drawing/2014/main" id="{355DE2B9-34B1-4F6D-BA08-EE9B39EC87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63950" y="5029200"/>
              <a:ext cx="123825" cy="82550"/>
            </a:xfrm>
            <a:custGeom>
              <a:avLst/>
              <a:gdLst>
                <a:gd name="T0" fmla="*/ 0 w 33"/>
                <a:gd name="T1" fmla="*/ 22 h 22"/>
                <a:gd name="T2" fmla="*/ 2 w 33"/>
                <a:gd name="T3" fmla="*/ 11 h 22"/>
                <a:gd name="T4" fmla="*/ 9 w 33"/>
                <a:gd name="T5" fmla="*/ 1 h 22"/>
                <a:gd name="T6" fmla="*/ 21 w 33"/>
                <a:gd name="T7" fmla="*/ 4 h 22"/>
                <a:gd name="T8" fmla="*/ 30 w 33"/>
                <a:gd name="T9" fmla="*/ 17 h 22"/>
                <a:gd name="T10" fmla="*/ 17 w 33"/>
                <a:gd name="T11" fmla="*/ 17 h 22"/>
                <a:gd name="T12" fmla="*/ 0 w 33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2">
                  <a:moveTo>
                    <a:pt x="0" y="22"/>
                  </a:moveTo>
                  <a:cubicBezTo>
                    <a:pt x="0" y="21"/>
                    <a:pt x="2" y="17"/>
                    <a:pt x="2" y="11"/>
                  </a:cubicBezTo>
                  <a:cubicBezTo>
                    <a:pt x="2" y="5"/>
                    <a:pt x="5" y="0"/>
                    <a:pt x="9" y="1"/>
                  </a:cubicBezTo>
                  <a:cubicBezTo>
                    <a:pt x="13" y="1"/>
                    <a:pt x="16" y="0"/>
                    <a:pt x="21" y="4"/>
                  </a:cubicBezTo>
                  <a:cubicBezTo>
                    <a:pt x="26" y="8"/>
                    <a:pt x="33" y="19"/>
                    <a:pt x="30" y="17"/>
                  </a:cubicBezTo>
                  <a:cubicBezTo>
                    <a:pt x="28" y="16"/>
                    <a:pt x="21" y="15"/>
                    <a:pt x="17" y="17"/>
                  </a:cubicBezTo>
                  <a:cubicBezTo>
                    <a:pt x="12" y="19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05">
              <a:extLst>
                <a:ext uri="{FF2B5EF4-FFF2-40B4-BE49-F238E27FC236}">
                  <a16:creationId xmlns:a16="http://schemas.microsoft.com/office/drawing/2014/main" id="{39AE17A3-F636-4801-AB4F-F0656DBFBEDA}"/>
                </a:ext>
              </a:extLst>
            </p:cNvPr>
            <p:cNvSpPr>
              <a:spLocks/>
            </p:cNvSpPr>
            <p:nvPr/>
          </p:nvSpPr>
          <p:spPr bwMode="gray">
            <a:xfrm>
              <a:off x="3779838" y="4965700"/>
              <a:ext cx="157162" cy="231775"/>
            </a:xfrm>
            <a:custGeom>
              <a:avLst/>
              <a:gdLst>
                <a:gd name="T0" fmla="*/ 30 w 42"/>
                <a:gd name="T1" fmla="*/ 54 h 62"/>
                <a:gd name="T2" fmla="*/ 20 w 42"/>
                <a:gd name="T3" fmla="*/ 48 h 62"/>
                <a:gd name="T4" fmla="*/ 29 w 42"/>
                <a:gd name="T5" fmla="*/ 38 h 62"/>
                <a:gd name="T6" fmla="*/ 26 w 42"/>
                <a:gd name="T7" fmla="*/ 22 h 62"/>
                <a:gd name="T8" fmla="*/ 12 w 42"/>
                <a:gd name="T9" fmla="*/ 3 h 62"/>
                <a:gd name="T10" fmla="*/ 3 w 42"/>
                <a:gd name="T11" fmla="*/ 0 h 62"/>
                <a:gd name="T12" fmla="*/ 9 w 42"/>
                <a:gd name="T13" fmla="*/ 7 h 62"/>
                <a:gd name="T14" fmla="*/ 23 w 42"/>
                <a:gd name="T15" fmla="*/ 26 h 62"/>
                <a:gd name="T16" fmla="*/ 21 w 42"/>
                <a:gd name="T17" fmla="*/ 40 h 62"/>
                <a:gd name="T18" fmla="*/ 18 w 42"/>
                <a:gd name="T19" fmla="*/ 46 h 62"/>
                <a:gd name="T20" fmla="*/ 14 w 42"/>
                <a:gd name="T21" fmla="*/ 42 h 62"/>
                <a:gd name="T22" fmla="*/ 0 w 42"/>
                <a:gd name="T23" fmla="*/ 41 h 62"/>
                <a:gd name="T24" fmla="*/ 0 w 42"/>
                <a:gd name="T25" fmla="*/ 46 h 62"/>
                <a:gd name="T26" fmla="*/ 5 w 42"/>
                <a:gd name="T27" fmla="*/ 51 h 62"/>
                <a:gd name="T28" fmla="*/ 17 w 42"/>
                <a:gd name="T29" fmla="*/ 53 h 62"/>
                <a:gd name="T30" fmla="*/ 30 w 42"/>
                <a:gd name="T31" fmla="*/ 62 h 62"/>
                <a:gd name="T32" fmla="*/ 42 w 42"/>
                <a:gd name="T33" fmla="*/ 51 h 62"/>
                <a:gd name="T34" fmla="*/ 30 w 42"/>
                <a:gd name="T35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62">
                  <a:moveTo>
                    <a:pt x="30" y="54"/>
                  </a:moveTo>
                  <a:cubicBezTo>
                    <a:pt x="27" y="54"/>
                    <a:pt x="24" y="51"/>
                    <a:pt x="20" y="48"/>
                  </a:cubicBezTo>
                  <a:cubicBezTo>
                    <a:pt x="24" y="45"/>
                    <a:pt x="29" y="40"/>
                    <a:pt x="29" y="38"/>
                  </a:cubicBezTo>
                  <a:cubicBezTo>
                    <a:pt x="30" y="36"/>
                    <a:pt x="27" y="26"/>
                    <a:pt x="26" y="22"/>
                  </a:cubicBezTo>
                  <a:cubicBezTo>
                    <a:pt x="24" y="19"/>
                    <a:pt x="14" y="7"/>
                    <a:pt x="12" y="3"/>
                  </a:cubicBezTo>
                  <a:cubicBezTo>
                    <a:pt x="10" y="0"/>
                    <a:pt x="3" y="0"/>
                    <a:pt x="3" y="0"/>
                  </a:cubicBezTo>
                  <a:cubicBezTo>
                    <a:pt x="3" y="0"/>
                    <a:pt x="6" y="6"/>
                    <a:pt x="9" y="7"/>
                  </a:cubicBezTo>
                  <a:cubicBezTo>
                    <a:pt x="12" y="9"/>
                    <a:pt x="22" y="24"/>
                    <a:pt x="23" y="26"/>
                  </a:cubicBezTo>
                  <a:cubicBezTo>
                    <a:pt x="25" y="29"/>
                    <a:pt x="24" y="36"/>
                    <a:pt x="21" y="40"/>
                  </a:cubicBezTo>
                  <a:cubicBezTo>
                    <a:pt x="20" y="42"/>
                    <a:pt x="19" y="44"/>
                    <a:pt x="18" y="46"/>
                  </a:cubicBezTo>
                  <a:cubicBezTo>
                    <a:pt x="17" y="45"/>
                    <a:pt x="15" y="43"/>
                    <a:pt x="14" y="42"/>
                  </a:cubicBezTo>
                  <a:cubicBezTo>
                    <a:pt x="10" y="40"/>
                    <a:pt x="0" y="39"/>
                    <a:pt x="0" y="41"/>
                  </a:cubicBezTo>
                  <a:cubicBezTo>
                    <a:pt x="0" y="43"/>
                    <a:pt x="0" y="46"/>
                    <a:pt x="0" y="46"/>
                  </a:cubicBezTo>
                  <a:cubicBezTo>
                    <a:pt x="0" y="46"/>
                    <a:pt x="0" y="51"/>
                    <a:pt x="5" y="51"/>
                  </a:cubicBezTo>
                  <a:cubicBezTo>
                    <a:pt x="10" y="51"/>
                    <a:pt x="14" y="51"/>
                    <a:pt x="17" y="53"/>
                  </a:cubicBezTo>
                  <a:cubicBezTo>
                    <a:pt x="19" y="55"/>
                    <a:pt x="26" y="62"/>
                    <a:pt x="30" y="62"/>
                  </a:cubicBezTo>
                  <a:cubicBezTo>
                    <a:pt x="34" y="62"/>
                    <a:pt x="42" y="51"/>
                    <a:pt x="42" y="51"/>
                  </a:cubicBezTo>
                  <a:cubicBezTo>
                    <a:pt x="42" y="51"/>
                    <a:pt x="34" y="55"/>
                    <a:pt x="30" y="54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06">
              <a:extLst>
                <a:ext uri="{FF2B5EF4-FFF2-40B4-BE49-F238E27FC236}">
                  <a16:creationId xmlns:a16="http://schemas.microsoft.com/office/drawing/2014/main" id="{D3DC5181-0877-40A9-960E-773050A422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2888" y="4957763"/>
              <a:ext cx="76200" cy="127000"/>
            </a:xfrm>
            <a:custGeom>
              <a:avLst/>
              <a:gdLst>
                <a:gd name="T0" fmla="*/ 2 w 20"/>
                <a:gd name="T1" fmla="*/ 0 h 34"/>
                <a:gd name="T2" fmla="*/ 3 w 20"/>
                <a:gd name="T3" fmla="*/ 14 h 34"/>
                <a:gd name="T4" fmla="*/ 3 w 20"/>
                <a:gd name="T5" fmla="*/ 28 h 34"/>
                <a:gd name="T6" fmla="*/ 13 w 20"/>
                <a:gd name="T7" fmla="*/ 34 h 34"/>
                <a:gd name="T8" fmla="*/ 18 w 20"/>
                <a:gd name="T9" fmla="*/ 30 h 34"/>
                <a:gd name="T10" fmla="*/ 14 w 20"/>
                <a:gd name="T11" fmla="*/ 11 h 34"/>
                <a:gd name="T12" fmla="*/ 13 w 20"/>
                <a:gd name="T13" fmla="*/ 7 h 34"/>
                <a:gd name="T14" fmla="*/ 2 w 20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4">
                  <a:moveTo>
                    <a:pt x="2" y="0"/>
                  </a:moveTo>
                  <a:cubicBezTo>
                    <a:pt x="2" y="0"/>
                    <a:pt x="3" y="12"/>
                    <a:pt x="3" y="14"/>
                  </a:cubicBezTo>
                  <a:cubicBezTo>
                    <a:pt x="3" y="17"/>
                    <a:pt x="0" y="26"/>
                    <a:pt x="3" y="28"/>
                  </a:cubicBezTo>
                  <a:cubicBezTo>
                    <a:pt x="7" y="29"/>
                    <a:pt x="12" y="33"/>
                    <a:pt x="13" y="34"/>
                  </a:cubicBezTo>
                  <a:cubicBezTo>
                    <a:pt x="14" y="34"/>
                    <a:pt x="20" y="34"/>
                    <a:pt x="18" y="30"/>
                  </a:cubicBezTo>
                  <a:cubicBezTo>
                    <a:pt x="16" y="25"/>
                    <a:pt x="14" y="13"/>
                    <a:pt x="14" y="11"/>
                  </a:cubicBezTo>
                  <a:cubicBezTo>
                    <a:pt x="15" y="10"/>
                    <a:pt x="15" y="8"/>
                    <a:pt x="13" y="7"/>
                  </a:cubicBezTo>
                  <a:cubicBezTo>
                    <a:pt x="11" y="5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07">
              <a:extLst>
                <a:ext uri="{FF2B5EF4-FFF2-40B4-BE49-F238E27FC236}">
                  <a16:creationId xmlns:a16="http://schemas.microsoft.com/office/drawing/2014/main" id="{209F339C-B1D3-4A3A-9A6F-E3A7B1CE6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9388" y="5100638"/>
              <a:ext cx="82550" cy="96838"/>
            </a:xfrm>
            <a:custGeom>
              <a:avLst/>
              <a:gdLst>
                <a:gd name="T0" fmla="*/ 4 w 22"/>
                <a:gd name="T1" fmla="*/ 18 h 26"/>
                <a:gd name="T2" fmla="*/ 16 w 22"/>
                <a:gd name="T3" fmla="*/ 25 h 26"/>
                <a:gd name="T4" fmla="*/ 22 w 22"/>
                <a:gd name="T5" fmla="*/ 5 h 26"/>
                <a:gd name="T6" fmla="*/ 14 w 22"/>
                <a:gd name="T7" fmla="*/ 16 h 26"/>
                <a:gd name="T8" fmla="*/ 1 w 22"/>
                <a:gd name="T9" fmla="*/ 2 h 26"/>
                <a:gd name="T10" fmla="*/ 4 w 22"/>
                <a:gd name="T1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4" y="18"/>
                  </a:moveTo>
                  <a:cubicBezTo>
                    <a:pt x="5" y="21"/>
                    <a:pt x="12" y="26"/>
                    <a:pt x="16" y="25"/>
                  </a:cubicBezTo>
                  <a:cubicBezTo>
                    <a:pt x="20" y="24"/>
                    <a:pt x="22" y="6"/>
                    <a:pt x="22" y="5"/>
                  </a:cubicBezTo>
                  <a:cubicBezTo>
                    <a:pt x="22" y="4"/>
                    <a:pt x="19" y="17"/>
                    <a:pt x="14" y="16"/>
                  </a:cubicBezTo>
                  <a:cubicBezTo>
                    <a:pt x="8" y="14"/>
                    <a:pt x="0" y="0"/>
                    <a:pt x="1" y="2"/>
                  </a:cubicBezTo>
                  <a:cubicBezTo>
                    <a:pt x="1" y="5"/>
                    <a:pt x="2" y="15"/>
                    <a:pt x="4" y="1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08">
              <a:extLst>
                <a:ext uri="{FF2B5EF4-FFF2-40B4-BE49-F238E27FC236}">
                  <a16:creationId xmlns:a16="http://schemas.microsoft.com/office/drawing/2014/main" id="{BD28CCF9-48EF-44E2-8E5A-49959ACF636B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2638" y="4800600"/>
              <a:ext cx="449262" cy="236538"/>
            </a:xfrm>
            <a:custGeom>
              <a:avLst/>
              <a:gdLst>
                <a:gd name="T0" fmla="*/ 119 w 120"/>
                <a:gd name="T1" fmla="*/ 5 h 63"/>
                <a:gd name="T2" fmla="*/ 101 w 120"/>
                <a:gd name="T3" fmla="*/ 15 h 63"/>
                <a:gd name="T4" fmla="*/ 81 w 120"/>
                <a:gd name="T5" fmla="*/ 16 h 63"/>
                <a:gd name="T6" fmla="*/ 59 w 120"/>
                <a:gd name="T7" fmla="*/ 7 h 63"/>
                <a:gd name="T8" fmla="*/ 51 w 120"/>
                <a:gd name="T9" fmla="*/ 5 h 63"/>
                <a:gd name="T10" fmla="*/ 50 w 120"/>
                <a:gd name="T11" fmla="*/ 4 h 63"/>
                <a:gd name="T12" fmla="*/ 35 w 120"/>
                <a:gd name="T13" fmla="*/ 11 h 63"/>
                <a:gd name="T14" fmla="*/ 10 w 120"/>
                <a:gd name="T15" fmla="*/ 32 h 63"/>
                <a:gd name="T16" fmla="*/ 1 w 120"/>
                <a:gd name="T17" fmla="*/ 58 h 63"/>
                <a:gd name="T18" fmla="*/ 25 w 120"/>
                <a:gd name="T19" fmla="*/ 60 h 63"/>
                <a:gd name="T20" fmla="*/ 22 w 120"/>
                <a:gd name="T21" fmla="*/ 47 h 63"/>
                <a:gd name="T22" fmla="*/ 30 w 120"/>
                <a:gd name="T23" fmla="*/ 23 h 63"/>
                <a:gd name="T24" fmla="*/ 50 w 120"/>
                <a:gd name="T25" fmla="*/ 12 h 63"/>
                <a:gd name="T26" fmla="*/ 51 w 120"/>
                <a:gd name="T27" fmla="*/ 7 h 63"/>
                <a:gd name="T28" fmla="*/ 76 w 120"/>
                <a:gd name="T29" fmla="*/ 34 h 63"/>
                <a:gd name="T30" fmla="*/ 82 w 120"/>
                <a:gd name="T31" fmla="*/ 40 h 63"/>
                <a:gd name="T32" fmla="*/ 112 w 120"/>
                <a:gd name="T33" fmla="*/ 19 h 63"/>
                <a:gd name="T34" fmla="*/ 119 w 120"/>
                <a:gd name="T35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63">
                  <a:moveTo>
                    <a:pt x="119" y="5"/>
                  </a:moveTo>
                  <a:cubicBezTo>
                    <a:pt x="119" y="5"/>
                    <a:pt x="105" y="12"/>
                    <a:pt x="101" y="15"/>
                  </a:cubicBezTo>
                  <a:cubicBezTo>
                    <a:pt x="96" y="17"/>
                    <a:pt x="82" y="17"/>
                    <a:pt x="81" y="16"/>
                  </a:cubicBezTo>
                  <a:cubicBezTo>
                    <a:pt x="79" y="15"/>
                    <a:pt x="59" y="7"/>
                    <a:pt x="59" y="7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0" y="4"/>
                    <a:pt x="50" y="4"/>
                  </a:cubicBezTo>
                  <a:cubicBezTo>
                    <a:pt x="49" y="0"/>
                    <a:pt x="37" y="9"/>
                    <a:pt x="35" y="11"/>
                  </a:cubicBezTo>
                  <a:cubicBezTo>
                    <a:pt x="34" y="12"/>
                    <a:pt x="12" y="28"/>
                    <a:pt x="10" y="32"/>
                  </a:cubicBezTo>
                  <a:cubicBezTo>
                    <a:pt x="8" y="37"/>
                    <a:pt x="2" y="53"/>
                    <a:pt x="1" y="58"/>
                  </a:cubicBezTo>
                  <a:cubicBezTo>
                    <a:pt x="0" y="63"/>
                    <a:pt x="20" y="60"/>
                    <a:pt x="25" y="60"/>
                  </a:cubicBezTo>
                  <a:cubicBezTo>
                    <a:pt x="29" y="59"/>
                    <a:pt x="23" y="52"/>
                    <a:pt x="22" y="47"/>
                  </a:cubicBezTo>
                  <a:cubicBezTo>
                    <a:pt x="21" y="42"/>
                    <a:pt x="27" y="27"/>
                    <a:pt x="30" y="23"/>
                  </a:cubicBezTo>
                  <a:cubicBezTo>
                    <a:pt x="34" y="18"/>
                    <a:pt x="50" y="12"/>
                    <a:pt x="50" y="12"/>
                  </a:cubicBezTo>
                  <a:cubicBezTo>
                    <a:pt x="50" y="12"/>
                    <a:pt x="51" y="10"/>
                    <a:pt x="51" y="7"/>
                  </a:cubicBezTo>
                  <a:cubicBezTo>
                    <a:pt x="57" y="13"/>
                    <a:pt x="74" y="28"/>
                    <a:pt x="76" y="34"/>
                  </a:cubicBezTo>
                  <a:cubicBezTo>
                    <a:pt x="79" y="43"/>
                    <a:pt x="81" y="43"/>
                    <a:pt x="82" y="40"/>
                  </a:cubicBezTo>
                  <a:cubicBezTo>
                    <a:pt x="83" y="36"/>
                    <a:pt x="103" y="26"/>
                    <a:pt x="112" y="19"/>
                  </a:cubicBezTo>
                  <a:cubicBezTo>
                    <a:pt x="120" y="12"/>
                    <a:pt x="119" y="5"/>
                    <a:pt x="119" y="5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09">
              <a:extLst>
                <a:ext uri="{FF2B5EF4-FFF2-40B4-BE49-F238E27FC236}">
                  <a16:creationId xmlns:a16="http://schemas.microsoft.com/office/drawing/2014/main" id="{7D63D077-3952-41D6-8A1E-71D01E24EE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6213" y="4792663"/>
              <a:ext cx="217487" cy="176213"/>
            </a:xfrm>
            <a:custGeom>
              <a:avLst/>
              <a:gdLst>
                <a:gd name="T0" fmla="*/ 50 w 58"/>
                <a:gd name="T1" fmla="*/ 3 h 47"/>
                <a:gd name="T2" fmla="*/ 31 w 58"/>
                <a:gd name="T3" fmla="*/ 0 h 47"/>
                <a:gd name="T4" fmla="*/ 12 w 58"/>
                <a:gd name="T5" fmla="*/ 5 h 47"/>
                <a:gd name="T6" fmla="*/ 5 w 58"/>
                <a:gd name="T7" fmla="*/ 10 h 47"/>
                <a:gd name="T8" fmla="*/ 3 w 58"/>
                <a:gd name="T9" fmla="*/ 11 h 47"/>
                <a:gd name="T10" fmla="*/ 0 w 58"/>
                <a:gd name="T11" fmla="*/ 27 h 47"/>
                <a:gd name="T12" fmla="*/ 15 w 58"/>
                <a:gd name="T13" fmla="*/ 43 h 47"/>
                <a:gd name="T14" fmla="*/ 17 w 58"/>
                <a:gd name="T15" fmla="*/ 40 h 47"/>
                <a:gd name="T16" fmla="*/ 4 w 58"/>
                <a:gd name="T17" fmla="*/ 24 h 47"/>
                <a:gd name="T18" fmla="*/ 3 w 58"/>
                <a:gd name="T19" fmla="*/ 19 h 47"/>
                <a:gd name="T20" fmla="*/ 6 w 58"/>
                <a:gd name="T21" fmla="*/ 12 h 47"/>
                <a:gd name="T22" fmla="*/ 26 w 58"/>
                <a:gd name="T23" fmla="*/ 4 h 47"/>
                <a:gd name="T24" fmla="*/ 45 w 58"/>
                <a:gd name="T25" fmla="*/ 11 h 47"/>
                <a:gd name="T26" fmla="*/ 54 w 58"/>
                <a:gd name="T27" fmla="*/ 9 h 47"/>
                <a:gd name="T28" fmla="*/ 50 w 58"/>
                <a:gd name="T2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47">
                  <a:moveTo>
                    <a:pt x="50" y="3"/>
                  </a:moveTo>
                  <a:cubicBezTo>
                    <a:pt x="42" y="1"/>
                    <a:pt x="35" y="0"/>
                    <a:pt x="31" y="0"/>
                  </a:cubicBezTo>
                  <a:cubicBezTo>
                    <a:pt x="27" y="0"/>
                    <a:pt x="16" y="2"/>
                    <a:pt x="12" y="5"/>
                  </a:cubicBezTo>
                  <a:cubicBezTo>
                    <a:pt x="11" y="6"/>
                    <a:pt x="8" y="8"/>
                    <a:pt x="5" y="10"/>
                  </a:cubicBezTo>
                  <a:cubicBezTo>
                    <a:pt x="5" y="10"/>
                    <a:pt x="4" y="11"/>
                    <a:pt x="3" y="11"/>
                  </a:cubicBezTo>
                  <a:cubicBezTo>
                    <a:pt x="0" y="12"/>
                    <a:pt x="0" y="23"/>
                    <a:pt x="0" y="27"/>
                  </a:cubicBezTo>
                  <a:cubicBezTo>
                    <a:pt x="0" y="30"/>
                    <a:pt x="7" y="38"/>
                    <a:pt x="15" y="43"/>
                  </a:cubicBezTo>
                  <a:cubicBezTo>
                    <a:pt x="23" y="47"/>
                    <a:pt x="19" y="42"/>
                    <a:pt x="17" y="40"/>
                  </a:cubicBezTo>
                  <a:cubicBezTo>
                    <a:pt x="16" y="38"/>
                    <a:pt x="8" y="32"/>
                    <a:pt x="4" y="24"/>
                  </a:cubicBezTo>
                  <a:cubicBezTo>
                    <a:pt x="4" y="24"/>
                    <a:pt x="3" y="21"/>
                    <a:pt x="3" y="19"/>
                  </a:cubicBezTo>
                  <a:cubicBezTo>
                    <a:pt x="3" y="17"/>
                    <a:pt x="5" y="14"/>
                    <a:pt x="6" y="12"/>
                  </a:cubicBezTo>
                  <a:cubicBezTo>
                    <a:pt x="14" y="9"/>
                    <a:pt x="26" y="4"/>
                    <a:pt x="26" y="4"/>
                  </a:cubicBezTo>
                  <a:cubicBezTo>
                    <a:pt x="26" y="4"/>
                    <a:pt x="42" y="9"/>
                    <a:pt x="45" y="11"/>
                  </a:cubicBezTo>
                  <a:cubicBezTo>
                    <a:pt x="48" y="12"/>
                    <a:pt x="53" y="12"/>
                    <a:pt x="54" y="9"/>
                  </a:cubicBezTo>
                  <a:cubicBezTo>
                    <a:pt x="55" y="7"/>
                    <a:pt x="58" y="5"/>
                    <a:pt x="50" y="3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10">
              <a:extLst>
                <a:ext uri="{FF2B5EF4-FFF2-40B4-BE49-F238E27FC236}">
                  <a16:creationId xmlns:a16="http://schemas.microsoft.com/office/drawing/2014/main" id="{57B8759B-76A9-4178-845F-50E5CD9A1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9763" y="4754563"/>
              <a:ext cx="374650" cy="376238"/>
            </a:xfrm>
            <a:custGeom>
              <a:avLst/>
              <a:gdLst>
                <a:gd name="T0" fmla="*/ 4 w 100"/>
                <a:gd name="T1" fmla="*/ 78 h 100"/>
                <a:gd name="T2" fmla="*/ 17 w 100"/>
                <a:gd name="T3" fmla="*/ 98 h 100"/>
                <a:gd name="T4" fmla="*/ 34 w 100"/>
                <a:gd name="T5" fmla="*/ 91 h 100"/>
                <a:gd name="T6" fmla="*/ 46 w 100"/>
                <a:gd name="T7" fmla="*/ 60 h 100"/>
                <a:gd name="T8" fmla="*/ 79 w 100"/>
                <a:gd name="T9" fmla="*/ 22 h 100"/>
                <a:gd name="T10" fmla="*/ 94 w 100"/>
                <a:gd name="T11" fmla="*/ 14 h 100"/>
                <a:gd name="T12" fmla="*/ 75 w 100"/>
                <a:gd name="T13" fmla="*/ 1 h 100"/>
                <a:gd name="T14" fmla="*/ 57 w 100"/>
                <a:gd name="T15" fmla="*/ 7 h 100"/>
                <a:gd name="T16" fmla="*/ 26 w 100"/>
                <a:gd name="T17" fmla="*/ 22 h 100"/>
                <a:gd name="T18" fmla="*/ 7 w 100"/>
                <a:gd name="T19" fmla="*/ 39 h 100"/>
                <a:gd name="T20" fmla="*/ 0 w 100"/>
                <a:gd name="T21" fmla="*/ 60 h 100"/>
                <a:gd name="T22" fmla="*/ 4 w 100"/>
                <a:gd name="T23" fmla="*/ 7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00">
                  <a:moveTo>
                    <a:pt x="4" y="78"/>
                  </a:moveTo>
                  <a:cubicBezTo>
                    <a:pt x="5" y="79"/>
                    <a:pt x="13" y="97"/>
                    <a:pt x="17" y="98"/>
                  </a:cubicBezTo>
                  <a:cubicBezTo>
                    <a:pt x="21" y="100"/>
                    <a:pt x="33" y="97"/>
                    <a:pt x="34" y="91"/>
                  </a:cubicBezTo>
                  <a:cubicBezTo>
                    <a:pt x="35" y="86"/>
                    <a:pt x="42" y="64"/>
                    <a:pt x="46" y="60"/>
                  </a:cubicBezTo>
                  <a:cubicBezTo>
                    <a:pt x="50" y="56"/>
                    <a:pt x="72" y="25"/>
                    <a:pt x="79" y="22"/>
                  </a:cubicBezTo>
                  <a:cubicBezTo>
                    <a:pt x="85" y="19"/>
                    <a:pt x="100" y="18"/>
                    <a:pt x="94" y="14"/>
                  </a:cubicBezTo>
                  <a:cubicBezTo>
                    <a:pt x="88" y="10"/>
                    <a:pt x="81" y="0"/>
                    <a:pt x="75" y="1"/>
                  </a:cubicBezTo>
                  <a:cubicBezTo>
                    <a:pt x="69" y="2"/>
                    <a:pt x="67" y="1"/>
                    <a:pt x="57" y="7"/>
                  </a:cubicBezTo>
                  <a:cubicBezTo>
                    <a:pt x="47" y="12"/>
                    <a:pt x="29" y="20"/>
                    <a:pt x="26" y="22"/>
                  </a:cubicBezTo>
                  <a:cubicBezTo>
                    <a:pt x="23" y="25"/>
                    <a:pt x="11" y="28"/>
                    <a:pt x="7" y="39"/>
                  </a:cubicBezTo>
                  <a:cubicBezTo>
                    <a:pt x="3" y="49"/>
                    <a:pt x="0" y="51"/>
                    <a:pt x="0" y="60"/>
                  </a:cubicBezTo>
                  <a:cubicBezTo>
                    <a:pt x="1" y="68"/>
                    <a:pt x="4" y="78"/>
                    <a:pt x="4" y="7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13">
              <a:extLst>
                <a:ext uri="{FF2B5EF4-FFF2-40B4-BE49-F238E27FC236}">
                  <a16:creationId xmlns:a16="http://schemas.microsoft.com/office/drawing/2014/main" id="{44ECAD19-3508-4C8C-8592-66353C52A8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8163" y="5226050"/>
              <a:ext cx="1095375" cy="604454"/>
            </a:xfrm>
            <a:custGeom>
              <a:avLst/>
              <a:gdLst>
                <a:gd name="T0" fmla="*/ 9 w 292"/>
                <a:gd name="T1" fmla="*/ 87 h 158"/>
                <a:gd name="T2" fmla="*/ 21 w 292"/>
                <a:gd name="T3" fmla="*/ 117 h 158"/>
                <a:gd name="T4" fmla="*/ 28 w 292"/>
                <a:gd name="T5" fmla="*/ 144 h 158"/>
                <a:gd name="T6" fmla="*/ 64 w 292"/>
                <a:gd name="T7" fmla="*/ 133 h 158"/>
                <a:gd name="T8" fmla="*/ 112 w 292"/>
                <a:gd name="T9" fmla="*/ 157 h 158"/>
                <a:gd name="T10" fmla="*/ 191 w 292"/>
                <a:gd name="T11" fmla="*/ 126 h 158"/>
                <a:gd name="T12" fmla="*/ 283 w 292"/>
                <a:gd name="T13" fmla="*/ 29 h 158"/>
                <a:gd name="T14" fmla="*/ 292 w 292"/>
                <a:gd name="T15" fmla="*/ 0 h 158"/>
                <a:gd name="T16" fmla="*/ 240 w 292"/>
                <a:gd name="T17" fmla="*/ 38 h 158"/>
                <a:gd name="T18" fmla="*/ 145 w 292"/>
                <a:gd name="T19" fmla="*/ 113 h 158"/>
                <a:gd name="T20" fmla="*/ 81 w 292"/>
                <a:gd name="T21" fmla="*/ 98 h 158"/>
                <a:gd name="T22" fmla="*/ 1 w 292"/>
                <a:gd name="T23" fmla="*/ 70 h 158"/>
                <a:gd name="T24" fmla="*/ 9 w 292"/>
                <a:gd name="T25" fmla="*/ 8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158">
                  <a:moveTo>
                    <a:pt x="9" y="87"/>
                  </a:moveTo>
                  <a:cubicBezTo>
                    <a:pt x="9" y="87"/>
                    <a:pt x="20" y="115"/>
                    <a:pt x="21" y="117"/>
                  </a:cubicBezTo>
                  <a:cubicBezTo>
                    <a:pt x="22" y="119"/>
                    <a:pt x="28" y="144"/>
                    <a:pt x="28" y="144"/>
                  </a:cubicBezTo>
                  <a:cubicBezTo>
                    <a:pt x="28" y="144"/>
                    <a:pt x="47" y="121"/>
                    <a:pt x="64" y="133"/>
                  </a:cubicBezTo>
                  <a:cubicBezTo>
                    <a:pt x="81" y="146"/>
                    <a:pt x="96" y="157"/>
                    <a:pt x="112" y="157"/>
                  </a:cubicBezTo>
                  <a:cubicBezTo>
                    <a:pt x="129" y="158"/>
                    <a:pt x="183" y="133"/>
                    <a:pt x="191" y="126"/>
                  </a:cubicBezTo>
                  <a:cubicBezTo>
                    <a:pt x="198" y="120"/>
                    <a:pt x="278" y="39"/>
                    <a:pt x="283" y="29"/>
                  </a:cubicBezTo>
                  <a:cubicBezTo>
                    <a:pt x="287" y="20"/>
                    <a:pt x="292" y="0"/>
                    <a:pt x="292" y="0"/>
                  </a:cubicBezTo>
                  <a:cubicBezTo>
                    <a:pt x="292" y="0"/>
                    <a:pt x="271" y="8"/>
                    <a:pt x="240" y="38"/>
                  </a:cubicBezTo>
                  <a:cubicBezTo>
                    <a:pt x="208" y="68"/>
                    <a:pt x="170" y="114"/>
                    <a:pt x="145" y="113"/>
                  </a:cubicBezTo>
                  <a:cubicBezTo>
                    <a:pt x="120" y="112"/>
                    <a:pt x="87" y="104"/>
                    <a:pt x="81" y="98"/>
                  </a:cubicBezTo>
                  <a:cubicBezTo>
                    <a:pt x="75" y="92"/>
                    <a:pt x="3" y="61"/>
                    <a:pt x="1" y="70"/>
                  </a:cubicBezTo>
                  <a:cubicBezTo>
                    <a:pt x="0" y="78"/>
                    <a:pt x="9" y="87"/>
                    <a:pt x="9" y="87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15">
              <a:extLst>
                <a:ext uri="{FF2B5EF4-FFF2-40B4-BE49-F238E27FC236}">
                  <a16:creationId xmlns:a16="http://schemas.microsoft.com/office/drawing/2014/main" id="{F8E6897E-3FF9-4166-B123-BC48114DFF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0838" y="2562225"/>
              <a:ext cx="577850" cy="1228725"/>
            </a:xfrm>
            <a:custGeom>
              <a:avLst/>
              <a:gdLst>
                <a:gd name="T0" fmla="*/ 19 w 154"/>
                <a:gd name="T1" fmla="*/ 66 h 328"/>
                <a:gd name="T2" fmla="*/ 2 w 154"/>
                <a:gd name="T3" fmla="*/ 27 h 328"/>
                <a:gd name="T4" fmla="*/ 38 w 154"/>
                <a:gd name="T5" fmla="*/ 4 h 328"/>
                <a:gd name="T6" fmla="*/ 70 w 154"/>
                <a:gd name="T7" fmla="*/ 80 h 328"/>
                <a:gd name="T8" fmla="*/ 79 w 154"/>
                <a:gd name="T9" fmla="*/ 111 h 328"/>
                <a:gd name="T10" fmla="*/ 93 w 154"/>
                <a:gd name="T11" fmla="*/ 125 h 328"/>
                <a:gd name="T12" fmla="*/ 117 w 154"/>
                <a:gd name="T13" fmla="*/ 98 h 328"/>
                <a:gd name="T14" fmla="*/ 151 w 154"/>
                <a:gd name="T15" fmla="*/ 135 h 328"/>
                <a:gd name="T16" fmla="*/ 140 w 154"/>
                <a:gd name="T17" fmla="*/ 157 h 328"/>
                <a:gd name="T18" fmla="*/ 109 w 154"/>
                <a:gd name="T19" fmla="*/ 213 h 328"/>
                <a:gd name="T20" fmla="*/ 107 w 154"/>
                <a:gd name="T21" fmla="*/ 305 h 328"/>
                <a:gd name="T22" fmla="*/ 90 w 154"/>
                <a:gd name="T23" fmla="*/ 251 h 328"/>
                <a:gd name="T24" fmla="*/ 83 w 154"/>
                <a:gd name="T25" fmla="*/ 175 h 328"/>
                <a:gd name="T26" fmla="*/ 76 w 154"/>
                <a:gd name="T27" fmla="*/ 162 h 328"/>
                <a:gd name="T28" fmla="*/ 49 w 154"/>
                <a:gd name="T29" fmla="*/ 127 h 328"/>
                <a:gd name="T30" fmla="*/ 19 w 154"/>
                <a:gd name="T31" fmla="*/ 6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328">
                  <a:moveTo>
                    <a:pt x="19" y="66"/>
                  </a:moveTo>
                  <a:cubicBezTo>
                    <a:pt x="18" y="64"/>
                    <a:pt x="0" y="38"/>
                    <a:pt x="2" y="27"/>
                  </a:cubicBezTo>
                  <a:cubicBezTo>
                    <a:pt x="3" y="15"/>
                    <a:pt x="34" y="0"/>
                    <a:pt x="38" y="4"/>
                  </a:cubicBezTo>
                  <a:cubicBezTo>
                    <a:pt x="42" y="9"/>
                    <a:pt x="69" y="76"/>
                    <a:pt x="70" y="80"/>
                  </a:cubicBezTo>
                  <a:cubicBezTo>
                    <a:pt x="70" y="80"/>
                    <a:pt x="75" y="104"/>
                    <a:pt x="79" y="111"/>
                  </a:cubicBezTo>
                  <a:cubicBezTo>
                    <a:pt x="84" y="119"/>
                    <a:pt x="89" y="130"/>
                    <a:pt x="93" y="125"/>
                  </a:cubicBezTo>
                  <a:cubicBezTo>
                    <a:pt x="97" y="120"/>
                    <a:pt x="113" y="98"/>
                    <a:pt x="117" y="98"/>
                  </a:cubicBezTo>
                  <a:cubicBezTo>
                    <a:pt x="120" y="98"/>
                    <a:pt x="148" y="129"/>
                    <a:pt x="151" y="135"/>
                  </a:cubicBezTo>
                  <a:cubicBezTo>
                    <a:pt x="154" y="141"/>
                    <a:pt x="150" y="148"/>
                    <a:pt x="140" y="157"/>
                  </a:cubicBezTo>
                  <a:cubicBezTo>
                    <a:pt x="131" y="167"/>
                    <a:pt x="108" y="203"/>
                    <a:pt x="109" y="213"/>
                  </a:cubicBezTo>
                  <a:cubicBezTo>
                    <a:pt x="111" y="222"/>
                    <a:pt x="120" y="282"/>
                    <a:pt x="107" y="305"/>
                  </a:cubicBezTo>
                  <a:cubicBezTo>
                    <a:pt x="94" y="328"/>
                    <a:pt x="95" y="269"/>
                    <a:pt x="90" y="251"/>
                  </a:cubicBezTo>
                  <a:cubicBezTo>
                    <a:pt x="85" y="233"/>
                    <a:pt x="83" y="179"/>
                    <a:pt x="83" y="175"/>
                  </a:cubicBezTo>
                  <a:cubicBezTo>
                    <a:pt x="83" y="171"/>
                    <a:pt x="82" y="160"/>
                    <a:pt x="76" y="162"/>
                  </a:cubicBezTo>
                  <a:cubicBezTo>
                    <a:pt x="71" y="164"/>
                    <a:pt x="61" y="149"/>
                    <a:pt x="49" y="127"/>
                  </a:cubicBezTo>
                  <a:cubicBezTo>
                    <a:pt x="37" y="105"/>
                    <a:pt x="19" y="66"/>
                    <a:pt x="19" y="66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16">
              <a:extLst>
                <a:ext uri="{FF2B5EF4-FFF2-40B4-BE49-F238E27FC236}">
                  <a16:creationId xmlns:a16="http://schemas.microsoft.com/office/drawing/2014/main" id="{DF0D8472-B720-40FD-A34A-C8667BBB1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6713" y="2700338"/>
              <a:ext cx="396875" cy="544513"/>
            </a:xfrm>
            <a:custGeom>
              <a:avLst/>
              <a:gdLst>
                <a:gd name="T0" fmla="*/ 106 w 106"/>
                <a:gd name="T1" fmla="*/ 145 h 145"/>
                <a:gd name="T2" fmla="*/ 99 w 106"/>
                <a:gd name="T3" fmla="*/ 109 h 145"/>
                <a:gd name="T4" fmla="*/ 69 w 106"/>
                <a:gd name="T5" fmla="*/ 110 h 145"/>
                <a:gd name="T6" fmla="*/ 33 w 106"/>
                <a:gd name="T7" fmla="*/ 50 h 145"/>
                <a:gd name="T8" fmla="*/ 0 w 106"/>
                <a:gd name="T9" fmla="*/ 0 h 145"/>
                <a:gd name="T10" fmla="*/ 33 w 106"/>
                <a:gd name="T11" fmla="*/ 62 h 145"/>
                <a:gd name="T12" fmla="*/ 67 w 106"/>
                <a:gd name="T13" fmla="*/ 123 h 145"/>
                <a:gd name="T14" fmla="*/ 67 w 106"/>
                <a:gd name="T15" fmla="*/ 123 h 145"/>
                <a:gd name="T16" fmla="*/ 79 w 106"/>
                <a:gd name="T17" fmla="*/ 141 h 145"/>
                <a:gd name="T18" fmla="*/ 88 w 106"/>
                <a:gd name="T19" fmla="*/ 129 h 145"/>
                <a:gd name="T20" fmla="*/ 96 w 106"/>
                <a:gd name="T21" fmla="*/ 122 h 145"/>
                <a:gd name="T22" fmla="*/ 106 w 106"/>
                <a:gd name="T2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45">
                  <a:moveTo>
                    <a:pt x="106" y="145"/>
                  </a:moveTo>
                  <a:cubicBezTo>
                    <a:pt x="106" y="145"/>
                    <a:pt x="103" y="116"/>
                    <a:pt x="99" y="109"/>
                  </a:cubicBezTo>
                  <a:cubicBezTo>
                    <a:pt x="94" y="103"/>
                    <a:pt x="81" y="107"/>
                    <a:pt x="69" y="110"/>
                  </a:cubicBezTo>
                  <a:cubicBezTo>
                    <a:pt x="57" y="113"/>
                    <a:pt x="40" y="62"/>
                    <a:pt x="33" y="50"/>
                  </a:cubicBezTo>
                  <a:cubicBezTo>
                    <a:pt x="26" y="39"/>
                    <a:pt x="0" y="0"/>
                    <a:pt x="0" y="0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8" y="129"/>
                    <a:pt x="79" y="141"/>
                    <a:pt x="79" y="141"/>
                  </a:cubicBezTo>
                  <a:cubicBezTo>
                    <a:pt x="79" y="141"/>
                    <a:pt x="79" y="129"/>
                    <a:pt x="88" y="129"/>
                  </a:cubicBezTo>
                  <a:cubicBezTo>
                    <a:pt x="92" y="129"/>
                    <a:pt x="95" y="126"/>
                    <a:pt x="96" y="122"/>
                  </a:cubicBezTo>
                  <a:cubicBezTo>
                    <a:pt x="102" y="129"/>
                    <a:pt x="105" y="143"/>
                    <a:pt x="106" y="14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17">
              <a:extLst>
                <a:ext uri="{FF2B5EF4-FFF2-40B4-BE49-F238E27FC236}">
                  <a16:creationId xmlns:a16="http://schemas.microsoft.com/office/drawing/2014/main" id="{D6F2CEE7-42F3-4E92-84E0-5A1D07DEDE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5488" y="3333750"/>
              <a:ext cx="52387" cy="401638"/>
            </a:xfrm>
            <a:custGeom>
              <a:avLst/>
              <a:gdLst>
                <a:gd name="T0" fmla="*/ 9 w 14"/>
                <a:gd name="T1" fmla="*/ 7 h 107"/>
                <a:gd name="T2" fmla="*/ 14 w 14"/>
                <a:gd name="T3" fmla="*/ 35 h 107"/>
                <a:gd name="T4" fmla="*/ 11 w 14"/>
                <a:gd name="T5" fmla="*/ 75 h 107"/>
                <a:gd name="T6" fmla="*/ 10 w 14"/>
                <a:gd name="T7" fmla="*/ 89 h 107"/>
                <a:gd name="T8" fmla="*/ 1 w 14"/>
                <a:gd name="T9" fmla="*/ 105 h 107"/>
                <a:gd name="T10" fmla="*/ 4 w 14"/>
                <a:gd name="T11" fmla="*/ 77 h 107"/>
                <a:gd name="T12" fmla="*/ 4 w 14"/>
                <a:gd name="T13" fmla="*/ 39 h 107"/>
                <a:gd name="T14" fmla="*/ 9 w 14"/>
                <a:gd name="T15" fmla="*/ 0 h 107"/>
                <a:gd name="T16" fmla="*/ 9 w 14"/>
                <a:gd name="T17" fmla="*/ 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07">
                  <a:moveTo>
                    <a:pt x="9" y="7"/>
                  </a:moveTo>
                  <a:cubicBezTo>
                    <a:pt x="9" y="7"/>
                    <a:pt x="13" y="28"/>
                    <a:pt x="14" y="35"/>
                  </a:cubicBezTo>
                  <a:cubicBezTo>
                    <a:pt x="14" y="41"/>
                    <a:pt x="13" y="66"/>
                    <a:pt x="11" y="75"/>
                  </a:cubicBezTo>
                  <a:cubicBezTo>
                    <a:pt x="9" y="85"/>
                    <a:pt x="14" y="84"/>
                    <a:pt x="10" y="89"/>
                  </a:cubicBezTo>
                  <a:cubicBezTo>
                    <a:pt x="6" y="94"/>
                    <a:pt x="1" y="107"/>
                    <a:pt x="1" y="105"/>
                  </a:cubicBezTo>
                  <a:cubicBezTo>
                    <a:pt x="0" y="102"/>
                    <a:pt x="4" y="84"/>
                    <a:pt x="4" y="77"/>
                  </a:cubicBezTo>
                  <a:cubicBezTo>
                    <a:pt x="4" y="70"/>
                    <a:pt x="5" y="49"/>
                    <a:pt x="4" y="39"/>
                  </a:cubicBezTo>
                  <a:cubicBezTo>
                    <a:pt x="4" y="30"/>
                    <a:pt x="9" y="0"/>
                    <a:pt x="9" y="0"/>
                  </a:cubicBezTo>
                  <a:lnTo>
                    <a:pt x="9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18">
              <a:extLst>
                <a:ext uri="{FF2B5EF4-FFF2-40B4-BE49-F238E27FC236}">
                  <a16:creationId xmlns:a16="http://schemas.microsoft.com/office/drawing/2014/main" id="{C8B40C70-CB5D-4033-966C-30AD1812B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913" y="2947988"/>
              <a:ext cx="85725" cy="247650"/>
            </a:xfrm>
            <a:custGeom>
              <a:avLst/>
              <a:gdLst>
                <a:gd name="T0" fmla="*/ 19 w 23"/>
                <a:gd name="T1" fmla="*/ 0 h 66"/>
                <a:gd name="T2" fmla="*/ 0 w 23"/>
                <a:gd name="T3" fmla="*/ 20 h 66"/>
                <a:gd name="T4" fmla="*/ 10 w 23"/>
                <a:gd name="T5" fmla="*/ 39 h 66"/>
                <a:gd name="T6" fmla="*/ 19 w 23"/>
                <a:gd name="T7" fmla="*/ 57 h 66"/>
                <a:gd name="T8" fmla="*/ 22 w 23"/>
                <a:gd name="T9" fmla="*/ 23 h 66"/>
                <a:gd name="T10" fmla="*/ 19 w 23"/>
                <a:gd name="T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66">
                  <a:moveTo>
                    <a:pt x="19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9" y="34"/>
                    <a:pt x="10" y="39"/>
                  </a:cubicBezTo>
                  <a:cubicBezTo>
                    <a:pt x="11" y="43"/>
                    <a:pt x="19" y="66"/>
                    <a:pt x="19" y="57"/>
                  </a:cubicBezTo>
                  <a:cubicBezTo>
                    <a:pt x="19" y="48"/>
                    <a:pt x="22" y="29"/>
                    <a:pt x="22" y="23"/>
                  </a:cubicBezTo>
                  <a:cubicBezTo>
                    <a:pt x="23" y="16"/>
                    <a:pt x="19" y="0"/>
                    <a:pt x="19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19">
              <a:extLst>
                <a:ext uri="{FF2B5EF4-FFF2-40B4-BE49-F238E27FC236}">
                  <a16:creationId xmlns:a16="http://schemas.microsoft.com/office/drawing/2014/main" id="{C95CC2A5-E664-41A5-961A-A62BE3E70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7088" y="2970213"/>
              <a:ext cx="93662" cy="247650"/>
            </a:xfrm>
            <a:custGeom>
              <a:avLst/>
              <a:gdLst>
                <a:gd name="T0" fmla="*/ 1 w 25"/>
                <a:gd name="T1" fmla="*/ 0 h 66"/>
                <a:gd name="T2" fmla="*/ 24 w 25"/>
                <a:gd name="T3" fmla="*/ 29 h 66"/>
                <a:gd name="T4" fmla="*/ 0 w 25"/>
                <a:gd name="T5" fmla="*/ 66 h 66"/>
                <a:gd name="T6" fmla="*/ 11 w 25"/>
                <a:gd name="T7" fmla="*/ 27 h 66"/>
                <a:gd name="T8" fmla="*/ 1 w 25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6">
                  <a:moveTo>
                    <a:pt x="1" y="0"/>
                  </a:moveTo>
                  <a:cubicBezTo>
                    <a:pt x="3" y="2"/>
                    <a:pt x="25" y="25"/>
                    <a:pt x="24" y="29"/>
                  </a:cubicBezTo>
                  <a:cubicBezTo>
                    <a:pt x="23" y="34"/>
                    <a:pt x="0" y="66"/>
                    <a:pt x="0" y="66"/>
                  </a:cubicBezTo>
                  <a:cubicBezTo>
                    <a:pt x="0" y="66"/>
                    <a:pt x="15" y="36"/>
                    <a:pt x="11" y="27"/>
                  </a:cubicBezTo>
                  <a:cubicBezTo>
                    <a:pt x="7" y="18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23">
              <a:extLst>
                <a:ext uri="{FF2B5EF4-FFF2-40B4-BE49-F238E27FC236}">
                  <a16:creationId xmlns:a16="http://schemas.microsoft.com/office/drawing/2014/main" id="{26995A49-1A20-442A-AC19-DA2A56E0CF5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2644775"/>
              <a:ext cx="1998662" cy="3224213"/>
            </a:xfrm>
            <a:custGeom>
              <a:avLst/>
              <a:gdLst>
                <a:gd name="T0" fmla="*/ 478 w 533"/>
                <a:gd name="T1" fmla="*/ 261 h 860"/>
                <a:gd name="T2" fmla="*/ 451 w 533"/>
                <a:gd name="T3" fmla="*/ 150 h 860"/>
                <a:gd name="T4" fmla="*/ 419 w 533"/>
                <a:gd name="T5" fmla="*/ 97 h 860"/>
                <a:gd name="T6" fmla="*/ 370 w 533"/>
                <a:gd name="T7" fmla="*/ 6 h 860"/>
                <a:gd name="T8" fmla="*/ 300 w 533"/>
                <a:gd name="T9" fmla="*/ 52 h 860"/>
                <a:gd name="T10" fmla="*/ 218 w 533"/>
                <a:gd name="T11" fmla="*/ 110 h 860"/>
                <a:gd name="T12" fmla="*/ 182 w 533"/>
                <a:gd name="T13" fmla="*/ 183 h 860"/>
                <a:gd name="T14" fmla="*/ 175 w 533"/>
                <a:gd name="T15" fmla="*/ 238 h 860"/>
                <a:gd name="T16" fmla="*/ 169 w 533"/>
                <a:gd name="T17" fmla="*/ 295 h 860"/>
                <a:gd name="T18" fmla="*/ 155 w 533"/>
                <a:gd name="T19" fmla="*/ 327 h 860"/>
                <a:gd name="T20" fmla="*/ 141 w 533"/>
                <a:gd name="T21" fmla="*/ 358 h 860"/>
                <a:gd name="T22" fmla="*/ 140 w 533"/>
                <a:gd name="T23" fmla="*/ 394 h 860"/>
                <a:gd name="T24" fmla="*/ 96 w 533"/>
                <a:gd name="T25" fmla="*/ 466 h 860"/>
                <a:gd name="T26" fmla="*/ 64 w 533"/>
                <a:gd name="T27" fmla="*/ 525 h 860"/>
                <a:gd name="T28" fmla="*/ 7 w 533"/>
                <a:gd name="T29" fmla="*/ 684 h 860"/>
                <a:gd name="T30" fmla="*/ 3 w 533"/>
                <a:gd name="T31" fmla="*/ 705 h 860"/>
                <a:gd name="T32" fmla="*/ 36 w 533"/>
                <a:gd name="T33" fmla="*/ 736 h 860"/>
                <a:gd name="T34" fmla="*/ 49 w 533"/>
                <a:gd name="T35" fmla="*/ 746 h 860"/>
                <a:gd name="T36" fmla="*/ 66 w 533"/>
                <a:gd name="T37" fmla="*/ 769 h 860"/>
                <a:gd name="T38" fmla="*/ 173 w 533"/>
                <a:gd name="T39" fmla="*/ 819 h 860"/>
                <a:gd name="T40" fmla="*/ 271 w 533"/>
                <a:gd name="T41" fmla="*/ 814 h 860"/>
                <a:gd name="T42" fmla="*/ 383 w 533"/>
                <a:gd name="T43" fmla="*/ 690 h 860"/>
                <a:gd name="T44" fmla="*/ 411 w 533"/>
                <a:gd name="T45" fmla="*/ 650 h 860"/>
                <a:gd name="T46" fmla="*/ 430 w 533"/>
                <a:gd name="T47" fmla="*/ 664 h 860"/>
                <a:gd name="T48" fmla="*/ 455 w 533"/>
                <a:gd name="T49" fmla="*/ 684 h 860"/>
                <a:gd name="T50" fmla="*/ 476 w 533"/>
                <a:gd name="T51" fmla="*/ 676 h 860"/>
                <a:gd name="T52" fmla="*/ 461 w 533"/>
                <a:gd name="T53" fmla="*/ 648 h 860"/>
                <a:gd name="T54" fmla="*/ 473 w 533"/>
                <a:gd name="T55" fmla="*/ 598 h 860"/>
                <a:gd name="T56" fmla="*/ 531 w 533"/>
                <a:gd name="T57" fmla="*/ 565 h 860"/>
                <a:gd name="T58" fmla="*/ 471 w 533"/>
                <a:gd name="T59" fmla="*/ 518 h 860"/>
                <a:gd name="T60" fmla="*/ 484 w 533"/>
                <a:gd name="T61" fmla="*/ 464 h 860"/>
                <a:gd name="T62" fmla="*/ 481 w 533"/>
                <a:gd name="T63" fmla="*/ 381 h 860"/>
                <a:gd name="T64" fmla="*/ 473 w 533"/>
                <a:gd name="T65" fmla="*/ 303 h 860"/>
                <a:gd name="T66" fmla="*/ 478 w 533"/>
                <a:gd name="T67" fmla="*/ 26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3" h="860">
                  <a:moveTo>
                    <a:pt x="478" y="261"/>
                  </a:moveTo>
                  <a:cubicBezTo>
                    <a:pt x="478" y="261"/>
                    <a:pt x="454" y="154"/>
                    <a:pt x="451" y="150"/>
                  </a:cubicBezTo>
                  <a:cubicBezTo>
                    <a:pt x="449" y="145"/>
                    <a:pt x="431" y="111"/>
                    <a:pt x="419" y="97"/>
                  </a:cubicBezTo>
                  <a:cubicBezTo>
                    <a:pt x="407" y="83"/>
                    <a:pt x="382" y="0"/>
                    <a:pt x="370" y="6"/>
                  </a:cubicBezTo>
                  <a:cubicBezTo>
                    <a:pt x="357" y="11"/>
                    <a:pt x="317" y="44"/>
                    <a:pt x="300" y="52"/>
                  </a:cubicBezTo>
                  <a:cubicBezTo>
                    <a:pt x="284" y="61"/>
                    <a:pt x="223" y="103"/>
                    <a:pt x="218" y="110"/>
                  </a:cubicBezTo>
                  <a:cubicBezTo>
                    <a:pt x="214" y="117"/>
                    <a:pt x="183" y="164"/>
                    <a:pt x="182" y="183"/>
                  </a:cubicBezTo>
                  <a:cubicBezTo>
                    <a:pt x="181" y="203"/>
                    <a:pt x="187" y="231"/>
                    <a:pt x="175" y="238"/>
                  </a:cubicBezTo>
                  <a:cubicBezTo>
                    <a:pt x="163" y="245"/>
                    <a:pt x="169" y="286"/>
                    <a:pt x="169" y="295"/>
                  </a:cubicBezTo>
                  <a:cubicBezTo>
                    <a:pt x="169" y="305"/>
                    <a:pt x="159" y="318"/>
                    <a:pt x="155" y="327"/>
                  </a:cubicBezTo>
                  <a:cubicBezTo>
                    <a:pt x="151" y="335"/>
                    <a:pt x="141" y="342"/>
                    <a:pt x="141" y="358"/>
                  </a:cubicBezTo>
                  <a:cubicBezTo>
                    <a:pt x="142" y="373"/>
                    <a:pt x="148" y="384"/>
                    <a:pt x="140" y="394"/>
                  </a:cubicBezTo>
                  <a:cubicBezTo>
                    <a:pt x="131" y="403"/>
                    <a:pt x="97" y="463"/>
                    <a:pt x="96" y="466"/>
                  </a:cubicBezTo>
                  <a:cubicBezTo>
                    <a:pt x="94" y="468"/>
                    <a:pt x="82" y="498"/>
                    <a:pt x="64" y="525"/>
                  </a:cubicBezTo>
                  <a:cubicBezTo>
                    <a:pt x="46" y="552"/>
                    <a:pt x="11" y="677"/>
                    <a:pt x="7" y="684"/>
                  </a:cubicBezTo>
                  <a:cubicBezTo>
                    <a:pt x="3" y="690"/>
                    <a:pt x="0" y="699"/>
                    <a:pt x="3" y="705"/>
                  </a:cubicBezTo>
                  <a:cubicBezTo>
                    <a:pt x="7" y="711"/>
                    <a:pt x="36" y="736"/>
                    <a:pt x="36" y="736"/>
                  </a:cubicBezTo>
                  <a:cubicBezTo>
                    <a:pt x="36" y="736"/>
                    <a:pt x="49" y="735"/>
                    <a:pt x="49" y="746"/>
                  </a:cubicBezTo>
                  <a:cubicBezTo>
                    <a:pt x="49" y="757"/>
                    <a:pt x="54" y="769"/>
                    <a:pt x="66" y="769"/>
                  </a:cubicBezTo>
                  <a:cubicBezTo>
                    <a:pt x="78" y="770"/>
                    <a:pt x="170" y="818"/>
                    <a:pt x="173" y="819"/>
                  </a:cubicBezTo>
                  <a:cubicBezTo>
                    <a:pt x="177" y="820"/>
                    <a:pt x="210" y="860"/>
                    <a:pt x="271" y="814"/>
                  </a:cubicBezTo>
                  <a:cubicBezTo>
                    <a:pt x="310" y="786"/>
                    <a:pt x="354" y="729"/>
                    <a:pt x="383" y="690"/>
                  </a:cubicBezTo>
                  <a:cubicBezTo>
                    <a:pt x="400" y="667"/>
                    <a:pt x="411" y="650"/>
                    <a:pt x="411" y="650"/>
                  </a:cubicBezTo>
                  <a:cubicBezTo>
                    <a:pt x="411" y="650"/>
                    <a:pt x="421" y="651"/>
                    <a:pt x="430" y="664"/>
                  </a:cubicBezTo>
                  <a:cubicBezTo>
                    <a:pt x="439" y="677"/>
                    <a:pt x="453" y="684"/>
                    <a:pt x="455" y="684"/>
                  </a:cubicBezTo>
                  <a:cubicBezTo>
                    <a:pt x="457" y="685"/>
                    <a:pt x="475" y="679"/>
                    <a:pt x="476" y="676"/>
                  </a:cubicBezTo>
                  <a:cubicBezTo>
                    <a:pt x="476" y="672"/>
                    <a:pt x="464" y="653"/>
                    <a:pt x="461" y="648"/>
                  </a:cubicBezTo>
                  <a:cubicBezTo>
                    <a:pt x="459" y="644"/>
                    <a:pt x="462" y="606"/>
                    <a:pt x="473" y="598"/>
                  </a:cubicBezTo>
                  <a:cubicBezTo>
                    <a:pt x="484" y="590"/>
                    <a:pt x="530" y="563"/>
                    <a:pt x="531" y="565"/>
                  </a:cubicBezTo>
                  <a:cubicBezTo>
                    <a:pt x="533" y="566"/>
                    <a:pt x="471" y="518"/>
                    <a:pt x="471" y="518"/>
                  </a:cubicBezTo>
                  <a:cubicBezTo>
                    <a:pt x="471" y="518"/>
                    <a:pt x="484" y="466"/>
                    <a:pt x="484" y="464"/>
                  </a:cubicBezTo>
                  <a:cubicBezTo>
                    <a:pt x="484" y="461"/>
                    <a:pt x="486" y="391"/>
                    <a:pt x="481" y="381"/>
                  </a:cubicBezTo>
                  <a:cubicBezTo>
                    <a:pt x="476" y="371"/>
                    <a:pt x="474" y="316"/>
                    <a:pt x="473" y="303"/>
                  </a:cubicBezTo>
                  <a:cubicBezTo>
                    <a:pt x="471" y="290"/>
                    <a:pt x="478" y="261"/>
                    <a:pt x="478" y="2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5875" cap="flat">
              <a:solidFill>
                <a:schemeClr val="accent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24">
              <a:extLst>
                <a:ext uri="{FF2B5EF4-FFF2-40B4-BE49-F238E27FC236}">
                  <a16:creationId xmlns:a16="http://schemas.microsoft.com/office/drawing/2014/main" id="{88F68BC3-8C5B-4B3A-B3D1-EB5CC506F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70138" y="3079750"/>
              <a:ext cx="771525" cy="2081213"/>
            </a:xfrm>
            <a:custGeom>
              <a:avLst/>
              <a:gdLst>
                <a:gd name="T0" fmla="*/ 152 w 206"/>
                <a:gd name="T1" fmla="*/ 478 h 555"/>
                <a:gd name="T2" fmla="*/ 57 w 206"/>
                <a:gd name="T3" fmla="*/ 392 h 555"/>
                <a:gd name="T4" fmla="*/ 37 w 206"/>
                <a:gd name="T5" fmla="*/ 347 h 555"/>
                <a:gd name="T6" fmla="*/ 135 w 206"/>
                <a:gd name="T7" fmla="*/ 297 h 555"/>
                <a:gd name="T8" fmla="*/ 135 w 206"/>
                <a:gd name="T9" fmla="*/ 285 h 555"/>
                <a:gd name="T10" fmla="*/ 37 w 206"/>
                <a:gd name="T11" fmla="*/ 329 h 555"/>
                <a:gd name="T12" fmla="*/ 30 w 206"/>
                <a:gd name="T13" fmla="*/ 266 h 555"/>
                <a:gd name="T14" fmla="*/ 100 w 206"/>
                <a:gd name="T15" fmla="*/ 190 h 555"/>
                <a:gd name="T16" fmla="*/ 147 w 206"/>
                <a:gd name="T17" fmla="*/ 204 h 555"/>
                <a:gd name="T18" fmla="*/ 84 w 206"/>
                <a:gd name="T19" fmla="*/ 181 h 555"/>
                <a:gd name="T20" fmla="*/ 36 w 206"/>
                <a:gd name="T21" fmla="*/ 227 h 555"/>
                <a:gd name="T22" fmla="*/ 17 w 206"/>
                <a:gd name="T23" fmla="*/ 182 h 555"/>
                <a:gd name="T24" fmla="*/ 7 w 206"/>
                <a:gd name="T25" fmla="*/ 119 h 555"/>
                <a:gd name="T26" fmla="*/ 59 w 206"/>
                <a:gd name="T27" fmla="*/ 113 h 555"/>
                <a:gd name="T28" fmla="*/ 66 w 206"/>
                <a:gd name="T29" fmla="*/ 117 h 555"/>
                <a:gd name="T30" fmla="*/ 32 w 206"/>
                <a:gd name="T31" fmla="*/ 80 h 555"/>
                <a:gd name="T32" fmla="*/ 56 w 206"/>
                <a:gd name="T33" fmla="*/ 63 h 555"/>
                <a:gd name="T34" fmla="*/ 92 w 206"/>
                <a:gd name="T35" fmla="*/ 75 h 555"/>
                <a:gd name="T36" fmla="*/ 130 w 206"/>
                <a:gd name="T37" fmla="*/ 76 h 555"/>
                <a:gd name="T38" fmla="*/ 163 w 206"/>
                <a:gd name="T39" fmla="*/ 87 h 555"/>
                <a:gd name="T40" fmla="*/ 167 w 206"/>
                <a:gd name="T41" fmla="*/ 114 h 555"/>
                <a:gd name="T42" fmla="*/ 162 w 206"/>
                <a:gd name="T43" fmla="*/ 138 h 555"/>
                <a:gd name="T44" fmla="*/ 149 w 206"/>
                <a:gd name="T45" fmla="*/ 115 h 555"/>
                <a:gd name="T46" fmla="*/ 155 w 206"/>
                <a:gd name="T47" fmla="*/ 150 h 555"/>
                <a:gd name="T48" fmla="*/ 162 w 206"/>
                <a:gd name="T49" fmla="*/ 172 h 555"/>
                <a:gd name="T50" fmla="*/ 158 w 206"/>
                <a:gd name="T51" fmla="*/ 195 h 555"/>
                <a:gd name="T52" fmla="*/ 191 w 206"/>
                <a:gd name="T53" fmla="*/ 143 h 555"/>
                <a:gd name="T54" fmla="*/ 194 w 206"/>
                <a:gd name="T55" fmla="*/ 100 h 555"/>
                <a:gd name="T56" fmla="*/ 162 w 206"/>
                <a:gd name="T57" fmla="*/ 67 h 555"/>
                <a:gd name="T58" fmla="*/ 139 w 206"/>
                <a:gd name="T59" fmla="*/ 51 h 555"/>
                <a:gd name="T60" fmla="*/ 97 w 206"/>
                <a:gd name="T61" fmla="*/ 9 h 555"/>
                <a:gd name="T62" fmla="*/ 129 w 206"/>
                <a:gd name="T63" fmla="*/ 61 h 555"/>
                <a:gd name="T64" fmla="*/ 81 w 206"/>
                <a:gd name="T65" fmla="*/ 57 h 555"/>
                <a:gd name="T66" fmla="*/ 24 w 206"/>
                <a:gd name="T67" fmla="*/ 15 h 555"/>
                <a:gd name="T68" fmla="*/ 57 w 206"/>
                <a:gd name="T69" fmla="*/ 51 h 555"/>
                <a:gd name="T70" fmla="*/ 22 w 206"/>
                <a:gd name="T71" fmla="*/ 73 h 555"/>
                <a:gd name="T72" fmla="*/ 24 w 206"/>
                <a:gd name="T73" fmla="*/ 92 h 555"/>
                <a:gd name="T74" fmla="*/ 11 w 206"/>
                <a:gd name="T75" fmla="*/ 104 h 555"/>
                <a:gd name="T76" fmla="*/ 2 w 206"/>
                <a:gd name="T77" fmla="*/ 127 h 555"/>
                <a:gd name="T78" fmla="*/ 11 w 206"/>
                <a:gd name="T79" fmla="*/ 193 h 555"/>
                <a:gd name="T80" fmla="*/ 15 w 206"/>
                <a:gd name="T81" fmla="*/ 258 h 555"/>
                <a:gd name="T82" fmla="*/ 23 w 206"/>
                <a:gd name="T83" fmla="*/ 322 h 555"/>
                <a:gd name="T84" fmla="*/ 30 w 206"/>
                <a:gd name="T85" fmla="*/ 376 h 555"/>
                <a:gd name="T86" fmla="*/ 177 w 206"/>
                <a:gd name="T87" fmla="*/ 516 h 555"/>
                <a:gd name="T88" fmla="*/ 205 w 206"/>
                <a:gd name="T89" fmla="*/ 555 h 555"/>
                <a:gd name="T90" fmla="*/ 152 w 206"/>
                <a:gd name="T91" fmla="*/ 478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555">
                  <a:moveTo>
                    <a:pt x="152" y="478"/>
                  </a:moveTo>
                  <a:cubicBezTo>
                    <a:pt x="141" y="468"/>
                    <a:pt x="74" y="407"/>
                    <a:pt x="57" y="392"/>
                  </a:cubicBezTo>
                  <a:cubicBezTo>
                    <a:pt x="40" y="378"/>
                    <a:pt x="25" y="356"/>
                    <a:pt x="37" y="347"/>
                  </a:cubicBezTo>
                  <a:cubicBezTo>
                    <a:pt x="49" y="338"/>
                    <a:pt x="134" y="297"/>
                    <a:pt x="135" y="297"/>
                  </a:cubicBezTo>
                  <a:cubicBezTo>
                    <a:pt x="136" y="297"/>
                    <a:pt x="152" y="281"/>
                    <a:pt x="135" y="285"/>
                  </a:cubicBezTo>
                  <a:cubicBezTo>
                    <a:pt x="118" y="290"/>
                    <a:pt x="41" y="331"/>
                    <a:pt x="37" y="329"/>
                  </a:cubicBezTo>
                  <a:cubicBezTo>
                    <a:pt x="34" y="328"/>
                    <a:pt x="25" y="274"/>
                    <a:pt x="30" y="266"/>
                  </a:cubicBezTo>
                  <a:cubicBezTo>
                    <a:pt x="35" y="257"/>
                    <a:pt x="80" y="185"/>
                    <a:pt x="100" y="190"/>
                  </a:cubicBezTo>
                  <a:cubicBezTo>
                    <a:pt x="120" y="195"/>
                    <a:pt x="165" y="222"/>
                    <a:pt x="147" y="204"/>
                  </a:cubicBezTo>
                  <a:cubicBezTo>
                    <a:pt x="129" y="186"/>
                    <a:pt x="92" y="178"/>
                    <a:pt x="84" y="181"/>
                  </a:cubicBezTo>
                  <a:cubicBezTo>
                    <a:pt x="77" y="184"/>
                    <a:pt x="44" y="221"/>
                    <a:pt x="36" y="227"/>
                  </a:cubicBezTo>
                  <a:cubicBezTo>
                    <a:pt x="27" y="233"/>
                    <a:pt x="18" y="190"/>
                    <a:pt x="17" y="182"/>
                  </a:cubicBezTo>
                  <a:cubicBezTo>
                    <a:pt x="16" y="173"/>
                    <a:pt x="2" y="125"/>
                    <a:pt x="7" y="119"/>
                  </a:cubicBezTo>
                  <a:cubicBezTo>
                    <a:pt x="11" y="113"/>
                    <a:pt x="58" y="113"/>
                    <a:pt x="59" y="113"/>
                  </a:cubicBezTo>
                  <a:cubicBezTo>
                    <a:pt x="64" y="116"/>
                    <a:pt x="66" y="117"/>
                    <a:pt x="66" y="117"/>
                  </a:cubicBezTo>
                  <a:cubicBezTo>
                    <a:pt x="66" y="117"/>
                    <a:pt x="29" y="86"/>
                    <a:pt x="32" y="80"/>
                  </a:cubicBezTo>
                  <a:cubicBezTo>
                    <a:pt x="36" y="74"/>
                    <a:pt x="48" y="59"/>
                    <a:pt x="56" y="63"/>
                  </a:cubicBezTo>
                  <a:cubicBezTo>
                    <a:pt x="63" y="66"/>
                    <a:pt x="82" y="71"/>
                    <a:pt x="92" y="75"/>
                  </a:cubicBezTo>
                  <a:cubicBezTo>
                    <a:pt x="103" y="78"/>
                    <a:pt x="122" y="78"/>
                    <a:pt x="130" y="76"/>
                  </a:cubicBezTo>
                  <a:cubicBezTo>
                    <a:pt x="137" y="74"/>
                    <a:pt x="159" y="83"/>
                    <a:pt x="163" y="87"/>
                  </a:cubicBezTo>
                  <a:cubicBezTo>
                    <a:pt x="166" y="92"/>
                    <a:pt x="168" y="105"/>
                    <a:pt x="167" y="114"/>
                  </a:cubicBezTo>
                  <a:cubicBezTo>
                    <a:pt x="166" y="124"/>
                    <a:pt x="164" y="145"/>
                    <a:pt x="162" y="138"/>
                  </a:cubicBezTo>
                  <a:cubicBezTo>
                    <a:pt x="159" y="131"/>
                    <a:pt x="149" y="115"/>
                    <a:pt x="149" y="115"/>
                  </a:cubicBezTo>
                  <a:cubicBezTo>
                    <a:pt x="149" y="115"/>
                    <a:pt x="148" y="142"/>
                    <a:pt x="155" y="150"/>
                  </a:cubicBezTo>
                  <a:cubicBezTo>
                    <a:pt x="161" y="158"/>
                    <a:pt x="165" y="162"/>
                    <a:pt x="162" y="172"/>
                  </a:cubicBezTo>
                  <a:cubicBezTo>
                    <a:pt x="158" y="181"/>
                    <a:pt x="157" y="194"/>
                    <a:pt x="158" y="195"/>
                  </a:cubicBezTo>
                  <a:cubicBezTo>
                    <a:pt x="158" y="197"/>
                    <a:pt x="188" y="150"/>
                    <a:pt x="191" y="143"/>
                  </a:cubicBezTo>
                  <a:cubicBezTo>
                    <a:pt x="194" y="136"/>
                    <a:pt x="206" y="123"/>
                    <a:pt x="194" y="100"/>
                  </a:cubicBezTo>
                  <a:cubicBezTo>
                    <a:pt x="183" y="77"/>
                    <a:pt x="162" y="51"/>
                    <a:pt x="162" y="67"/>
                  </a:cubicBezTo>
                  <a:cubicBezTo>
                    <a:pt x="162" y="82"/>
                    <a:pt x="151" y="64"/>
                    <a:pt x="139" y="51"/>
                  </a:cubicBezTo>
                  <a:cubicBezTo>
                    <a:pt x="126" y="38"/>
                    <a:pt x="92" y="0"/>
                    <a:pt x="97" y="9"/>
                  </a:cubicBezTo>
                  <a:cubicBezTo>
                    <a:pt x="102" y="18"/>
                    <a:pt x="125" y="48"/>
                    <a:pt x="129" y="61"/>
                  </a:cubicBezTo>
                  <a:cubicBezTo>
                    <a:pt x="133" y="74"/>
                    <a:pt x="101" y="69"/>
                    <a:pt x="81" y="57"/>
                  </a:cubicBezTo>
                  <a:cubicBezTo>
                    <a:pt x="61" y="46"/>
                    <a:pt x="13" y="5"/>
                    <a:pt x="24" y="15"/>
                  </a:cubicBezTo>
                  <a:cubicBezTo>
                    <a:pt x="34" y="25"/>
                    <a:pt x="51" y="38"/>
                    <a:pt x="57" y="51"/>
                  </a:cubicBezTo>
                  <a:cubicBezTo>
                    <a:pt x="63" y="63"/>
                    <a:pt x="23" y="60"/>
                    <a:pt x="22" y="73"/>
                  </a:cubicBezTo>
                  <a:cubicBezTo>
                    <a:pt x="22" y="81"/>
                    <a:pt x="19" y="86"/>
                    <a:pt x="24" y="92"/>
                  </a:cubicBezTo>
                  <a:cubicBezTo>
                    <a:pt x="19" y="96"/>
                    <a:pt x="11" y="104"/>
                    <a:pt x="11" y="104"/>
                  </a:cubicBezTo>
                  <a:cubicBezTo>
                    <a:pt x="9" y="104"/>
                    <a:pt x="0" y="105"/>
                    <a:pt x="2" y="127"/>
                  </a:cubicBezTo>
                  <a:cubicBezTo>
                    <a:pt x="5" y="148"/>
                    <a:pt x="11" y="186"/>
                    <a:pt x="11" y="193"/>
                  </a:cubicBezTo>
                  <a:cubicBezTo>
                    <a:pt x="11" y="200"/>
                    <a:pt x="11" y="247"/>
                    <a:pt x="15" y="258"/>
                  </a:cubicBezTo>
                  <a:cubicBezTo>
                    <a:pt x="19" y="269"/>
                    <a:pt x="23" y="317"/>
                    <a:pt x="23" y="322"/>
                  </a:cubicBezTo>
                  <a:cubicBezTo>
                    <a:pt x="24" y="327"/>
                    <a:pt x="21" y="364"/>
                    <a:pt x="30" y="376"/>
                  </a:cubicBezTo>
                  <a:cubicBezTo>
                    <a:pt x="38" y="388"/>
                    <a:pt x="177" y="516"/>
                    <a:pt x="177" y="516"/>
                  </a:cubicBezTo>
                  <a:cubicBezTo>
                    <a:pt x="205" y="555"/>
                    <a:pt x="205" y="555"/>
                    <a:pt x="205" y="555"/>
                  </a:cubicBezTo>
                  <a:cubicBezTo>
                    <a:pt x="205" y="555"/>
                    <a:pt x="163" y="487"/>
                    <a:pt x="152" y="478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25">
              <a:extLst>
                <a:ext uri="{FF2B5EF4-FFF2-40B4-BE49-F238E27FC236}">
                  <a16:creationId xmlns:a16="http://schemas.microsoft.com/office/drawing/2014/main" id="{7ADCC5D6-D9F5-4C97-9A1C-664BEBF399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54338" y="3851275"/>
              <a:ext cx="304800" cy="742950"/>
            </a:xfrm>
            <a:custGeom>
              <a:avLst/>
              <a:gdLst>
                <a:gd name="T0" fmla="*/ 6 w 81"/>
                <a:gd name="T1" fmla="*/ 0 h 198"/>
                <a:gd name="T2" fmla="*/ 1 w 81"/>
                <a:gd name="T3" fmla="*/ 54 h 198"/>
                <a:gd name="T4" fmla="*/ 8 w 81"/>
                <a:gd name="T5" fmla="*/ 76 h 198"/>
                <a:gd name="T6" fmla="*/ 12 w 81"/>
                <a:gd name="T7" fmla="*/ 100 h 198"/>
                <a:gd name="T8" fmla="*/ 34 w 81"/>
                <a:gd name="T9" fmla="*/ 154 h 198"/>
                <a:gd name="T10" fmla="*/ 81 w 81"/>
                <a:gd name="T11" fmla="*/ 198 h 198"/>
                <a:gd name="T12" fmla="*/ 36 w 81"/>
                <a:gd name="T13" fmla="*/ 141 h 198"/>
                <a:gd name="T14" fmla="*/ 40 w 81"/>
                <a:gd name="T15" fmla="*/ 97 h 198"/>
                <a:gd name="T16" fmla="*/ 46 w 81"/>
                <a:gd name="T17" fmla="*/ 75 h 198"/>
                <a:gd name="T18" fmla="*/ 25 w 81"/>
                <a:gd name="T19" fmla="*/ 62 h 198"/>
                <a:gd name="T20" fmla="*/ 36 w 81"/>
                <a:gd name="T21" fmla="*/ 33 h 198"/>
                <a:gd name="T22" fmla="*/ 6 w 81"/>
                <a:gd name="T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198">
                  <a:moveTo>
                    <a:pt x="6" y="0"/>
                  </a:moveTo>
                  <a:cubicBezTo>
                    <a:pt x="6" y="0"/>
                    <a:pt x="0" y="44"/>
                    <a:pt x="1" y="54"/>
                  </a:cubicBezTo>
                  <a:cubicBezTo>
                    <a:pt x="1" y="64"/>
                    <a:pt x="6" y="73"/>
                    <a:pt x="8" y="76"/>
                  </a:cubicBezTo>
                  <a:cubicBezTo>
                    <a:pt x="11" y="79"/>
                    <a:pt x="12" y="86"/>
                    <a:pt x="12" y="100"/>
                  </a:cubicBezTo>
                  <a:cubicBezTo>
                    <a:pt x="12" y="113"/>
                    <a:pt x="21" y="140"/>
                    <a:pt x="34" y="154"/>
                  </a:cubicBezTo>
                  <a:cubicBezTo>
                    <a:pt x="47" y="168"/>
                    <a:pt x="81" y="198"/>
                    <a:pt x="81" y="198"/>
                  </a:cubicBezTo>
                  <a:cubicBezTo>
                    <a:pt x="81" y="198"/>
                    <a:pt x="39" y="152"/>
                    <a:pt x="36" y="141"/>
                  </a:cubicBezTo>
                  <a:cubicBezTo>
                    <a:pt x="34" y="130"/>
                    <a:pt x="36" y="105"/>
                    <a:pt x="40" y="97"/>
                  </a:cubicBezTo>
                  <a:cubicBezTo>
                    <a:pt x="43" y="89"/>
                    <a:pt x="55" y="78"/>
                    <a:pt x="46" y="75"/>
                  </a:cubicBezTo>
                  <a:cubicBezTo>
                    <a:pt x="38" y="73"/>
                    <a:pt x="19" y="76"/>
                    <a:pt x="25" y="62"/>
                  </a:cubicBezTo>
                  <a:cubicBezTo>
                    <a:pt x="31" y="49"/>
                    <a:pt x="45" y="43"/>
                    <a:pt x="36" y="33"/>
                  </a:cubicBezTo>
                  <a:cubicBezTo>
                    <a:pt x="27" y="22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26">
              <a:extLst>
                <a:ext uri="{FF2B5EF4-FFF2-40B4-BE49-F238E27FC236}">
                  <a16:creationId xmlns:a16="http://schemas.microsoft.com/office/drawing/2014/main" id="{0EEABAAD-5D7A-402C-A1C6-FC10BA9A1F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3113" y="4443413"/>
              <a:ext cx="742950" cy="349250"/>
            </a:xfrm>
            <a:custGeom>
              <a:avLst/>
              <a:gdLst>
                <a:gd name="T0" fmla="*/ 115 w 198"/>
                <a:gd name="T1" fmla="*/ 0 h 93"/>
                <a:gd name="T2" fmla="*/ 23 w 198"/>
                <a:gd name="T3" fmla="*/ 1 h 93"/>
                <a:gd name="T4" fmla="*/ 1 w 198"/>
                <a:gd name="T5" fmla="*/ 60 h 93"/>
                <a:gd name="T6" fmla="*/ 109 w 198"/>
                <a:gd name="T7" fmla="*/ 72 h 93"/>
                <a:gd name="T8" fmla="*/ 188 w 198"/>
                <a:gd name="T9" fmla="*/ 93 h 93"/>
                <a:gd name="T10" fmla="*/ 174 w 198"/>
                <a:gd name="T11" fmla="*/ 80 h 93"/>
                <a:gd name="T12" fmla="*/ 36 w 198"/>
                <a:gd name="T13" fmla="*/ 54 h 93"/>
                <a:gd name="T14" fmla="*/ 20 w 198"/>
                <a:gd name="T15" fmla="*/ 23 h 93"/>
                <a:gd name="T16" fmla="*/ 62 w 198"/>
                <a:gd name="T17" fmla="*/ 6 h 93"/>
                <a:gd name="T18" fmla="*/ 115 w 198"/>
                <a:gd name="T1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93">
                  <a:moveTo>
                    <a:pt x="115" y="0"/>
                  </a:move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0" y="55"/>
                    <a:pt x="1" y="60"/>
                  </a:cubicBezTo>
                  <a:cubicBezTo>
                    <a:pt x="1" y="66"/>
                    <a:pt x="84" y="66"/>
                    <a:pt x="109" y="72"/>
                  </a:cubicBezTo>
                  <a:cubicBezTo>
                    <a:pt x="134" y="77"/>
                    <a:pt x="188" y="93"/>
                    <a:pt x="188" y="93"/>
                  </a:cubicBezTo>
                  <a:cubicBezTo>
                    <a:pt x="188" y="93"/>
                    <a:pt x="198" y="86"/>
                    <a:pt x="174" y="80"/>
                  </a:cubicBezTo>
                  <a:cubicBezTo>
                    <a:pt x="150" y="74"/>
                    <a:pt x="52" y="54"/>
                    <a:pt x="36" y="54"/>
                  </a:cubicBezTo>
                  <a:cubicBezTo>
                    <a:pt x="21" y="53"/>
                    <a:pt x="12" y="36"/>
                    <a:pt x="20" y="23"/>
                  </a:cubicBezTo>
                  <a:cubicBezTo>
                    <a:pt x="28" y="10"/>
                    <a:pt x="26" y="6"/>
                    <a:pt x="62" y="6"/>
                  </a:cubicBezTo>
                  <a:cubicBezTo>
                    <a:pt x="99" y="6"/>
                    <a:pt x="115" y="0"/>
                    <a:pt x="115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27">
              <a:extLst>
                <a:ext uri="{FF2B5EF4-FFF2-40B4-BE49-F238E27FC236}">
                  <a16:creationId xmlns:a16="http://schemas.microsoft.com/office/drawing/2014/main" id="{25B4982E-DBD2-4BCF-8755-E1E2489102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6400" y="4778375"/>
              <a:ext cx="442912" cy="752475"/>
            </a:xfrm>
            <a:custGeom>
              <a:avLst/>
              <a:gdLst>
                <a:gd name="T0" fmla="*/ 118 w 118"/>
                <a:gd name="T1" fmla="*/ 0 h 201"/>
                <a:gd name="T2" fmla="*/ 80 w 118"/>
                <a:gd name="T3" fmla="*/ 85 h 201"/>
                <a:gd name="T4" fmla="*/ 30 w 118"/>
                <a:gd name="T5" fmla="*/ 184 h 201"/>
                <a:gd name="T6" fmla="*/ 20 w 118"/>
                <a:gd name="T7" fmla="*/ 199 h 201"/>
                <a:gd name="T8" fmla="*/ 1 w 118"/>
                <a:gd name="T9" fmla="*/ 177 h 201"/>
                <a:gd name="T10" fmla="*/ 5 w 118"/>
                <a:gd name="T11" fmla="*/ 165 h 201"/>
                <a:gd name="T12" fmla="*/ 27 w 118"/>
                <a:gd name="T13" fmla="*/ 141 h 201"/>
                <a:gd name="T14" fmla="*/ 72 w 118"/>
                <a:gd name="T15" fmla="*/ 71 h 201"/>
                <a:gd name="T16" fmla="*/ 118 w 118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201">
                  <a:moveTo>
                    <a:pt x="118" y="0"/>
                  </a:moveTo>
                  <a:cubicBezTo>
                    <a:pt x="118" y="0"/>
                    <a:pt x="103" y="49"/>
                    <a:pt x="80" y="85"/>
                  </a:cubicBezTo>
                  <a:cubicBezTo>
                    <a:pt x="57" y="122"/>
                    <a:pt x="31" y="178"/>
                    <a:pt x="30" y="184"/>
                  </a:cubicBezTo>
                  <a:cubicBezTo>
                    <a:pt x="29" y="189"/>
                    <a:pt x="28" y="201"/>
                    <a:pt x="20" y="199"/>
                  </a:cubicBezTo>
                  <a:cubicBezTo>
                    <a:pt x="11" y="196"/>
                    <a:pt x="3" y="182"/>
                    <a:pt x="1" y="177"/>
                  </a:cubicBezTo>
                  <a:cubicBezTo>
                    <a:pt x="0" y="172"/>
                    <a:pt x="2" y="166"/>
                    <a:pt x="5" y="165"/>
                  </a:cubicBezTo>
                  <a:cubicBezTo>
                    <a:pt x="8" y="163"/>
                    <a:pt x="15" y="160"/>
                    <a:pt x="27" y="141"/>
                  </a:cubicBezTo>
                  <a:cubicBezTo>
                    <a:pt x="40" y="123"/>
                    <a:pt x="62" y="87"/>
                    <a:pt x="72" y="71"/>
                  </a:cubicBezTo>
                  <a:cubicBezTo>
                    <a:pt x="82" y="56"/>
                    <a:pt x="118" y="0"/>
                    <a:pt x="118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28">
              <a:extLst>
                <a:ext uri="{FF2B5EF4-FFF2-40B4-BE49-F238E27FC236}">
                  <a16:creationId xmlns:a16="http://schemas.microsoft.com/office/drawing/2014/main" id="{5C6951E8-A646-46E0-8BFF-C7272227E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1288" y="2782888"/>
              <a:ext cx="217487" cy="344488"/>
            </a:xfrm>
            <a:custGeom>
              <a:avLst/>
              <a:gdLst>
                <a:gd name="T0" fmla="*/ 58 w 58"/>
                <a:gd name="T1" fmla="*/ 0 h 92"/>
                <a:gd name="T2" fmla="*/ 25 w 58"/>
                <a:gd name="T3" fmla="*/ 41 h 92"/>
                <a:gd name="T4" fmla="*/ 2 w 58"/>
                <a:gd name="T5" fmla="*/ 88 h 92"/>
                <a:gd name="T6" fmla="*/ 4 w 58"/>
                <a:gd name="T7" fmla="*/ 63 h 92"/>
                <a:gd name="T8" fmla="*/ 37 w 58"/>
                <a:gd name="T9" fmla="*/ 13 h 92"/>
                <a:gd name="T10" fmla="*/ 58 w 58"/>
                <a:gd name="T1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92">
                  <a:moveTo>
                    <a:pt x="58" y="0"/>
                  </a:moveTo>
                  <a:cubicBezTo>
                    <a:pt x="57" y="2"/>
                    <a:pt x="33" y="31"/>
                    <a:pt x="25" y="41"/>
                  </a:cubicBezTo>
                  <a:cubicBezTo>
                    <a:pt x="18" y="51"/>
                    <a:pt x="4" y="84"/>
                    <a:pt x="2" y="88"/>
                  </a:cubicBezTo>
                  <a:cubicBezTo>
                    <a:pt x="0" y="92"/>
                    <a:pt x="1" y="75"/>
                    <a:pt x="4" y="63"/>
                  </a:cubicBezTo>
                  <a:cubicBezTo>
                    <a:pt x="7" y="50"/>
                    <a:pt x="33" y="16"/>
                    <a:pt x="37" y="13"/>
                  </a:cubicBezTo>
                  <a:cubicBezTo>
                    <a:pt x="41" y="11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29">
              <a:extLst>
                <a:ext uri="{FF2B5EF4-FFF2-40B4-BE49-F238E27FC236}">
                  <a16:creationId xmlns:a16="http://schemas.microsoft.com/office/drawing/2014/main" id="{894990BA-C22C-4BDA-AFFD-ADA59D0C47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2813" y="3011488"/>
              <a:ext cx="201612" cy="573088"/>
            </a:xfrm>
            <a:custGeom>
              <a:avLst/>
              <a:gdLst>
                <a:gd name="T0" fmla="*/ 50 w 54"/>
                <a:gd name="T1" fmla="*/ 0 h 153"/>
                <a:gd name="T2" fmla="*/ 34 w 54"/>
                <a:gd name="T3" fmla="*/ 14 h 153"/>
                <a:gd name="T4" fmla="*/ 18 w 54"/>
                <a:gd name="T5" fmla="*/ 39 h 153"/>
                <a:gd name="T6" fmla="*/ 2 w 54"/>
                <a:gd name="T7" fmla="*/ 73 h 153"/>
                <a:gd name="T8" fmla="*/ 0 w 54"/>
                <a:gd name="T9" fmla="*/ 96 h 153"/>
                <a:gd name="T10" fmla="*/ 23 w 54"/>
                <a:gd name="T11" fmla="*/ 138 h 153"/>
                <a:gd name="T12" fmla="*/ 38 w 54"/>
                <a:gd name="T13" fmla="*/ 132 h 153"/>
                <a:gd name="T14" fmla="*/ 30 w 54"/>
                <a:gd name="T15" fmla="*/ 80 h 153"/>
                <a:gd name="T16" fmla="*/ 46 w 54"/>
                <a:gd name="T17" fmla="*/ 79 h 153"/>
                <a:gd name="T18" fmla="*/ 36 w 54"/>
                <a:gd name="T19" fmla="*/ 49 h 153"/>
                <a:gd name="T20" fmla="*/ 54 w 54"/>
                <a:gd name="T21" fmla="*/ 47 h 153"/>
                <a:gd name="T22" fmla="*/ 48 w 54"/>
                <a:gd name="T23" fmla="*/ 16 h 153"/>
                <a:gd name="T24" fmla="*/ 50 w 54"/>
                <a:gd name="T2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53">
                  <a:moveTo>
                    <a:pt x="50" y="0"/>
                  </a:moveTo>
                  <a:cubicBezTo>
                    <a:pt x="50" y="0"/>
                    <a:pt x="34" y="12"/>
                    <a:pt x="34" y="14"/>
                  </a:cubicBezTo>
                  <a:cubicBezTo>
                    <a:pt x="33" y="15"/>
                    <a:pt x="18" y="39"/>
                    <a:pt x="18" y="39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0" y="90"/>
                    <a:pt x="0" y="96"/>
                  </a:cubicBezTo>
                  <a:cubicBezTo>
                    <a:pt x="0" y="103"/>
                    <a:pt x="16" y="132"/>
                    <a:pt x="23" y="138"/>
                  </a:cubicBezTo>
                  <a:cubicBezTo>
                    <a:pt x="30" y="145"/>
                    <a:pt x="41" y="153"/>
                    <a:pt x="38" y="132"/>
                  </a:cubicBezTo>
                  <a:cubicBezTo>
                    <a:pt x="35" y="111"/>
                    <a:pt x="24" y="81"/>
                    <a:pt x="30" y="80"/>
                  </a:cubicBezTo>
                  <a:cubicBezTo>
                    <a:pt x="36" y="79"/>
                    <a:pt x="50" y="91"/>
                    <a:pt x="46" y="79"/>
                  </a:cubicBezTo>
                  <a:cubicBezTo>
                    <a:pt x="43" y="68"/>
                    <a:pt x="28" y="49"/>
                    <a:pt x="36" y="49"/>
                  </a:cubicBezTo>
                  <a:cubicBezTo>
                    <a:pt x="45" y="48"/>
                    <a:pt x="54" y="53"/>
                    <a:pt x="54" y="47"/>
                  </a:cubicBezTo>
                  <a:cubicBezTo>
                    <a:pt x="54" y="41"/>
                    <a:pt x="48" y="19"/>
                    <a:pt x="48" y="16"/>
                  </a:cubicBezTo>
                  <a:cubicBezTo>
                    <a:pt x="48" y="12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30">
              <a:extLst>
                <a:ext uri="{FF2B5EF4-FFF2-40B4-BE49-F238E27FC236}">
                  <a16:creationId xmlns:a16="http://schemas.microsoft.com/office/drawing/2014/main" id="{6684366E-BEEB-4500-8566-B06D17AF0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5663" y="3540125"/>
              <a:ext cx="211137" cy="506413"/>
            </a:xfrm>
            <a:custGeom>
              <a:avLst/>
              <a:gdLst>
                <a:gd name="T0" fmla="*/ 6 w 56"/>
                <a:gd name="T1" fmla="*/ 0 h 135"/>
                <a:gd name="T2" fmla="*/ 0 w 56"/>
                <a:gd name="T3" fmla="*/ 23 h 135"/>
                <a:gd name="T4" fmla="*/ 1 w 56"/>
                <a:gd name="T5" fmla="*/ 56 h 135"/>
                <a:gd name="T6" fmla="*/ 18 w 56"/>
                <a:gd name="T7" fmla="*/ 79 h 135"/>
                <a:gd name="T8" fmla="*/ 55 w 56"/>
                <a:gd name="T9" fmla="*/ 130 h 135"/>
                <a:gd name="T10" fmla="*/ 36 w 56"/>
                <a:gd name="T11" fmla="*/ 88 h 135"/>
                <a:gd name="T12" fmla="*/ 8 w 56"/>
                <a:gd name="T13" fmla="*/ 33 h 135"/>
                <a:gd name="T14" fmla="*/ 6 w 56"/>
                <a:gd name="T15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35">
                  <a:moveTo>
                    <a:pt x="6" y="0"/>
                  </a:moveTo>
                  <a:cubicBezTo>
                    <a:pt x="6" y="0"/>
                    <a:pt x="0" y="8"/>
                    <a:pt x="0" y="23"/>
                  </a:cubicBezTo>
                  <a:cubicBezTo>
                    <a:pt x="0" y="39"/>
                    <a:pt x="2" y="51"/>
                    <a:pt x="1" y="56"/>
                  </a:cubicBezTo>
                  <a:cubicBezTo>
                    <a:pt x="0" y="62"/>
                    <a:pt x="8" y="63"/>
                    <a:pt x="18" y="79"/>
                  </a:cubicBezTo>
                  <a:cubicBezTo>
                    <a:pt x="27" y="94"/>
                    <a:pt x="54" y="135"/>
                    <a:pt x="55" y="130"/>
                  </a:cubicBezTo>
                  <a:cubicBezTo>
                    <a:pt x="56" y="125"/>
                    <a:pt x="46" y="100"/>
                    <a:pt x="36" y="88"/>
                  </a:cubicBezTo>
                  <a:cubicBezTo>
                    <a:pt x="25" y="76"/>
                    <a:pt x="7" y="41"/>
                    <a:pt x="8" y="33"/>
                  </a:cubicBezTo>
                  <a:cubicBezTo>
                    <a:pt x="8" y="26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31">
              <a:extLst>
                <a:ext uri="{FF2B5EF4-FFF2-40B4-BE49-F238E27FC236}">
                  <a16:creationId xmlns:a16="http://schemas.microsoft.com/office/drawing/2014/main" id="{A942126A-FA62-4AF4-BCCB-BB8216A9688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2613" y="3892550"/>
              <a:ext cx="273050" cy="495300"/>
            </a:xfrm>
            <a:custGeom>
              <a:avLst/>
              <a:gdLst>
                <a:gd name="T0" fmla="*/ 57 w 73"/>
                <a:gd name="T1" fmla="*/ 0 h 132"/>
                <a:gd name="T2" fmla="*/ 47 w 73"/>
                <a:gd name="T3" fmla="*/ 18 h 132"/>
                <a:gd name="T4" fmla="*/ 50 w 73"/>
                <a:gd name="T5" fmla="*/ 51 h 132"/>
                <a:gd name="T6" fmla="*/ 37 w 73"/>
                <a:gd name="T7" fmla="*/ 70 h 132"/>
                <a:gd name="T8" fmla="*/ 16 w 73"/>
                <a:gd name="T9" fmla="*/ 107 h 132"/>
                <a:gd name="T10" fmla="*/ 19 w 73"/>
                <a:gd name="T11" fmla="*/ 119 h 132"/>
                <a:gd name="T12" fmla="*/ 50 w 73"/>
                <a:gd name="T13" fmla="*/ 82 h 132"/>
                <a:gd name="T14" fmla="*/ 69 w 73"/>
                <a:gd name="T15" fmla="*/ 82 h 132"/>
                <a:gd name="T16" fmla="*/ 61 w 73"/>
                <a:gd name="T17" fmla="*/ 49 h 132"/>
                <a:gd name="T18" fmla="*/ 54 w 73"/>
                <a:gd name="T19" fmla="*/ 15 h 132"/>
                <a:gd name="T20" fmla="*/ 57 w 73"/>
                <a:gd name="T2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132">
                  <a:moveTo>
                    <a:pt x="57" y="0"/>
                  </a:moveTo>
                  <a:cubicBezTo>
                    <a:pt x="57" y="0"/>
                    <a:pt x="46" y="9"/>
                    <a:pt x="47" y="18"/>
                  </a:cubicBezTo>
                  <a:cubicBezTo>
                    <a:pt x="47" y="27"/>
                    <a:pt x="51" y="46"/>
                    <a:pt x="50" y="51"/>
                  </a:cubicBezTo>
                  <a:cubicBezTo>
                    <a:pt x="49" y="55"/>
                    <a:pt x="41" y="65"/>
                    <a:pt x="37" y="70"/>
                  </a:cubicBezTo>
                  <a:cubicBezTo>
                    <a:pt x="34" y="76"/>
                    <a:pt x="16" y="107"/>
                    <a:pt x="16" y="107"/>
                  </a:cubicBezTo>
                  <a:cubicBezTo>
                    <a:pt x="16" y="107"/>
                    <a:pt x="0" y="132"/>
                    <a:pt x="19" y="119"/>
                  </a:cubicBezTo>
                  <a:cubicBezTo>
                    <a:pt x="37" y="105"/>
                    <a:pt x="43" y="84"/>
                    <a:pt x="50" y="82"/>
                  </a:cubicBezTo>
                  <a:cubicBezTo>
                    <a:pt x="56" y="79"/>
                    <a:pt x="73" y="99"/>
                    <a:pt x="69" y="82"/>
                  </a:cubicBezTo>
                  <a:cubicBezTo>
                    <a:pt x="66" y="66"/>
                    <a:pt x="62" y="56"/>
                    <a:pt x="61" y="49"/>
                  </a:cubicBezTo>
                  <a:cubicBezTo>
                    <a:pt x="60" y="42"/>
                    <a:pt x="52" y="21"/>
                    <a:pt x="54" y="15"/>
                  </a:cubicBezTo>
                  <a:cubicBezTo>
                    <a:pt x="56" y="8"/>
                    <a:pt x="57" y="0"/>
                    <a:pt x="57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132">
              <a:extLst>
                <a:ext uri="{FF2B5EF4-FFF2-40B4-BE49-F238E27FC236}">
                  <a16:creationId xmlns:a16="http://schemas.microsoft.com/office/drawing/2014/main" id="{ED2F3A50-A6C2-4163-97FB-B1E215FBD8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21000" y="4822825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Oval 133">
              <a:extLst>
                <a:ext uri="{FF2B5EF4-FFF2-40B4-BE49-F238E27FC236}">
                  <a16:creationId xmlns:a16="http://schemas.microsoft.com/office/drawing/2014/main" id="{3176754D-59A7-48D5-8AB8-73FB2281A3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73388" y="4875213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134">
              <a:extLst>
                <a:ext uri="{FF2B5EF4-FFF2-40B4-BE49-F238E27FC236}">
                  <a16:creationId xmlns:a16="http://schemas.microsoft.com/office/drawing/2014/main" id="{8FC88322-890B-40D6-9B15-4683187D51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2600" y="4924425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135">
              <a:extLst>
                <a:ext uri="{FF2B5EF4-FFF2-40B4-BE49-F238E27FC236}">
                  <a16:creationId xmlns:a16="http://schemas.microsoft.com/office/drawing/2014/main" id="{95FE0ACF-0F94-4C3A-A6BC-8149E4B36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788" y="2052334"/>
              <a:ext cx="880432" cy="1015569"/>
            </a:xfrm>
            <a:custGeom>
              <a:avLst/>
              <a:gdLst>
                <a:gd name="T0" fmla="*/ 216 w 229"/>
                <a:gd name="T1" fmla="*/ 79 h 264"/>
                <a:gd name="T2" fmla="*/ 212 w 229"/>
                <a:gd name="T3" fmla="*/ 26 h 264"/>
                <a:gd name="T4" fmla="*/ 208 w 229"/>
                <a:gd name="T5" fmla="*/ 0 h 264"/>
                <a:gd name="T6" fmla="*/ 193 w 229"/>
                <a:gd name="T7" fmla="*/ 7 h 264"/>
                <a:gd name="T8" fmla="*/ 126 w 229"/>
                <a:gd name="T9" fmla="*/ 8 h 264"/>
                <a:gd name="T10" fmla="*/ 92 w 229"/>
                <a:gd name="T11" fmla="*/ 41 h 264"/>
                <a:gd name="T12" fmla="*/ 72 w 229"/>
                <a:gd name="T13" fmla="*/ 78 h 264"/>
                <a:gd name="T14" fmla="*/ 58 w 229"/>
                <a:gd name="T15" fmla="*/ 110 h 264"/>
                <a:gd name="T16" fmla="*/ 47 w 229"/>
                <a:gd name="T17" fmla="*/ 99 h 264"/>
                <a:gd name="T18" fmla="*/ 11 w 229"/>
                <a:gd name="T19" fmla="*/ 74 h 264"/>
                <a:gd name="T20" fmla="*/ 11 w 229"/>
                <a:gd name="T21" fmla="*/ 74 h 264"/>
                <a:gd name="T22" fmla="*/ 0 w 229"/>
                <a:gd name="T23" fmla="*/ 91 h 264"/>
                <a:gd name="T24" fmla="*/ 12 w 229"/>
                <a:gd name="T25" fmla="*/ 101 h 264"/>
                <a:gd name="T26" fmla="*/ 35 w 229"/>
                <a:gd name="T27" fmla="*/ 123 h 264"/>
                <a:gd name="T28" fmla="*/ 40 w 229"/>
                <a:gd name="T29" fmla="*/ 133 h 264"/>
                <a:gd name="T30" fmla="*/ 47 w 229"/>
                <a:gd name="T31" fmla="*/ 135 h 264"/>
                <a:gd name="T32" fmla="*/ 93 w 229"/>
                <a:gd name="T33" fmla="*/ 259 h 264"/>
                <a:gd name="T34" fmla="*/ 130 w 229"/>
                <a:gd name="T35" fmla="*/ 217 h 264"/>
                <a:gd name="T36" fmla="*/ 196 w 229"/>
                <a:gd name="T37" fmla="*/ 213 h 264"/>
                <a:gd name="T38" fmla="*/ 208 w 229"/>
                <a:gd name="T39" fmla="*/ 165 h 264"/>
                <a:gd name="T40" fmla="*/ 224 w 229"/>
                <a:gd name="T41" fmla="*/ 122 h 264"/>
                <a:gd name="T42" fmla="*/ 216 w 229"/>
                <a:gd name="T43" fmla="*/ 79 h 264"/>
                <a:gd name="connsiteX0" fmla="*/ 9432 w 9666"/>
                <a:gd name="connsiteY0" fmla="*/ 2992 h 9816"/>
                <a:gd name="connsiteX1" fmla="*/ 9258 w 9666"/>
                <a:gd name="connsiteY1" fmla="*/ 985 h 9816"/>
                <a:gd name="connsiteX2" fmla="*/ 9083 w 9666"/>
                <a:gd name="connsiteY2" fmla="*/ 0 h 9816"/>
                <a:gd name="connsiteX3" fmla="*/ 8428 w 9666"/>
                <a:gd name="connsiteY3" fmla="*/ 265 h 9816"/>
                <a:gd name="connsiteX4" fmla="*/ 5502 w 9666"/>
                <a:gd name="connsiteY4" fmla="*/ 303 h 9816"/>
                <a:gd name="connsiteX5" fmla="*/ 4017 w 9666"/>
                <a:gd name="connsiteY5" fmla="*/ 1553 h 9816"/>
                <a:gd name="connsiteX6" fmla="*/ 3144 w 9666"/>
                <a:gd name="connsiteY6" fmla="*/ 2955 h 9816"/>
                <a:gd name="connsiteX7" fmla="*/ 2533 w 9666"/>
                <a:gd name="connsiteY7" fmla="*/ 4167 h 9816"/>
                <a:gd name="connsiteX8" fmla="*/ 2052 w 9666"/>
                <a:gd name="connsiteY8" fmla="*/ 3750 h 9816"/>
                <a:gd name="connsiteX9" fmla="*/ 480 w 9666"/>
                <a:gd name="connsiteY9" fmla="*/ 2803 h 9816"/>
                <a:gd name="connsiteX10" fmla="*/ 480 w 9666"/>
                <a:gd name="connsiteY10" fmla="*/ 2803 h 9816"/>
                <a:gd name="connsiteX11" fmla="*/ 0 w 9666"/>
                <a:gd name="connsiteY11" fmla="*/ 3447 h 9816"/>
                <a:gd name="connsiteX12" fmla="*/ 524 w 9666"/>
                <a:gd name="connsiteY12" fmla="*/ 3826 h 9816"/>
                <a:gd name="connsiteX13" fmla="*/ 1528 w 9666"/>
                <a:gd name="connsiteY13" fmla="*/ 4659 h 9816"/>
                <a:gd name="connsiteX14" fmla="*/ 1747 w 9666"/>
                <a:gd name="connsiteY14" fmla="*/ 5038 h 9816"/>
                <a:gd name="connsiteX15" fmla="*/ 2052 w 9666"/>
                <a:gd name="connsiteY15" fmla="*/ 5114 h 9816"/>
                <a:gd name="connsiteX16" fmla="*/ 4061 w 9666"/>
                <a:gd name="connsiteY16" fmla="*/ 9811 h 9816"/>
                <a:gd name="connsiteX17" fmla="*/ 5677 w 9666"/>
                <a:gd name="connsiteY17" fmla="*/ 8220 h 9816"/>
                <a:gd name="connsiteX18" fmla="*/ 8559 w 9666"/>
                <a:gd name="connsiteY18" fmla="*/ 8068 h 9816"/>
                <a:gd name="connsiteX19" fmla="*/ 9083 w 9666"/>
                <a:gd name="connsiteY19" fmla="*/ 6250 h 9816"/>
                <a:gd name="connsiteX20" fmla="*/ 9507 w 9666"/>
                <a:gd name="connsiteY20" fmla="*/ 4693 h 9816"/>
                <a:gd name="connsiteX21" fmla="*/ 9432 w 9666"/>
                <a:gd name="connsiteY21" fmla="*/ 2992 h 9816"/>
                <a:gd name="connsiteX0" fmla="*/ 9815 w 9979"/>
                <a:gd name="connsiteY0" fmla="*/ 3048 h 10000"/>
                <a:gd name="connsiteX1" fmla="*/ 9578 w 9979"/>
                <a:gd name="connsiteY1" fmla="*/ 1003 h 10000"/>
                <a:gd name="connsiteX2" fmla="*/ 9397 w 9979"/>
                <a:gd name="connsiteY2" fmla="*/ 0 h 10000"/>
                <a:gd name="connsiteX3" fmla="*/ 8719 w 9979"/>
                <a:gd name="connsiteY3" fmla="*/ 270 h 10000"/>
                <a:gd name="connsiteX4" fmla="*/ 5692 w 9979"/>
                <a:gd name="connsiteY4" fmla="*/ 309 h 10000"/>
                <a:gd name="connsiteX5" fmla="*/ 4156 w 9979"/>
                <a:gd name="connsiteY5" fmla="*/ 1582 h 10000"/>
                <a:gd name="connsiteX6" fmla="*/ 3253 w 9979"/>
                <a:gd name="connsiteY6" fmla="*/ 3010 h 10000"/>
                <a:gd name="connsiteX7" fmla="*/ 2621 w 9979"/>
                <a:gd name="connsiteY7" fmla="*/ 4245 h 10000"/>
                <a:gd name="connsiteX8" fmla="*/ 2123 w 9979"/>
                <a:gd name="connsiteY8" fmla="*/ 3820 h 10000"/>
                <a:gd name="connsiteX9" fmla="*/ 497 w 9979"/>
                <a:gd name="connsiteY9" fmla="*/ 2856 h 10000"/>
                <a:gd name="connsiteX10" fmla="*/ 497 w 9979"/>
                <a:gd name="connsiteY10" fmla="*/ 2856 h 10000"/>
                <a:gd name="connsiteX11" fmla="*/ 0 w 9979"/>
                <a:gd name="connsiteY11" fmla="*/ 3512 h 10000"/>
                <a:gd name="connsiteX12" fmla="*/ 542 w 9979"/>
                <a:gd name="connsiteY12" fmla="*/ 3898 h 10000"/>
                <a:gd name="connsiteX13" fmla="*/ 1581 w 9979"/>
                <a:gd name="connsiteY13" fmla="*/ 4746 h 10000"/>
                <a:gd name="connsiteX14" fmla="*/ 1807 w 9979"/>
                <a:gd name="connsiteY14" fmla="*/ 5132 h 10000"/>
                <a:gd name="connsiteX15" fmla="*/ 2123 w 9979"/>
                <a:gd name="connsiteY15" fmla="*/ 5210 h 10000"/>
                <a:gd name="connsiteX16" fmla="*/ 4201 w 9979"/>
                <a:gd name="connsiteY16" fmla="*/ 9995 h 10000"/>
                <a:gd name="connsiteX17" fmla="*/ 5873 w 9979"/>
                <a:gd name="connsiteY17" fmla="*/ 8374 h 10000"/>
                <a:gd name="connsiteX18" fmla="*/ 8855 w 9979"/>
                <a:gd name="connsiteY18" fmla="*/ 8219 h 10000"/>
                <a:gd name="connsiteX19" fmla="*/ 9397 w 9979"/>
                <a:gd name="connsiteY19" fmla="*/ 6367 h 10000"/>
                <a:gd name="connsiteX20" fmla="*/ 9836 w 9979"/>
                <a:gd name="connsiteY20" fmla="*/ 4781 h 10000"/>
                <a:gd name="connsiteX21" fmla="*/ 9815 w 9979"/>
                <a:gd name="connsiteY21" fmla="*/ 3048 h 10000"/>
                <a:gd name="connsiteX0" fmla="*/ 9836 w 10000"/>
                <a:gd name="connsiteY0" fmla="*/ 3048 h 10000"/>
                <a:gd name="connsiteX1" fmla="*/ 9826 w 10000"/>
                <a:gd name="connsiteY1" fmla="*/ 809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00"/>
                <a:gd name="connsiteY0" fmla="*/ 3048 h 10000"/>
                <a:gd name="connsiteX1" fmla="*/ 9826 w 10000"/>
                <a:gd name="connsiteY1" fmla="*/ 809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56"/>
                <a:gd name="connsiteY0" fmla="*/ 3048 h 10000"/>
                <a:gd name="connsiteX1" fmla="*/ 10025 w 10056"/>
                <a:gd name="connsiteY1" fmla="*/ 1198 h 10000"/>
                <a:gd name="connsiteX2" fmla="*/ 9417 w 10056"/>
                <a:gd name="connsiteY2" fmla="*/ 0 h 10000"/>
                <a:gd name="connsiteX3" fmla="*/ 8737 w 10056"/>
                <a:gd name="connsiteY3" fmla="*/ 270 h 10000"/>
                <a:gd name="connsiteX4" fmla="*/ 5704 w 10056"/>
                <a:gd name="connsiteY4" fmla="*/ 309 h 10000"/>
                <a:gd name="connsiteX5" fmla="*/ 4165 w 10056"/>
                <a:gd name="connsiteY5" fmla="*/ 1582 h 10000"/>
                <a:gd name="connsiteX6" fmla="*/ 3260 w 10056"/>
                <a:gd name="connsiteY6" fmla="*/ 3010 h 10000"/>
                <a:gd name="connsiteX7" fmla="*/ 2627 w 10056"/>
                <a:gd name="connsiteY7" fmla="*/ 4245 h 10000"/>
                <a:gd name="connsiteX8" fmla="*/ 2127 w 10056"/>
                <a:gd name="connsiteY8" fmla="*/ 3820 h 10000"/>
                <a:gd name="connsiteX9" fmla="*/ 498 w 10056"/>
                <a:gd name="connsiteY9" fmla="*/ 2856 h 10000"/>
                <a:gd name="connsiteX10" fmla="*/ 498 w 10056"/>
                <a:gd name="connsiteY10" fmla="*/ 2856 h 10000"/>
                <a:gd name="connsiteX11" fmla="*/ 0 w 10056"/>
                <a:gd name="connsiteY11" fmla="*/ 3512 h 10000"/>
                <a:gd name="connsiteX12" fmla="*/ 543 w 10056"/>
                <a:gd name="connsiteY12" fmla="*/ 3898 h 10000"/>
                <a:gd name="connsiteX13" fmla="*/ 1584 w 10056"/>
                <a:gd name="connsiteY13" fmla="*/ 4746 h 10000"/>
                <a:gd name="connsiteX14" fmla="*/ 1811 w 10056"/>
                <a:gd name="connsiteY14" fmla="*/ 5132 h 10000"/>
                <a:gd name="connsiteX15" fmla="*/ 2127 w 10056"/>
                <a:gd name="connsiteY15" fmla="*/ 5210 h 10000"/>
                <a:gd name="connsiteX16" fmla="*/ 4210 w 10056"/>
                <a:gd name="connsiteY16" fmla="*/ 9995 h 10000"/>
                <a:gd name="connsiteX17" fmla="*/ 5885 w 10056"/>
                <a:gd name="connsiteY17" fmla="*/ 8374 h 10000"/>
                <a:gd name="connsiteX18" fmla="*/ 8874 w 10056"/>
                <a:gd name="connsiteY18" fmla="*/ 8219 h 10000"/>
                <a:gd name="connsiteX19" fmla="*/ 9417 w 10056"/>
                <a:gd name="connsiteY19" fmla="*/ 6367 h 10000"/>
                <a:gd name="connsiteX20" fmla="*/ 9857 w 10056"/>
                <a:gd name="connsiteY20" fmla="*/ 4781 h 10000"/>
                <a:gd name="connsiteX21" fmla="*/ 9836 w 10056"/>
                <a:gd name="connsiteY21" fmla="*/ 3048 h 10000"/>
                <a:gd name="connsiteX0" fmla="*/ 9836 w 10000"/>
                <a:gd name="connsiteY0" fmla="*/ 3048 h 10000"/>
                <a:gd name="connsiteX1" fmla="*/ 9417 w 10000"/>
                <a:gd name="connsiteY1" fmla="*/ 0 h 10000"/>
                <a:gd name="connsiteX2" fmla="*/ 8737 w 10000"/>
                <a:gd name="connsiteY2" fmla="*/ 270 h 10000"/>
                <a:gd name="connsiteX3" fmla="*/ 5704 w 10000"/>
                <a:gd name="connsiteY3" fmla="*/ 309 h 10000"/>
                <a:gd name="connsiteX4" fmla="*/ 4165 w 10000"/>
                <a:gd name="connsiteY4" fmla="*/ 1582 h 10000"/>
                <a:gd name="connsiteX5" fmla="*/ 3260 w 10000"/>
                <a:gd name="connsiteY5" fmla="*/ 3010 h 10000"/>
                <a:gd name="connsiteX6" fmla="*/ 2627 w 10000"/>
                <a:gd name="connsiteY6" fmla="*/ 4245 h 10000"/>
                <a:gd name="connsiteX7" fmla="*/ 2127 w 10000"/>
                <a:gd name="connsiteY7" fmla="*/ 3820 h 10000"/>
                <a:gd name="connsiteX8" fmla="*/ 498 w 10000"/>
                <a:gd name="connsiteY8" fmla="*/ 2856 h 10000"/>
                <a:gd name="connsiteX9" fmla="*/ 498 w 10000"/>
                <a:gd name="connsiteY9" fmla="*/ 2856 h 10000"/>
                <a:gd name="connsiteX10" fmla="*/ 0 w 10000"/>
                <a:gd name="connsiteY10" fmla="*/ 3512 h 10000"/>
                <a:gd name="connsiteX11" fmla="*/ 543 w 10000"/>
                <a:gd name="connsiteY11" fmla="*/ 3898 h 10000"/>
                <a:gd name="connsiteX12" fmla="*/ 1584 w 10000"/>
                <a:gd name="connsiteY12" fmla="*/ 4746 h 10000"/>
                <a:gd name="connsiteX13" fmla="*/ 1811 w 10000"/>
                <a:gd name="connsiteY13" fmla="*/ 5132 h 10000"/>
                <a:gd name="connsiteX14" fmla="*/ 2127 w 10000"/>
                <a:gd name="connsiteY14" fmla="*/ 5210 h 10000"/>
                <a:gd name="connsiteX15" fmla="*/ 4210 w 10000"/>
                <a:gd name="connsiteY15" fmla="*/ 9995 h 10000"/>
                <a:gd name="connsiteX16" fmla="*/ 5885 w 10000"/>
                <a:gd name="connsiteY16" fmla="*/ 8374 h 10000"/>
                <a:gd name="connsiteX17" fmla="*/ 8874 w 10000"/>
                <a:gd name="connsiteY17" fmla="*/ 8219 h 10000"/>
                <a:gd name="connsiteX18" fmla="*/ 9417 w 10000"/>
                <a:gd name="connsiteY18" fmla="*/ 6367 h 10000"/>
                <a:gd name="connsiteX19" fmla="*/ 9857 w 10000"/>
                <a:gd name="connsiteY19" fmla="*/ 4781 h 10000"/>
                <a:gd name="connsiteX20" fmla="*/ 9836 w 10000"/>
                <a:gd name="connsiteY20" fmla="*/ 3048 h 10000"/>
                <a:gd name="connsiteX0" fmla="*/ 9836 w 10000"/>
                <a:gd name="connsiteY0" fmla="*/ 3048 h 10000"/>
                <a:gd name="connsiteX1" fmla="*/ 9783 w 10000"/>
                <a:gd name="connsiteY1" fmla="*/ 774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00"/>
                <a:gd name="connsiteY0" fmla="*/ 3388 h 10340"/>
                <a:gd name="connsiteX1" fmla="*/ 9783 w 10000"/>
                <a:gd name="connsiteY1" fmla="*/ 1114 h 10340"/>
                <a:gd name="connsiteX2" fmla="*/ 9844 w 10000"/>
                <a:gd name="connsiteY2" fmla="*/ 0 h 10340"/>
                <a:gd name="connsiteX3" fmla="*/ 8737 w 10000"/>
                <a:gd name="connsiteY3" fmla="*/ 610 h 10340"/>
                <a:gd name="connsiteX4" fmla="*/ 5704 w 10000"/>
                <a:gd name="connsiteY4" fmla="*/ 649 h 10340"/>
                <a:gd name="connsiteX5" fmla="*/ 4165 w 10000"/>
                <a:gd name="connsiteY5" fmla="*/ 1922 h 10340"/>
                <a:gd name="connsiteX6" fmla="*/ 3260 w 10000"/>
                <a:gd name="connsiteY6" fmla="*/ 3350 h 10340"/>
                <a:gd name="connsiteX7" fmla="*/ 2627 w 10000"/>
                <a:gd name="connsiteY7" fmla="*/ 4585 h 10340"/>
                <a:gd name="connsiteX8" fmla="*/ 2127 w 10000"/>
                <a:gd name="connsiteY8" fmla="*/ 4160 h 10340"/>
                <a:gd name="connsiteX9" fmla="*/ 498 w 10000"/>
                <a:gd name="connsiteY9" fmla="*/ 3196 h 10340"/>
                <a:gd name="connsiteX10" fmla="*/ 498 w 10000"/>
                <a:gd name="connsiteY10" fmla="*/ 3196 h 10340"/>
                <a:gd name="connsiteX11" fmla="*/ 0 w 10000"/>
                <a:gd name="connsiteY11" fmla="*/ 3852 h 10340"/>
                <a:gd name="connsiteX12" fmla="*/ 543 w 10000"/>
                <a:gd name="connsiteY12" fmla="*/ 4238 h 10340"/>
                <a:gd name="connsiteX13" fmla="*/ 1584 w 10000"/>
                <a:gd name="connsiteY13" fmla="*/ 5086 h 10340"/>
                <a:gd name="connsiteX14" fmla="*/ 1811 w 10000"/>
                <a:gd name="connsiteY14" fmla="*/ 5472 h 10340"/>
                <a:gd name="connsiteX15" fmla="*/ 2127 w 10000"/>
                <a:gd name="connsiteY15" fmla="*/ 5550 h 10340"/>
                <a:gd name="connsiteX16" fmla="*/ 4210 w 10000"/>
                <a:gd name="connsiteY16" fmla="*/ 10335 h 10340"/>
                <a:gd name="connsiteX17" fmla="*/ 5885 w 10000"/>
                <a:gd name="connsiteY17" fmla="*/ 8714 h 10340"/>
                <a:gd name="connsiteX18" fmla="*/ 8874 w 10000"/>
                <a:gd name="connsiteY18" fmla="*/ 8559 h 10340"/>
                <a:gd name="connsiteX19" fmla="*/ 9417 w 10000"/>
                <a:gd name="connsiteY19" fmla="*/ 6707 h 10340"/>
                <a:gd name="connsiteX20" fmla="*/ 9857 w 10000"/>
                <a:gd name="connsiteY20" fmla="*/ 5121 h 10340"/>
                <a:gd name="connsiteX21" fmla="*/ 9836 w 10000"/>
                <a:gd name="connsiteY21" fmla="*/ 3388 h 10340"/>
                <a:gd name="connsiteX0" fmla="*/ 9836 w 10000"/>
                <a:gd name="connsiteY0" fmla="*/ 3509 h 10461"/>
                <a:gd name="connsiteX1" fmla="*/ 9783 w 10000"/>
                <a:gd name="connsiteY1" fmla="*/ 1235 h 10461"/>
                <a:gd name="connsiteX2" fmla="*/ 9702 w 10000"/>
                <a:gd name="connsiteY2" fmla="*/ 0 h 10461"/>
                <a:gd name="connsiteX3" fmla="*/ 8737 w 10000"/>
                <a:gd name="connsiteY3" fmla="*/ 731 h 10461"/>
                <a:gd name="connsiteX4" fmla="*/ 5704 w 10000"/>
                <a:gd name="connsiteY4" fmla="*/ 770 h 10461"/>
                <a:gd name="connsiteX5" fmla="*/ 4165 w 10000"/>
                <a:gd name="connsiteY5" fmla="*/ 2043 h 10461"/>
                <a:gd name="connsiteX6" fmla="*/ 3260 w 10000"/>
                <a:gd name="connsiteY6" fmla="*/ 3471 h 10461"/>
                <a:gd name="connsiteX7" fmla="*/ 2627 w 10000"/>
                <a:gd name="connsiteY7" fmla="*/ 4706 h 10461"/>
                <a:gd name="connsiteX8" fmla="*/ 2127 w 10000"/>
                <a:gd name="connsiteY8" fmla="*/ 4281 h 10461"/>
                <a:gd name="connsiteX9" fmla="*/ 498 w 10000"/>
                <a:gd name="connsiteY9" fmla="*/ 3317 h 10461"/>
                <a:gd name="connsiteX10" fmla="*/ 498 w 10000"/>
                <a:gd name="connsiteY10" fmla="*/ 3317 h 10461"/>
                <a:gd name="connsiteX11" fmla="*/ 0 w 10000"/>
                <a:gd name="connsiteY11" fmla="*/ 3973 h 10461"/>
                <a:gd name="connsiteX12" fmla="*/ 543 w 10000"/>
                <a:gd name="connsiteY12" fmla="*/ 4359 h 10461"/>
                <a:gd name="connsiteX13" fmla="*/ 1584 w 10000"/>
                <a:gd name="connsiteY13" fmla="*/ 5207 h 10461"/>
                <a:gd name="connsiteX14" fmla="*/ 1811 w 10000"/>
                <a:gd name="connsiteY14" fmla="*/ 5593 h 10461"/>
                <a:gd name="connsiteX15" fmla="*/ 2127 w 10000"/>
                <a:gd name="connsiteY15" fmla="*/ 5671 h 10461"/>
                <a:gd name="connsiteX16" fmla="*/ 4210 w 10000"/>
                <a:gd name="connsiteY16" fmla="*/ 10456 h 10461"/>
                <a:gd name="connsiteX17" fmla="*/ 5885 w 10000"/>
                <a:gd name="connsiteY17" fmla="*/ 8835 h 10461"/>
                <a:gd name="connsiteX18" fmla="*/ 8874 w 10000"/>
                <a:gd name="connsiteY18" fmla="*/ 8680 h 10461"/>
                <a:gd name="connsiteX19" fmla="*/ 9417 w 10000"/>
                <a:gd name="connsiteY19" fmla="*/ 6828 h 10461"/>
                <a:gd name="connsiteX20" fmla="*/ 9857 w 10000"/>
                <a:gd name="connsiteY20" fmla="*/ 5242 h 10461"/>
                <a:gd name="connsiteX21" fmla="*/ 9836 w 10000"/>
                <a:gd name="connsiteY21" fmla="*/ 3509 h 10461"/>
                <a:gd name="connsiteX0" fmla="*/ 9836 w 10386"/>
                <a:gd name="connsiteY0" fmla="*/ 3509 h 10461"/>
                <a:gd name="connsiteX1" fmla="*/ 10381 w 10386"/>
                <a:gd name="connsiteY1" fmla="*/ 1259 h 10461"/>
                <a:gd name="connsiteX2" fmla="*/ 9702 w 10386"/>
                <a:gd name="connsiteY2" fmla="*/ 0 h 10461"/>
                <a:gd name="connsiteX3" fmla="*/ 8737 w 10386"/>
                <a:gd name="connsiteY3" fmla="*/ 731 h 10461"/>
                <a:gd name="connsiteX4" fmla="*/ 5704 w 10386"/>
                <a:gd name="connsiteY4" fmla="*/ 770 h 10461"/>
                <a:gd name="connsiteX5" fmla="*/ 4165 w 10386"/>
                <a:gd name="connsiteY5" fmla="*/ 2043 h 10461"/>
                <a:gd name="connsiteX6" fmla="*/ 3260 w 10386"/>
                <a:gd name="connsiteY6" fmla="*/ 3471 h 10461"/>
                <a:gd name="connsiteX7" fmla="*/ 2627 w 10386"/>
                <a:gd name="connsiteY7" fmla="*/ 4706 h 10461"/>
                <a:gd name="connsiteX8" fmla="*/ 2127 w 10386"/>
                <a:gd name="connsiteY8" fmla="*/ 4281 h 10461"/>
                <a:gd name="connsiteX9" fmla="*/ 498 w 10386"/>
                <a:gd name="connsiteY9" fmla="*/ 3317 h 10461"/>
                <a:gd name="connsiteX10" fmla="*/ 498 w 10386"/>
                <a:gd name="connsiteY10" fmla="*/ 3317 h 10461"/>
                <a:gd name="connsiteX11" fmla="*/ 0 w 10386"/>
                <a:gd name="connsiteY11" fmla="*/ 3973 h 10461"/>
                <a:gd name="connsiteX12" fmla="*/ 543 w 10386"/>
                <a:gd name="connsiteY12" fmla="*/ 4359 h 10461"/>
                <a:gd name="connsiteX13" fmla="*/ 1584 w 10386"/>
                <a:gd name="connsiteY13" fmla="*/ 5207 h 10461"/>
                <a:gd name="connsiteX14" fmla="*/ 1811 w 10386"/>
                <a:gd name="connsiteY14" fmla="*/ 5593 h 10461"/>
                <a:gd name="connsiteX15" fmla="*/ 2127 w 10386"/>
                <a:gd name="connsiteY15" fmla="*/ 5671 h 10461"/>
                <a:gd name="connsiteX16" fmla="*/ 4210 w 10386"/>
                <a:gd name="connsiteY16" fmla="*/ 10456 h 10461"/>
                <a:gd name="connsiteX17" fmla="*/ 5885 w 10386"/>
                <a:gd name="connsiteY17" fmla="*/ 8835 h 10461"/>
                <a:gd name="connsiteX18" fmla="*/ 8874 w 10386"/>
                <a:gd name="connsiteY18" fmla="*/ 8680 h 10461"/>
                <a:gd name="connsiteX19" fmla="*/ 9417 w 10386"/>
                <a:gd name="connsiteY19" fmla="*/ 6828 h 10461"/>
                <a:gd name="connsiteX20" fmla="*/ 9857 w 10386"/>
                <a:gd name="connsiteY20" fmla="*/ 5242 h 10461"/>
                <a:gd name="connsiteX21" fmla="*/ 9836 w 10386"/>
                <a:gd name="connsiteY21" fmla="*/ 3509 h 10461"/>
                <a:gd name="connsiteX0" fmla="*/ 9836 w 10613"/>
                <a:gd name="connsiteY0" fmla="*/ 3509 h 10461"/>
                <a:gd name="connsiteX1" fmla="*/ 10609 w 10613"/>
                <a:gd name="connsiteY1" fmla="*/ 1113 h 10461"/>
                <a:gd name="connsiteX2" fmla="*/ 9702 w 10613"/>
                <a:gd name="connsiteY2" fmla="*/ 0 h 10461"/>
                <a:gd name="connsiteX3" fmla="*/ 8737 w 10613"/>
                <a:gd name="connsiteY3" fmla="*/ 731 h 10461"/>
                <a:gd name="connsiteX4" fmla="*/ 5704 w 10613"/>
                <a:gd name="connsiteY4" fmla="*/ 770 h 10461"/>
                <a:gd name="connsiteX5" fmla="*/ 4165 w 10613"/>
                <a:gd name="connsiteY5" fmla="*/ 2043 h 10461"/>
                <a:gd name="connsiteX6" fmla="*/ 3260 w 10613"/>
                <a:gd name="connsiteY6" fmla="*/ 3471 h 10461"/>
                <a:gd name="connsiteX7" fmla="*/ 2627 w 10613"/>
                <a:gd name="connsiteY7" fmla="*/ 4706 h 10461"/>
                <a:gd name="connsiteX8" fmla="*/ 2127 w 10613"/>
                <a:gd name="connsiteY8" fmla="*/ 4281 h 10461"/>
                <a:gd name="connsiteX9" fmla="*/ 498 w 10613"/>
                <a:gd name="connsiteY9" fmla="*/ 3317 h 10461"/>
                <a:gd name="connsiteX10" fmla="*/ 498 w 10613"/>
                <a:gd name="connsiteY10" fmla="*/ 3317 h 10461"/>
                <a:gd name="connsiteX11" fmla="*/ 0 w 10613"/>
                <a:gd name="connsiteY11" fmla="*/ 3973 h 10461"/>
                <a:gd name="connsiteX12" fmla="*/ 543 w 10613"/>
                <a:gd name="connsiteY12" fmla="*/ 4359 h 10461"/>
                <a:gd name="connsiteX13" fmla="*/ 1584 w 10613"/>
                <a:gd name="connsiteY13" fmla="*/ 5207 h 10461"/>
                <a:gd name="connsiteX14" fmla="*/ 1811 w 10613"/>
                <a:gd name="connsiteY14" fmla="*/ 5593 h 10461"/>
                <a:gd name="connsiteX15" fmla="*/ 2127 w 10613"/>
                <a:gd name="connsiteY15" fmla="*/ 5671 h 10461"/>
                <a:gd name="connsiteX16" fmla="*/ 4210 w 10613"/>
                <a:gd name="connsiteY16" fmla="*/ 10456 h 10461"/>
                <a:gd name="connsiteX17" fmla="*/ 5885 w 10613"/>
                <a:gd name="connsiteY17" fmla="*/ 8835 h 10461"/>
                <a:gd name="connsiteX18" fmla="*/ 8874 w 10613"/>
                <a:gd name="connsiteY18" fmla="*/ 8680 h 10461"/>
                <a:gd name="connsiteX19" fmla="*/ 9417 w 10613"/>
                <a:gd name="connsiteY19" fmla="*/ 6828 h 10461"/>
                <a:gd name="connsiteX20" fmla="*/ 9857 w 10613"/>
                <a:gd name="connsiteY20" fmla="*/ 5242 h 10461"/>
                <a:gd name="connsiteX21" fmla="*/ 9836 w 10613"/>
                <a:gd name="connsiteY21" fmla="*/ 3509 h 10461"/>
                <a:gd name="connsiteX0" fmla="*/ 10804 w 10863"/>
                <a:gd name="connsiteY0" fmla="*/ 3460 h 10461"/>
                <a:gd name="connsiteX1" fmla="*/ 10609 w 10863"/>
                <a:gd name="connsiteY1" fmla="*/ 1113 h 10461"/>
                <a:gd name="connsiteX2" fmla="*/ 9702 w 10863"/>
                <a:gd name="connsiteY2" fmla="*/ 0 h 10461"/>
                <a:gd name="connsiteX3" fmla="*/ 8737 w 10863"/>
                <a:gd name="connsiteY3" fmla="*/ 731 h 10461"/>
                <a:gd name="connsiteX4" fmla="*/ 5704 w 10863"/>
                <a:gd name="connsiteY4" fmla="*/ 770 h 10461"/>
                <a:gd name="connsiteX5" fmla="*/ 4165 w 10863"/>
                <a:gd name="connsiteY5" fmla="*/ 2043 h 10461"/>
                <a:gd name="connsiteX6" fmla="*/ 3260 w 10863"/>
                <a:gd name="connsiteY6" fmla="*/ 3471 h 10461"/>
                <a:gd name="connsiteX7" fmla="*/ 2627 w 10863"/>
                <a:gd name="connsiteY7" fmla="*/ 4706 h 10461"/>
                <a:gd name="connsiteX8" fmla="*/ 2127 w 10863"/>
                <a:gd name="connsiteY8" fmla="*/ 4281 h 10461"/>
                <a:gd name="connsiteX9" fmla="*/ 498 w 10863"/>
                <a:gd name="connsiteY9" fmla="*/ 3317 h 10461"/>
                <a:gd name="connsiteX10" fmla="*/ 498 w 10863"/>
                <a:gd name="connsiteY10" fmla="*/ 3317 h 10461"/>
                <a:gd name="connsiteX11" fmla="*/ 0 w 10863"/>
                <a:gd name="connsiteY11" fmla="*/ 3973 h 10461"/>
                <a:gd name="connsiteX12" fmla="*/ 543 w 10863"/>
                <a:gd name="connsiteY12" fmla="*/ 4359 h 10461"/>
                <a:gd name="connsiteX13" fmla="*/ 1584 w 10863"/>
                <a:gd name="connsiteY13" fmla="*/ 5207 h 10461"/>
                <a:gd name="connsiteX14" fmla="*/ 1811 w 10863"/>
                <a:gd name="connsiteY14" fmla="*/ 5593 h 10461"/>
                <a:gd name="connsiteX15" fmla="*/ 2127 w 10863"/>
                <a:gd name="connsiteY15" fmla="*/ 5671 h 10461"/>
                <a:gd name="connsiteX16" fmla="*/ 4210 w 10863"/>
                <a:gd name="connsiteY16" fmla="*/ 10456 h 10461"/>
                <a:gd name="connsiteX17" fmla="*/ 5885 w 10863"/>
                <a:gd name="connsiteY17" fmla="*/ 8835 h 10461"/>
                <a:gd name="connsiteX18" fmla="*/ 8874 w 10863"/>
                <a:gd name="connsiteY18" fmla="*/ 8680 h 10461"/>
                <a:gd name="connsiteX19" fmla="*/ 9417 w 10863"/>
                <a:gd name="connsiteY19" fmla="*/ 6828 h 10461"/>
                <a:gd name="connsiteX20" fmla="*/ 9857 w 10863"/>
                <a:gd name="connsiteY20" fmla="*/ 5242 h 10461"/>
                <a:gd name="connsiteX21" fmla="*/ 10804 w 10863"/>
                <a:gd name="connsiteY21" fmla="*/ 3460 h 10461"/>
                <a:gd name="connsiteX0" fmla="*/ 10804 w 10863"/>
                <a:gd name="connsiteY0" fmla="*/ 3460 h 10461"/>
                <a:gd name="connsiteX1" fmla="*/ 10438 w 10863"/>
                <a:gd name="connsiteY1" fmla="*/ 1283 h 10461"/>
                <a:gd name="connsiteX2" fmla="*/ 9702 w 10863"/>
                <a:gd name="connsiteY2" fmla="*/ 0 h 10461"/>
                <a:gd name="connsiteX3" fmla="*/ 8737 w 10863"/>
                <a:gd name="connsiteY3" fmla="*/ 731 h 10461"/>
                <a:gd name="connsiteX4" fmla="*/ 5704 w 10863"/>
                <a:gd name="connsiteY4" fmla="*/ 770 h 10461"/>
                <a:gd name="connsiteX5" fmla="*/ 4165 w 10863"/>
                <a:gd name="connsiteY5" fmla="*/ 2043 h 10461"/>
                <a:gd name="connsiteX6" fmla="*/ 3260 w 10863"/>
                <a:gd name="connsiteY6" fmla="*/ 3471 h 10461"/>
                <a:gd name="connsiteX7" fmla="*/ 2627 w 10863"/>
                <a:gd name="connsiteY7" fmla="*/ 4706 h 10461"/>
                <a:gd name="connsiteX8" fmla="*/ 2127 w 10863"/>
                <a:gd name="connsiteY8" fmla="*/ 4281 h 10461"/>
                <a:gd name="connsiteX9" fmla="*/ 498 w 10863"/>
                <a:gd name="connsiteY9" fmla="*/ 3317 h 10461"/>
                <a:gd name="connsiteX10" fmla="*/ 498 w 10863"/>
                <a:gd name="connsiteY10" fmla="*/ 3317 h 10461"/>
                <a:gd name="connsiteX11" fmla="*/ 0 w 10863"/>
                <a:gd name="connsiteY11" fmla="*/ 3973 h 10461"/>
                <a:gd name="connsiteX12" fmla="*/ 543 w 10863"/>
                <a:gd name="connsiteY12" fmla="*/ 4359 h 10461"/>
                <a:gd name="connsiteX13" fmla="*/ 1584 w 10863"/>
                <a:gd name="connsiteY13" fmla="*/ 5207 h 10461"/>
                <a:gd name="connsiteX14" fmla="*/ 1811 w 10863"/>
                <a:gd name="connsiteY14" fmla="*/ 5593 h 10461"/>
                <a:gd name="connsiteX15" fmla="*/ 2127 w 10863"/>
                <a:gd name="connsiteY15" fmla="*/ 5671 h 10461"/>
                <a:gd name="connsiteX16" fmla="*/ 4210 w 10863"/>
                <a:gd name="connsiteY16" fmla="*/ 10456 h 10461"/>
                <a:gd name="connsiteX17" fmla="*/ 5885 w 10863"/>
                <a:gd name="connsiteY17" fmla="*/ 8835 h 10461"/>
                <a:gd name="connsiteX18" fmla="*/ 8874 w 10863"/>
                <a:gd name="connsiteY18" fmla="*/ 8680 h 10461"/>
                <a:gd name="connsiteX19" fmla="*/ 9417 w 10863"/>
                <a:gd name="connsiteY19" fmla="*/ 6828 h 10461"/>
                <a:gd name="connsiteX20" fmla="*/ 9857 w 10863"/>
                <a:gd name="connsiteY20" fmla="*/ 5242 h 10461"/>
                <a:gd name="connsiteX21" fmla="*/ 10804 w 10863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417 w 10804"/>
                <a:gd name="connsiteY19" fmla="*/ 6828 h 10461"/>
                <a:gd name="connsiteX20" fmla="*/ 9857 w 10804"/>
                <a:gd name="connsiteY20" fmla="*/ 524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417 w 10804"/>
                <a:gd name="connsiteY19" fmla="*/ 6828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040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577 w 10577"/>
                <a:gd name="connsiteY0" fmla="*/ 3727 h 10461"/>
                <a:gd name="connsiteX1" fmla="*/ 10438 w 10577"/>
                <a:gd name="connsiteY1" fmla="*/ 1040 h 10461"/>
                <a:gd name="connsiteX2" fmla="*/ 9702 w 10577"/>
                <a:gd name="connsiteY2" fmla="*/ 0 h 10461"/>
                <a:gd name="connsiteX3" fmla="*/ 8737 w 10577"/>
                <a:gd name="connsiteY3" fmla="*/ 731 h 10461"/>
                <a:gd name="connsiteX4" fmla="*/ 5704 w 10577"/>
                <a:gd name="connsiteY4" fmla="*/ 770 h 10461"/>
                <a:gd name="connsiteX5" fmla="*/ 4165 w 10577"/>
                <a:gd name="connsiteY5" fmla="*/ 2043 h 10461"/>
                <a:gd name="connsiteX6" fmla="*/ 3260 w 10577"/>
                <a:gd name="connsiteY6" fmla="*/ 3471 h 10461"/>
                <a:gd name="connsiteX7" fmla="*/ 2627 w 10577"/>
                <a:gd name="connsiteY7" fmla="*/ 4706 h 10461"/>
                <a:gd name="connsiteX8" fmla="*/ 2127 w 10577"/>
                <a:gd name="connsiteY8" fmla="*/ 4281 h 10461"/>
                <a:gd name="connsiteX9" fmla="*/ 498 w 10577"/>
                <a:gd name="connsiteY9" fmla="*/ 3317 h 10461"/>
                <a:gd name="connsiteX10" fmla="*/ 498 w 10577"/>
                <a:gd name="connsiteY10" fmla="*/ 3317 h 10461"/>
                <a:gd name="connsiteX11" fmla="*/ 0 w 10577"/>
                <a:gd name="connsiteY11" fmla="*/ 3973 h 10461"/>
                <a:gd name="connsiteX12" fmla="*/ 543 w 10577"/>
                <a:gd name="connsiteY12" fmla="*/ 4359 h 10461"/>
                <a:gd name="connsiteX13" fmla="*/ 1584 w 10577"/>
                <a:gd name="connsiteY13" fmla="*/ 5207 h 10461"/>
                <a:gd name="connsiteX14" fmla="*/ 1811 w 10577"/>
                <a:gd name="connsiteY14" fmla="*/ 5593 h 10461"/>
                <a:gd name="connsiteX15" fmla="*/ 2127 w 10577"/>
                <a:gd name="connsiteY15" fmla="*/ 5671 h 10461"/>
                <a:gd name="connsiteX16" fmla="*/ 4210 w 10577"/>
                <a:gd name="connsiteY16" fmla="*/ 10456 h 10461"/>
                <a:gd name="connsiteX17" fmla="*/ 5885 w 10577"/>
                <a:gd name="connsiteY17" fmla="*/ 8835 h 10461"/>
                <a:gd name="connsiteX18" fmla="*/ 8874 w 10577"/>
                <a:gd name="connsiteY18" fmla="*/ 8680 h 10461"/>
                <a:gd name="connsiteX19" fmla="*/ 9673 w 10577"/>
                <a:gd name="connsiteY19" fmla="*/ 6974 h 10461"/>
                <a:gd name="connsiteX20" fmla="*/ 10199 w 10577"/>
                <a:gd name="connsiteY20" fmla="*/ 5412 h 10461"/>
                <a:gd name="connsiteX21" fmla="*/ 10577 w 10577"/>
                <a:gd name="connsiteY21" fmla="*/ 3727 h 10461"/>
                <a:gd name="connsiteX0" fmla="*/ 10577 w 10577"/>
                <a:gd name="connsiteY0" fmla="*/ 3727 h 10461"/>
                <a:gd name="connsiteX1" fmla="*/ 10438 w 10577"/>
                <a:gd name="connsiteY1" fmla="*/ 1040 h 10461"/>
                <a:gd name="connsiteX2" fmla="*/ 9702 w 10577"/>
                <a:gd name="connsiteY2" fmla="*/ 0 h 10461"/>
                <a:gd name="connsiteX3" fmla="*/ 8737 w 10577"/>
                <a:gd name="connsiteY3" fmla="*/ 731 h 10461"/>
                <a:gd name="connsiteX4" fmla="*/ 5704 w 10577"/>
                <a:gd name="connsiteY4" fmla="*/ 770 h 10461"/>
                <a:gd name="connsiteX5" fmla="*/ 4165 w 10577"/>
                <a:gd name="connsiteY5" fmla="*/ 2043 h 10461"/>
                <a:gd name="connsiteX6" fmla="*/ 3260 w 10577"/>
                <a:gd name="connsiteY6" fmla="*/ 3471 h 10461"/>
                <a:gd name="connsiteX7" fmla="*/ 2627 w 10577"/>
                <a:gd name="connsiteY7" fmla="*/ 4706 h 10461"/>
                <a:gd name="connsiteX8" fmla="*/ 2127 w 10577"/>
                <a:gd name="connsiteY8" fmla="*/ 4281 h 10461"/>
                <a:gd name="connsiteX9" fmla="*/ 498 w 10577"/>
                <a:gd name="connsiteY9" fmla="*/ 3317 h 10461"/>
                <a:gd name="connsiteX10" fmla="*/ 498 w 10577"/>
                <a:gd name="connsiteY10" fmla="*/ 3317 h 10461"/>
                <a:gd name="connsiteX11" fmla="*/ 0 w 10577"/>
                <a:gd name="connsiteY11" fmla="*/ 3973 h 10461"/>
                <a:gd name="connsiteX12" fmla="*/ 543 w 10577"/>
                <a:gd name="connsiteY12" fmla="*/ 4359 h 10461"/>
                <a:gd name="connsiteX13" fmla="*/ 1584 w 10577"/>
                <a:gd name="connsiteY13" fmla="*/ 5207 h 10461"/>
                <a:gd name="connsiteX14" fmla="*/ 1811 w 10577"/>
                <a:gd name="connsiteY14" fmla="*/ 5593 h 10461"/>
                <a:gd name="connsiteX15" fmla="*/ 2127 w 10577"/>
                <a:gd name="connsiteY15" fmla="*/ 5671 h 10461"/>
                <a:gd name="connsiteX16" fmla="*/ 4210 w 10577"/>
                <a:gd name="connsiteY16" fmla="*/ 10456 h 10461"/>
                <a:gd name="connsiteX17" fmla="*/ 5885 w 10577"/>
                <a:gd name="connsiteY17" fmla="*/ 8835 h 10461"/>
                <a:gd name="connsiteX18" fmla="*/ 8874 w 10577"/>
                <a:gd name="connsiteY18" fmla="*/ 8680 h 10461"/>
                <a:gd name="connsiteX19" fmla="*/ 9673 w 10577"/>
                <a:gd name="connsiteY19" fmla="*/ 6974 h 10461"/>
                <a:gd name="connsiteX20" fmla="*/ 10114 w 10577"/>
                <a:gd name="connsiteY20" fmla="*/ 5485 h 10461"/>
                <a:gd name="connsiteX21" fmla="*/ 10577 w 10577"/>
                <a:gd name="connsiteY21" fmla="*/ 3727 h 10461"/>
                <a:gd name="connsiteX0" fmla="*/ 10577 w 10628"/>
                <a:gd name="connsiteY0" fmla="*/ 3727 h 10461"/>
                <a:gd name="connsiteX1" fmla="*/ 10438 w 10628"/>
                <a:gd name="connsiteY1" fmla="*/ 1040 h 10461"/>
                <a:gd name="connsiteX2" fmla="*/ 9702 w 10628"/>
                <a:gd name="connsiteY2" fmla="*/ 0 h 10461"/>
                <a:gd name="connsiteX3" fmla="*/ 8737 w 10628"/>
                <a:gd name="connsiteY3" fmla="*/ 731 h 10461"/>
                <a:gd name="connsiteX4" fmla="*/ 5704 w 10628"/>
                <a:gd name="connsiteY4" fmla="*/ 770 h 10461"/>
                <a:gd name="connsiteX5" fmla="*/ 4165 w 10628"/>
                <a:gd name="connsiteY5" fmla="*/ 2043 h 10461"/>
                <a:gd name="connsiteX6" fmla="*/ 3260 w 10628"/>
                <a:gd name="connsiteY6" fmla="*/ 3471 h 10461"/>
                <a:gd name="connsiteX7" fmla="*/ 2627 w 10628"/>
                <a:gd name="connsiteY7" fmla="*/ 4706 h 10461"/>
                <a:gd name="connsiteX8" fmla="*/ 2127 w 10628"/>
                <a:gd name="connsiteY8" fmla="*/ 4281 h 10461"/>
                <a:gd name="connsiteX9" fmla="*/ 498 w 10628"/>
                <a:gd name="connsiteY9" fmla="*/ 3317 h 10461"/>
                <a:gd name="connsiteX10" fmla="*/ 498 w 10628"/>
                <a:gd name="connsiteY10" fmla="*/ 3317 h 10461"/>
                <a:gd name="connsiteX11" fmla="*/ 0 w 10628"/>
                <a:gd name="connsiteY11" fmla="*/ 3973 h 10461"/>
                <a:gd name="connsiteX12" fmla="*/ 543 w 10628"/>
                <a:gd name="connsiteY12" fmla="*/ 4359 h 10461"/>
                <a:gd name="connsiteX13" fmla="*/ 1584 w 10628"/>
                <a:gd name="connsiteY13" fmla="*/ 5207 h 10461"/>
                <a:gd name="connsiteX14" fmla="*/ 1811 w 10628"/>
                <a:gd name="connsiteY14" fmla="*/ 5593 h 10461"/>
                <a:gd name="connsiteX15" fmla="*/ 2127 w 10628"/>
                <a:gd name="connsiteY15" fmla="*/ 5671 h 10461"/>
                <a:gd name="connsiteX16" fmla="*/ 4210 w 10628"/>
                <a:gd name="connsiteY16" fmla="*/ 10456 h 10461"/>
                <a:gd name="connsiteX17" fmla="*/ 5885 w 10628"/>
                <a:gd name="connsiteY17" fmla="*/ 8835 h 10461"/>
                <a:gd name="connsiteX18" fmla="*/ 8874 w 10628"/>
                <a:gd name="connsiteY18" fmla="*/ 8680 h 10461"/>
                <a:gd name="connsiteX19" fmla="*/ 9673 w 10628"/>
                <a:gd name="connsiteY19" fmla="*/ 6974 h 10461"/>
                <a:gd name="connsiteX20" fmla="*/ 10114 w 10628"/>
                <a:gd name="connsiteY20" fmla="*/ 5485 h 10461"/>
                <a:gd name="connsiteX21" fmla="*/ 10577 w 10628"/>
                <a:gd name="connsiteY21" fmla="*/ 3727 h 1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28" h="10461">
                  <a:moveTo>
                    <a:pt x="10577" y="3727"/>
                  </a:moveTo>
                  <a:cubicBezTo>
                    <a:pt x="10726" y="3237"/>
                    <a:pt x="10508" y="1937"/>
                    <a:pt x="10438" y="1040"/>
                  </a:cubicBezTo>
                  <a:cubicBezTo>
                    <a:pt x="10311" y="556"/>
                    <a:pt x="9867" y="311"/>
                    <a:pt x="9702" y="0"/>
                  </a:cubicBezTo>
                  <a:cubicBezTo>
                    <a:pt x="9520" y="116"/>
                    <a:pt x="9403" y="603"/>
                    <a:pt x="8737" y="731"/>
                  </a:cubicBezTo>
                  <a:cubicBezTo>
                    <a:pt x="8071" y="859"/>
                    <a:pt x="6112" y="770"/>
                    <a:pt x="5704" y="770"/>
                  </a:cubicBezTo>
                  <a:cubicBezTo>
                    <a:pt x="5297" y="770"/>
                    <a:pt x="4528" y="1734"/>
                    <a:pt x="4165" y="2043"/>
                  </a:cubicBezTo>
                  <a:cubicBezTo>
                    <a:pt x="3848" y="2352"/>
                    <a:pt x="3848" y="2815"/>
                    <a:pt x="3260" y="3471"/>
                  </a:cubicBezTo>
                  <a:cubicBezTo>
                    <a:pt x="2671" y="4126"/>
                    <a:pt x="2627" y="4706"/>
                    <a:pt x="2627" y="4706"/>
                  </a:cubicBezTo>
                  <a:cubicBezTo>
                    <a:pt x="2627" y="4706"/>
                    <a:pt x="2444" y="4590"/>
                    <a:pt x="2127" y="4281"/>
                  </a:cubicBezTo>
                  <a:cubicBezTo>
                    <a:pt x="1766" y="4011"/>
                    <a:pt x="725" y="3239"/>
                    <a:pt x="498" y="3317"/>
                  </a:cubicBezTo>
                  <a:lnTo>
                    <a:pt x="498" y="3317"/>
                  </a:lnTo>
                  <a:cubicBezTo>
                    <a:pt x="815" y="3703"/>
                    <a:pt x="181" y="3741"/>
                    <a:pt x="0" y="3973"/>
                  </a:cubicBezTo>
                  <a:cubicBezTo>
                    <a:pt x="90" y="4050"/>
                    <a:pt x="272" y="4165"/>
                    <a:pt x="543" y="4359"/>
                  </a:cubicBezTo>
                  <a:cubicBezTo>
                    <a:pt x="1176" y="4783"/>
                    <a:pt x="1494" y="5054"/>
                    <a:pt x="1584" y="5207"/>
                  </a:cubicBezTo>
                  <a:cubicBezTo>
                    <a:pt x="1629" y="5285"/>
                    <a:pt x="1720" y="5477"/>
                    <a:pt x="1811" y="5593"/>
                  </a:cubicBezTo>
                  <a:cubicBezTo>
                    <a:pt x="1991" y="5632"/>
                    <a:pt x="2127" y="5671"/>
                    <a:pt x="2127" y="5671"/>
                  </a:cubicBezTo>
                  <a:cubicBezTo>
                    <a:pt x="2127" y="5671"/>
                    <a:pt x="3984" y="10648"/>
                    <a:pt x="4210" y="10456"/>
                  </a:cubicBezTo>
                  <a:cubicBezTo>
                    <a:pt x="4481" y="10224"/>
                    <a:pt x="5660" y="9105"/>
                    <a:pt x="5885" y="8835"/>
                  </a:cubicBezTo>
                  <a:cubicBezTo>
                    <a:pt x="6112" y="8603"/>
                    <a:pt x="8243" y="8990"/>
                    <a:pt x="8874" y="8680"/>
                  </a:cubicBezTo>
                  <a:cubicBezTo>
                    <a:pt x="9505" y="8370"/>
                    <a:pt x="9536" y="7823"/>
                    <a:pt x="9673" y="6974"/>
                  </a:cubicBezTo>
                  <a:cubicBezTo>
                    <a:pt x="9854" y="6126"/>
                    <a:pt x="9963" y="6026"/>
                    <a:pt x="10114" y="5485"/>
                  </a:cubicBezTo>
                  <a:cubicBezTo>
                    <a:pt x="10265" y="4944"/>
                    <a:pt x="10239" y="4914"/>
                    <a:pt x="10577" y="3727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136">
              <a:extLst>
                <a:ext uri="{FF2B5EF4-FFF2-40B4-BE49-F238E27FC236}">
                  <a16:creationId xmlns:a16="http://schemas.microsoft.com/office/drawing/2014/main" id="{BB2CFA44-C2CD-4947-9581-4CC3415E421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9275" y="2532063"/>
              <a:ext cx="319087" cy="441325"/>
            </a:xfrm>
            <a:custGeom>
              <a:avLst/>
              <a:gdLst>
                <a:gd name="T0" fmla="*/ 85 w 85"/>
                <a:gd name="T1" fmla="*/ 98 h 118"/>
                <a:gd name="T2" fmla="*/ 68 w 85"/>
                <a:gd name="T3" fmla="*/ 105 h 118"/>
                <a:gd name="T4" fmla="*/ 58 w 85"/>
                <a:gd name="T5" fmla="*/ 118 h 118"/>
                <a:gd name="T6" fmla="*/ 48 w 85"/>
                <a:gd name="T7" fmla="*/ 97 h 118"/>
                <a:gd name="T8" fmla="*/ 5 w 85"/>
                <a:gd name="T9" fmla="*/ 44 h 118"/>
                <a:gd name="T10" fmla="*/ 0 w 85"/>
                <a:gd name="T11" fmla="*/ 0 h 118"/>
                <a:gd name="T12" fmla="*/ 9 w 85"/>
                <a:gd name="T13" fmla="*/ 39 h 118"/>
                <a:gd name="T14" fmla="*/ 40 w 85"/>
                <a:gd name="T15" fmla="*/ 78 h 118"/>
                <a:gd name="T16" fmla="*/ 65 w 85"/>
                <a:gd name="T17" fmla="*/ 97 h 118"/>
                <a:gd name="T18" fmla="*/ 85 w 85"/>
                <a:gd name="T19" fmla="*/ 9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18">
                  <a:moveTo>
                    <a:pt x="85" y="98"/>
                  </a:moveTo>
                  <a:cubicBezTo>
                    <a:pt x="85" y="98"/>
                    <a:pt x="73" y="99"/>
                    <a:pt x="68" y="105"/>
                  </a:cubicBezTo>
                  <a:cubicBezTo>
                    <a:pt x="64" y="110"/>
                    <a:pt x="58" y="118"/>
                    <a:pt x="58" y="118"/>
                  </a:cubicBezTo>
                  <a:cubicBezTo>
                    <a:pt x="58" y="118"/>
                    <a:pt x="68" y="116"/>
                    <a:pt x="48" y="97"/>
                  </a:cubicBezTo>
                  <a:cubicBezTo>
                    <a:pt x="28" y="78"/>
                    <a:pt x="8" y="50"/>
                    <a:pt x="5" y="44"/>
                  </a:cubicBezTo>
                  <a:cubicBezTo>
                    <a:pt x="1" y="38"/>
                    <a:pt x="0" y="0"/>
                    <a:pt x="0" y="0"/>
                  </a:cubicBezTo>
                  <a:cubicBezTo>
                    <a:pt x="0" y="0"/>
                    <a:pt x="7" y="33"/>
                    <a:pt x="9" y="39"/>
                  </a:cubicBezTo>
                  <a:cubicBezTo>
                    <a:pt x="12" y="45"/>
                    <a:pt x="34" y="71"/>
                    <a:pt x="40" y="78"/>
                  </a:cubicBezTo>
                  <a:cubicBezTo>
                    <a:pt x="45" y="86"/>
                    <a:pt x="57" y="97"/>
                    <a:pt x="65" y="97"/>
                  </a:cubicBezTo>
                  <a:cubicBezTo>
                    <a:pt x="73" y="97"/>
                    <a:pt x="85" y="98"/>
                    <a:pt x="85" y="9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37">
              <a:extLst>
                <a:ext uri="{FF2B5EF4-FFF2-40B4-BE49-F238E27FC236}">
                  <a16:creationId xmlns:a16="http://schemas.microsoft.com/office/drawing/2014/main" id="{131AEADC-32A6-40BC-B021-1108D317950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9558" y="1756121"/>
              <a:ext cx="1485038" cy="1367522"/>
            </a:xfrm>
            <a:custGeom>
              <a:avLst/>
              <a:gdLst>
                <a:gd name="T0" fmla="*/ 391 w 400"/>
                <a:gd name="T1" fmla="*/ 69 h 369"/>
                <a:gd name="T2" fmla="*/ 321 w 400"/>
                <a:gd name="T3" fmla="*/ 7 h 369"/>
                <a:gd name="T4" fmla="*/ 284 w 400"/>
                <a:gd name="T5" fmla="*/ 5 h 369"/>
                <a:gd name="T6" fmla="*/ 274 w 400"/>
                <a:gd name="T7" fmla="*/ 10 h 369"/>
                <a:gd name="T8" fmla="*/ 234 w 400"/>
                <a:gd name="T9" fmla="*/ 30 h 369"/>
                <a:gd name="T10" fmla="*/ 204 w 400"/>
                <a:gd name="T11" fmla="*/ 90 h 369"/>
                <a:gd name="T12" fmla="*/ 210 w 400"/>
                <a:gd name="T13" fmla="*/ 138 h 369"/>
                <a:gd name="T14" fmla="*/ 203 w 400"/>
                <a:gd name="T15" fmla="*/ 168 h 369"/>
                <a:gd name="T16" fmla="*/ 192 w 400"/>
                <a:gd name="T17" fmla="*/ 185 h 369"/>
                <a:gd name="T18" fmla="*/ 192 w 400"/>
                <a:gd name="T19" fmla="*/ 185 h 369"/>
                <a:gd name="T20" fmla="*/ 190 w 400"/>
                <a:gd name="T21" fmla="*/ 186 h 369"/>
                <a:gd name="T22" fmla="*/ 168 w 400"/>
                <a:gd name="T23" fmla="*/ 229 h 369"/>
                <a:gd name="T24" fmla="*/ 128 w 400"/>
                <a:gd name="T25" fmla="*/ 270 h 369"/>
                <a:gd name="T26" fmla="*/ 55 w 400"/>
                <a:gd name="T27" fmla="*/ 290 h 369"/>
                <a:gd name="T28" fmla="*/ 47 w 400"/>
                <a:gd name="T29" fmla="*/ 368 h 369"/>
                <a:gd name="T30" fmla="*/ 74 w 400"/>
                <a:gd name="T31" fmla="*/ 335 h 369"/>
                <a:gd name="T32" fmla="*/ 101 w 400"/>
                <a:gd name="T33" fmla="*/ 318 h 369"/>
                <a:gd name="T34" fmla="*/ 125 w 400"/>
                <a:gd name="T35" fmla="*/ 300 h 369"/>
                <a:gd name="T36" fmla="*/ 160 w 400"/>
                <a:gd name="T37" fmla="*/ 278 h 369"/>
                <a:gd name="T38" fmla="*/ 192 w 400"/>
                <a:gd name="T39" fmla="*/ 256 h 369"/>
                <a:gd name="T40" fmla="*/ 203 w 400"/>
                <a:gd name="T41" fmla="*/ 243 h 369"/>
                <a:gd name="T42" fmla="*/ 191 w 400"/>
                <a:gd name="T43" fmla="*/ 265 h 369"/>
                <a:gd name="T44" fmla="*/ 214 w 400"/>
                <a:gd name="T45" fmla="*/ 249 h 369"/>
                <a:gd name="T46" fmla="*/ 234 w 400"/>
                <a:gd name="T47" fmla="*/ 251 h 369"/>
                <a:gd name="T48" fmla="*/ 234 w 400"/>
                <a:gd name="T49" fmla="*/ 283 h 369"/>
                <a:gd name="T50" fmla="*/ 234 w 400"/>
                <a:gd name="T51" fmla="*/ 293 h 369"/>
                <a:gd name="T52" fmla="*/ 244 w 400"/>
                <a:gd name="T53" fmla="*/ 261 h 369"/>
                <a:gd name="T54" fmla="*/ 222 w 400"/>
                <a:gd name="T55" fmla="*/ 231 h 369"/>
                <a:gd name="T56" fmla="*/ 228 w 400"/>
                <a:gd name="T57" fmla="*/ 227 h 369"/>
                <a:gd name="T58" fmla="*/ 228 w 400"/>
                <a:gd name="T59" fmla="*/ 227 h 369"/>
                <a:gd name="T60" fmla="*/ 232 w 400"/>
                <a:gd name="T61" fmla="*/ 227 h 369"/>
                <a:gd name="T62" fmla="*/ 231 w 400"/>
                <a:gd name="T63" fmla="*/ 226 h 369"/>
                <a:gd name="T64" fmla="*/ 231 w 400"/>
                <a:gd name="T65" fmla="*/ 226 h 369"/>
                <a:gd name="T66" fmla="*/ 269 w 400"/>
                <a:gd name="T67" fmla="*/ 175 h 369"/>
                <a:gd name="T68" fmla="*/ 291 w 400"/>
                <a:gd name="T69" fmla="*/ 141 h 369"/>
                <a:gd name="T70" fmla="*/ 318 w 400"/>
                <a:gd name="T71" fmla="*/ 102 h 369"/>
                <a:gd name="T72" fmla="*/ 385 w 400"/>
                <a:gd name="T73" fmla="*/ 101 h 369"/>
                <a:gd name="T74" fmla="*/ 400 w 400"/>
                <a:gd name="T75" fmla="*/ 94 h 369"/>
                <a:gd name="T76" fmla="*/ 391 w 400"/>
                <a:gd name="T77" fmla="*/ 69 h 369"/>
                <a:gd name="connsiteX0" fmla="*/ 9617 w 9621"/>
                <a:gd name="connsiteY0" fmla="*/ 1550 h 9909"/>
                <a:gd name="connsiteX1" fmla="*/ 7380 w 9621"/>
                <a:gd name="connsiteY1" fmla="*/ 126 h 9909"/>
                <a:gd name="connsiteX2" fmla="*/ 6455 w 9621"/>
                <a:gd name="connsiteY2" fmla="*/ 72 h 9909"/>
                <a:gd name="connsiteX3" fmla="*/ 6205 w 9621"/>
                <a:gd name="connsiteY3" fmla="*/ 207 h 9909"/>
                <a:gd name="connsiteX4" fmla="*/ 5205 w 9621"/>
                <a:gd name="connsiteY4" fmla="*/ 749 h 9909"/>
                <a:gd name="connsiteX5" fmla="*/ 4455 w 9621"/>
                <a:gd name="connsiteY5" fmla="*/ 2375 h 9909"/>
                <a:gd name="connsiteX6" fmla="*/ 4605 w 9621"/>
                <a:gd name="connsiteY6" fmla="*/ 3676 h 9909"/>
                <a:gd name="connsiteX7" fmla="*/ 4430 w 9621"/>
                <a:gd name="connsiteY7" fmla="*/ 4489 h 9909"/>
                <a:gd name="connsiteX8" fmla="*/ 4155 w 9621"/>
                <a:gd name="connsiteY8" fmla="*/ 4950 h 9909"/>
                <a:gd name="connsiteX9" fmla="*/ 4155 w 9621"/>
                <a:gd name="connsiteY9" fmla="*/ 4950 h 9909"/>
                <a:gd name="connsiteX10" fmla="*/ 4105 w 9621"/>
                <a:gd name="connsiteY10" fmla="*/ 4977 h 9909"/>
                <a:gd name="connsiteX11" fmla="*/ 3555 w 9621"/>
                <a:gd name="connsiteY11" fmla="*/ 6142 h 9909"/>
                <a:gd name="connsiteX12" fmla="*/ 2555 w 9621"/>
                <a:gd name="connsiteY12" fmla="*/ 7253 h 9909"/>
                <a:gd name="connsiteX13" fmla="*/ 730 w 9621"/>
                <a:gd name="connsiteY13" fmla="*/ 7795 h 9909"/>
                <a:gd name="connsiteX14" fmla="*/ 530 w 9621"/>
                <a:gd name="connsiteY14" fmla="*/ 9909 h 9909"/>
                <a:gd name="connsiteX15" fmla="*/ 1205 w 9621"/>
                <a:gd name="connsiteY15" fmla="*/ 9015 h 9909"/>
                <a:gd name="connsiteX16" fmla="*/ 1880 w 9621"/>
                <a:gd name="connsiteY16" fmla="*/ 8554 h 9909"/>
                <a:gd name="connsiteX17" fmla="*/ 2480 w 9621"/>
                <a:gd name="connsiteY17" fmla="*/ 8066 h 9909"/>
                <a:gd name="connsiteX18" fmla="*/ 3355 w 9621"/>
                <a:gd name="connsiteY18" fmla="*/ 7470 h 9909"/>
                <a:gd name="connsiteX19" fmla="*/ 4155 w 9621"/>
                <a:gd name="connsiteY19" fmla="*/ 6874 h 9909"/>
                <a:gd name="connsiteX20" fmla="*/ 4430 w 9621"/>
                <a:gd name="connsiteY20" fmla="*/ 6521 h 9909"/>
                <a:gd name="connsiteX21" fmla="*/ 4130 w 9621"/>
                <a:gd name="connsiteY21" fmla="*/ 7118 h 9909"/>
                <a:gd name="connsiteX22" fmla="*/ 4705 w 9621"/>
                <a:gd name="connsiteY22" fmla="*/ 6684 h 9909"/>
                <a:gd name="connsiteX23" fmla="*/ 5205 w 9621"/>
                <a:gd name="connsiteY23" fmla="*/ 6738 h 9909"/>
                <a:gd name="connsiteX24" fmla="*/ 5205 w 9621"/>
                <a:gd name="connsiteY24" fmla="*/ 7605 h 9909"/>
                <a:gd name="connsiteX25" fmla="*/ 5205 w 9621"/>
                <a:gd name="connsiteY25" fmla="*/ 7876 h 9909"/>
                <a:gd name="connsiteX26" fmla="*/ 5455 w 9621"/>
                <a:gd name="connsiteY26" fmla="*/ 7009 h 9909"/>
                <a:gd name="connsiteX27" fmla="*/ 4905 w 9621"/>
                <a:gd name="connsiteY27" fmla="*/ 6196 h 9909"/>
                <a:gd name="connsiteX28" fmla="*/ 5055 w 9621"/>
                <a:gd name="connsiteY28" fmla="*/ 6088 h 9909"/>
                <a:gd name="connsiteX29" fmla="*/ 5055 w 9621"/>
                <a:gd name="connsiteY29" fmla="*/ 6088 h 9909"/>
                <a:gd name="connsiteX30" fmla="*/ 5155 w 9621"/>
                <a:gd name="connsiteY30" fmla="*/ 6088 h 9909"/>
                <a:gd name="connsiteX31" fmla="*/ 5130 w 9621"/>
                <a:gd name="connsiteY31" fmla="*/ 6061 h 9909"/>
                <a:gd name="connsiteX32" fmla="*/ 5130 w 9621"/>
                <a:gd name="connsiteY32" fmla="*/ 6061 h 9909"/>
                <a:gd name="connsiteX33" fmla="*/ 6080 w 9621"/>
                <a:gd name="connsiteY33" fmla="*/ 4679 h 9909"/>
                <a:gd name="connsiteX34" fmla="*/ 6630 w 9621"/>
                <a:gd name="connsiteY34" fmla="*/ 3757 h 9909"/>
                <a:gd name="connsiteX35" fmla="*/ 7305 w 9621"/>
                <a:gd name="connsiteY35" fmla="*/ 2700 h 9909"/>
                <a:gd name="connsiteX36" fmla="*/ 8980 w 9621"/>
                <a:gd name="connsiteY36" fmla="*/ 2673 h 9909"/>
                <a:gd name="connsiteX37" fmla="*/ 9355 w 9621"/>
                <a:gd name="connsiteY37" fmla="*/ 2483 h 9909"/>
                <a:gd name="connsiteX38" fmla="*/ 9617 w 9621"/>
                <a:gd name="connsiteY38" fmla="*/ 1550 h 9909"/>
                <a:gd name="connsiteX0" fmla="*/ 9995 w 10005"/>
                <a:gd name="connsiteY0" fmla="*/ 1564 h 10000"/>
                <a:gd name="connsiteX1" fmla="*/ 7670 w 10005"/>
                <a:gd name="connsiteY1" fmla="*/ 127 h 10000"/>
                <a:gd name="connsiteX2" fmla="*/ 6708 w 10005"/>
                <a:gd name="connsiteY2" fmla="*/ 73 h 10000"/>
                <a:gd name="connsiteX3" fmla="*/ 6448 w 10005"/>
                <a:gd name="connsiteY3" fmla="*/ 209 h 10000"/>
                <a:gd name="connsiteX4" fmla="*/ 5409 w 10005"/>
                <a:gd name="connsiteY4" fmla="*/ 756 h 10000"/>
                <a:gd name="connsiteX5" fmla="*/ 4629 w 10005"/>
                <a:gd name="connsiteY5" fmla="*/ 2397 h 10000"/>
                <a:gd name="connsiteX6" fmla="*/ 4785 w 10005"/>
                <a:gd name="connsiteY6" fmla="*/ 3710 h 10000"/>
                <a:gd name="connsiteX7" fmla="*/ 4604 w 10005"/>
                <a:gd name="connsiteY7" fmla="*/ 4530 h 10000"/>
                <a:gd name="connsiteX8" fmla="*/ 4318 w 10005"/>
                <a:gd name="connsiteY8" fmla="*/ 4995 h 10000"/>
                <a:gd name="connsiteX9" fmla="*/ 4318 w 10005"/>
                <a:gd name="connsiteY9" fmla="*/ 4995 h 10000"/>
                <a:gd name="connsiteX10" fmla="*/ 4266 w 10005"/>
                <a:gd name="connsiteY10" fmla="*/ 5023 h 10000"/>
                <a:gd name="connsiteX11" fmla="*/ 3694 w 10005"/>
                <a:gd name="connsiteY11" fmla="*/ 6198 h 10000"/>
                <a:gd name="connsiteX12" fmla="*/ 2655 w 10005"/>
                <a:gd name="connsiteY12" fmla="*/ 7320 h 10000"/>
                <a:gd name="connsiteX13" fmla="*/ 758 w 10005"/>
                <a:gd name="connsiteY13" fmla="*/ 7867 h 10000"/>
                <a:gd name="connsiteX14" fmla="*/ 550 w 10005"/>
                <a:gd name="connsiteY14" fmla="*/ 10000 h 10000"/>
                <a:gd name="connsiteX15" fmla="*/ 1251 w 10005"/>
                <a:gd name="connsiteY15" fmla="*/ 9098 h 10000"/>
                <a:gd name="connsiteX16" fmla="*/ 1953 w 10005"/>
                <a:gd name="connsiteY16" fmla="*/ 8633 h 10000"/>
                <a:gd name="connsiteX17" fmla="*/ 2577 w 10005"/>
                <a:gd name="connsiteY17" fmla="*/ 8140 h 10000"/>
                <a:gd name="connsiteX18" fmla="*/ 3486 w 10005"/>
                <a:gd name="connsiteY18" fmla="*/ 7539 h 10000"/>
                <a:gd name="connsiteX19" fmla="*/ 4318 w 10005"/>
                <a:gd name="connsiteY19" fmla="*/ 6937 h 10000"/>
                <a:gd name="connsiteX20" fmla="*/ 4604 w 10005"/>
                <a:gd name="connsiteY20" fmla="*/ 6581 h 10000"/>
                <a:gd name="connsiteX21" fmla="*/ 4292 w 10005"/>
                <a:gd name="connsiteY21" fmla="*/ 7183 h 10000"/>
                <a:gd name="connsiteX22" fmla="*/ 4889 w 10005"/>
                <a:gd name="connsiteY22" fmla="*/ 6745 h 10000"/>
                <a:gd name="connsiteX23" fmla="*/ 5409 w 10005"/>
                <a:gd name="connsiteY23" fmla="*/ 6800 h 10000"/>
                <a:gd name="connsiteX24" fmla="*/ 5409 w 10005"/>
                <a:gd name="connsiteY24" fmla="*/ 7675 h 10000"/>
                <a:gd name="connsiteX25" fmla="*/ 5409 w 10005"/>
                <a:gd name="connsiteY25" fmla="*/ 7948 h 10000"/>
                <a:gd name="connsiteX26" fmla="*/ 5669 w 10005"/>
                <a:gd name="connsiteY26" fmla="*/ 7073 h 10000"/>
                <a:gd name="connsiteX27" fmla="*/ 5097 w 10005"/>
                <a:gd name="connsiteY27" fmla="*/ 6253 h 10000"/>
                <a:gd name="connsiteX28" fmla="*/ 5253 w 10005"/>
                <a:gd name="connsiteY28" fmla="*/ 6144 h 10000"/>
                <a:gd name="connsiteX29" fmla="*/ 5253 w 10005"/>
                <a:gd name="connsiteY29" fmla="*/ 6144 h 10000"/>
                <a:gd name="connsiteX30" fmla="*/ 5357 w 10005"/>
                <a:gd name="connsiteY30" fmla="*/ 6144 h 10000"/>
                <a:gd name="connsiteX31" fmla="*/ 5331 w 10005"/>
                <a:gd name="connsiteY31" fmla="*/ 6117 h 10000"/>
                <a:gd name="connsiteX32" fmla="*/ 5331 w 10005"/>
                <a:gd name="connsiteY32" fmla="*/ 6117 h 10000"/>
                <a:gd name="connsiteX33" fmla="*/ 6319 w 10005"/>
                <a:gd name="connsiteY33" fmla="*/ 4722 h 10000"/>
                <a:gd name="connsiteX34" fmla="*/ 6890 w 10005"/>
                <a:gd name="connsiteY34" fmla="*/ 3792 h 10000"/>
                <a:gd name="connsiteX35" fmla="*/ 7592 w 10005"/>
                <a:gd name="connsiteY35" fmla="*/ 2725 h 10000"/>
                <a:gd name="connsiteX36" fmla="*/ 9333 w 10005"/>
                <a:gd name="connsiteY36" fmla="*/ 2698 h 10000"/>
                <a:gd name="connsiteX37" fmla="*/ 9723 w 10005"/>
                <a:gd name="connsiteY37" fmla="*/ 2506 h 10000"/>
                <a:gd name="connsiteX38" fmla="*/ 9995 w 10005"/>
                <a:gd name="connsiteY38" fmla="*/ 1564 h 10000"/>
                <a:gd name="connsiteX0" fmla="*/ 9995 w 10005"/>
                <a:gd name="connsiteY0" fmla="*/ 1534 h 9970"/>
                <a:gd name="connsiteX1" fmla="*/ 7670 w 10005"/>
                <a:gd name="connsiteY1" fmla="*/ 97 h 9970"/>
                <a:gd name="connsiteX2" fmla="*/ 6708 w 10005"/>
                <a:gd name="connsiteY2" fmla="*/ 43 h 9970"/>
                <a:gd name="connsiteX3" fmla="*/ 6448 w 10005"/>
                <a:gd name="connsiteY3" fmla="*/ 179 h 9970"/>
                <a:gd name="connsiteX4" fmla="*/ 5409 w 10005"/>
                <a:gd name="connsiteY4" fmla="*/ 726 h 9970"/>
                <a:gd name="connsiteX5" fmla="*/ 4629 w 10005"/>
                <a:gd name="connsiteY5" fmla="*/ 2367 h 9970"/>
                <a:gd name="connsiteX6" fmla="*/ 4785 w 10005"/>
                <a:gd name="connsiteY6" fmla="*/ 3680 h 9970"/>
                <a:gd name="connsiteX7" fmla="*/ 4604 w 10005"/>
                <a:gd name="connsiteY7" fmla="*/ 4500 h 9970"/>
                <a:gd name="connsiteX8" fmla="*/ 4318 w 10005"/>
                <a:gd name="connsiteY8" fmla="*/ 4965 h 9970"/>
                <a:gd name="connsiteX9" fmla="*/ 4318 w 10005"/>
                <a:gd name="connsiteY9" fmla="*/ 4965 h 9970"/>
                <a:gd name="connsiteX10" fmla="*/ 4266 w 10005"/>
                <a:gd name="connsiteY10" fmla="*/ 4993 h 9970"/>
                <a:gd name="connsiteX11" fmla="*/ 3694 w 10005"/>
                <a:gd name="connsiteY11" fmla="*/ 6168 h 9970"/>
                <a:gd name="connsiteX12" fmla="*/ 2655 w 10005"/>
                <a:gd name="connsiteY12" fmla="*/ 7290 h 9970"/>
                <a:gd name="connsiteX13" fmla="*/ 758 w 10005"/>
                <a:gd name="connsiteY13" fmla="*/ 7837 h 9970"/>
                <a:gd name="connsiteX14" fmla="*/ 550 w 10005"/>
                <a:gd name="connsiteY14" fmla="*/ 9970 h 9970"/>
                <a:gd name="connsiteX15" fmla="*/ 1251 w 10005"/>
                <a:gd name="connsiteY15" fmla="*/ 9068 h 9970"/>
                <a:gd name="connsiteX16" fmla="*/ 1953 w 10005"/>
                <a:gd name="connsiteY16" fmla="*/ 8603 h 9970"/>
                <a:gd name="connsiteX17" fmla="*/ 2577 w 10005"/>
                <a:gd name="connsiteY17" fmla="*/ 8110 h 9970"/>
                <a:gd name="connsiteX18" fmla="*/ 3486 w 10005"/>
                <a:gd name="connsiteY18" fmla="*/ 7509 h 9970"/>
                <a:gd name="connsiteX19" fmla="*/ 4318 w 10005"/>
                <a:gd name="connsiteY19" fmla="*/ 6907 h 9970"/>
                <a:gd name="connsiteX20" fmla="*/ 4604 w 10005"/>
                <a:gd name="connsiteY20" fmla="*/ 6551 h 9970"/>
                <a:gd name="connsiteX21" fmla="*/ 4292 w 10005"/>
                <a:gd name="connsiteY21" fmla="*/ 7153 h 9970"/>
                <a:gd name="connsiteX22" fmla="*/ 4889 w 10005"/>
                <a:gd name="connsiteY22" fmla="*/ 6715 h 9970"/>
                <a:gd name="connsiteX23" fmla="*/ 5409 w 10005"/>
                <a:gd name="connsiteY23" fmla="*/ 6770 h 9970"/>
                <a:gd name="connsiteX24" fmla="*/ 5409 w 10005"/>
                <a:gd name="connsiteY24" fmla="*/ 7645 h 9970"/>
                <a:gd name="connsiteX25" fmla="*/ 5409 w 10005"/>
                <a:gd name="connsiteY25" fmla="*/ 7918 h 9970"/>
                <a:gd name="connsiteX26" fmla="*/ 5669 w 10005"/>
                <a:gd name="connsiteY26" fmla="*/ 7043 h 9970"/>
                <a:gd name="connsiteX27" fmla="*/ 5097 w 10005"/>
                <a:gd name="connsiteY27" fmla="*/ 6223 h 9970"/>
                <a:gd name="connsiteX28" fmla="*/ 5253 w 10005"/>
                <a:gd name="connsiteY28" fmla="*/ 6114 h 9970"/>
                <a:gd name="connsiteX29" fmla="*/ 5253 w 10005"/>
                <a:gd name="connsiteY29" fmla="*/ 6114 h 9970"/>
                <a:gd name="connsiteX30" fmla="*/ 5357 w 10005"/>
                <a:gd name="connsiteY30" fmla="*/ 6114 h 9970"/>
                <a:gd name="connsiteX31" fmla="*/ 5331 w 10005"/>
                <a:gd name="connsiteY31" fmla="*/ 6087 h 9970"/>
                <a:gd name="connsiteX32" fmla="*/ 5331 w 10005"/>
                <a:gd name="connsiteY32" fmla="*/ 6087 h 9970"/>
                <a:gd name="connsiteX33" fmla="*/ 6319 w 10005"/>
                <a:gd name="connsiteY33" fmla="*/ 4692 h 9970"/>
                <a:gd name="connsiteX34" fmla="*/ 6890 w 10005"/>
                <a:gd name="connsiteY34" fmla="*/ 3762 h 9970"/>
                <a:gd name="connsiteX35" fmla="*/ 7592 w 10005"/>
                <a:gd name="connsiteY35" fmla="*/ 2695 h 9970"/>
                <a:gd name="connsiteX36" fmla="*/ 9333 w 10005"/>
                <a:gd name="connsiteY36" fmla="*/ 2668 h 9970"/>
                <a:gd name="connsiteX37" fmla="*/ 9723 w 10005"/>
                <a:gd name="connsiteY37" fmla="*/ 2476 h 9970"/>
                <a:gd name="connsiteX38" fmla="*/ 9995 w 10005"/>
                <a:gd name="connsiteY38" fmla="*/ 1534 h 9970"/>
                <a:gd name="connsiteX0" fmla="*/ 9990 w 10000"/>
                <a:gd name="connsiteY0" fmla="*/ 1554 h 10015"/>
                <a:gd name="connsiteX1" fmla="*/ 8025 w 10000"/>
                <a:gd name="connsiteY1" fmla="*/ 95 h 10015"/>
                <a:gd name="connsiteX2" fmla="*/ 6705 w 10000"/>
                <a:gd name="connsiteY2" fmla="*/ 58 h 10015"/>
                <a:gd name="connsiteX3" fmla="*/ 6445 w 10000"/>
                <a:gd name="connsiteY3" fmla="*/ 195 h 10015"/>
                <a:gd name="connsiteX4" fmla="*/ 5406 w 10000"/>
                <a:gd name="connsiteY4" fmla="*/ 743 h 10015"/>
                <a:gd name="connsiteX5" fmla="*/ 4627 w 10000"/>
                <a:gd name="connsiteY5" fmla="*/ 2389 h 10015"/>
                <a:gd name="connsiteX6" fmla="*/ 4783 w 10000"/>
                <a:gd name="connsiteY6" fmla="*/ 3706 h 10015"/>
                <a:gd name="connsiteX7" fmla="*/ 4602 w 10000"/>
                <a:gd name="connsiteY7" fmla="*/ 4529 h 10015"/>
                <a:gd name="connsiteX8" fmla="*/ 4316 w 10000"/>
                <a:gd name="connsiteY8" fmla="*/ 4995 h 10015"/>
                <a:gd name="connsiteX9" fmla="*/ 4316 w 10000"/>
                <a:gd name="connsiteY9" fmla="*/ 4995 h 10015"/>
                <a:gd name="connsiteX10" fmla="*/ 4264 w 10000"/>
                <a:gd name="connsiteY10" fmla="*/ 5023 h 10015"/>
                <a:gd name="connsiteX11" fmla="*/ 3692 w 10000"/>
                <a:gd name="connsiteY11" fmla="*/ 6202 h 10015"/>
                <a:gd name="connsiteX12" fmla="*/ 2654 w 10000"/>
                <a:gd name="connsiteY12" fmla="*/ 7327 h 10015"/>
                <a:gd name="connsiteX13" fmla="*/ 758 w 10000"/>
                <a:gd name="connsiteY13" fmla="*/ 7876 h 10015"/>
                <a:gd name="connsiteX14" fmla="*/ 550 w 10000"/>
                <a:gd name="connsiteY14" fmla="*/ 10015 h 10015"/>
                <a:gd name="connsiteX15" fmla="*/ 1250 w 10000"/>
                <a:gd name="connsiteY15" fmla="*/ 9110 h 10015"/>
                <a:gd name="connsiteX16" fmla="*/ 1952 w 10000"/>
                <a:gd name="connsiteY16" fmla="*/ 8644 h 10015"/>
                <a:gd name="connsiteX17" fmla="*/ 2576 w 10000"/>
                <a:gd name="connsiteY17" fmla="*/ 8149 h 10015"/>
                <a:gd name="connsiteX18" fmla="*/ 3484 w 10000"/>
                <a:gd name="connsiteY18" fmla="*/ 7547 h 10015"/>
                <a:gd name="connsiteX19" fmla="*/ 4316 w 10000"/>
                <a:gd name="connsiteY19" fmla="*/ 6943 h 10015"/>
                <a:gd name="connsiteX20" fmla="*/ 4602 w 10000"/>
                <a:gd name="connsiteY20" fmla="*/ 6586 h 10015"/>
                <a:gd name="connsiteX21" fmla="*/ 4290 w 10000"/>
                <a:gd name="connsiteY21" fmla="*/ 7190 h 10015"/>
                <a:gd name="connsiteX22" fmla="*/ 4887 w 10000"/>
                <a:gd name="connsiteY22" fmla="*/ 6750 h 10015"/>
                <a:gd name="connsiteX23" fmla="*/ 5406 w 10000"/>
                <a:gd name="connsiteY23" fmla="*/ 6805 h 10015"/>
                <a:gd name="connsiteX24" fmla="*/ 5406 w 10000"/>
                <a:gd name="connsiteY24" fmla="*/ 7683 h 10015"/>
                <a:gd name="connsiteX25" fmla="*/ 5406 w 10000"/>
                <a:gd name="connsiteY25" fmla="*/ 7957 h 10015"/>
                <a:gd name="connsiteX26" fmla="*/ 5666 w 10000"/>
                <a:gd name="connsiteY26" fmla="*/ 7079 h 10015"/>
                <a:gd name="connsiteX27" fmla="*/ 5094 w 10000"/>
                <a:gd name="connsiteY27" fmla="*/ 6257 h 10015"/>
                <a:gd name="connsiteX28" fmla="*/ 5250 w 10000"/>
                <a:gd name="connsiteY28" fmla="*/ 6147 h 10015"/>
                <a:gd name="connsiteX29" fmla="*/ 5250 w 10000"/>
                <a:gd name="connsiteY29" fmla="*/ 6147 h 10015"/>
                <a:gd name="connsiteX30" fmla="*/ 5354 w 10000"/>
                <a:gd name="connsiteY30" fmla="*/ 6147 h 10015"/>
                <a:gd name="connsiteX31" fmla="*/ 5328 w 10000"/>
                <a:gd name="connsiteY31" fmla="*/ 6120 h 10015"/>
                <a:gd name="connsiteX32" fmla="*/ 5328 w 10000"/>
                <a:gd name="connsiteY32" fmla="*/ 6120 h 10015"/>
                <a:gd name="connsiteX33" fmla="*/ 6316 w 10000"/>
                <a:gd name="connsiteY33" fmla="*/ 4721 h 10015"/>
                <a:gd name="connsiteX34" fmla="*/ 6887 w 10000"/>
                <a:gd name="connsiteY34" fmla="*/ 3788 h 10015"/>
                <a:gd name="connsiteX35" fmla="*/ 7588 w 10000"/>
                <a:gd name="connsiteY35" fmla="*/ 2718 h 10015"/>
                <a:gd name="connsiteX36" fmla="*/ 9328 w 10000"/>
                <a:gd name="connsiteY36" fmla="*/ 2691 h 10015"/>
                <a:gd name="connsiteX37" fmla="*/ 9718 w 10000"/>
                <a:gd name="connsiteY37" fmla="*/ 2498 h 10015"/>
                <a:gd name="connsiteX38" fmla="*/ 9990 w 10000"/>
                <a:gd name="connsiteY38" fmla="*/ 1554 h 10015"/>
                <a:gd name="connsiteX0" fmla="*/ 9990 w 10056"/>
                <a:gd name="connsiteY0" fmla="*/ 1554 h 10015"/>
                <a:gd name="connsiteX1" fmla="*/ 8025 w 10056"/>
                <a:gd name="connsiteY1" fmla="*/ 95 h 10015"/>
                <a:gd name="connsiteX2" fmla="*/ 6705 w 10056"/>
                <a:gd name="connsiteY2" fmla="*/ 58 h 10015"/>
                <a:gd name="connsiteX3" fmla="*/ 6445 w 10056"/>
                <a:gd name="connsiteY3" fmla="*/ 195 h 10015"/>
                <a:gd name="connsiteX4" fmla="*/ 5406 w 10056"/>
                <a:gd name="connsiteY4" fmla="*/ 743 h 10015"/>
                <a:gd name="connsiteX5" fmla="*/ 4627 w 10056"/>
                <a:gd name="connsiteY5" fmla="*/ 2389 h 10015"/>
                <a:gd name="connsiteX6" fmla="*/ 4783 w 10056"/>
                <a:gd name="connsiteY6" fmla="*/ 3706 h 10015"/>
                <a:gd name="connsiteX7" fmla="*/ 4602 w 10056"/>
                <a:gd name="connsiteY7" fmla="*/ 4529 h 10015"/>
                <a:gd name="connsiteX8" fmla="*/ 4316 w 10056"/>
                <a:gd name="connsiteY8" fmla="*/ 4995 h 10015"/>
                <a:gd name="connsiteX9" fmla="*/ 4316 w 10056"/>
                <a:gd name="connsiteY9" fmla="*/ 4995 h 10015"/>
                <a:gd name="connsiteX10" fmla="*/ 4264 w 10056"/>
                <a:gd name="connsiteY10" fmla="*/ 5023 h 10015"/>
                <a:gd name="connsiteX11" fmla="*/ 3692 w 10056"/>
                <a:gd name="connsiteY11" fmla="*/ 6202 h 10015"/>
                <a:gd name="connsiteX12" fmla="*/ 2654 w 10056"/>
                <a:gd name="connsiteY12" fmla="*/ 7327 h 10015"/>
                <a:gd name="connsiteX13" fmla="*/ 758 w 10056"/>
                <a:gd name="connsiteY13" fmla="*/ 7876 h 10015"/>
                <a:gd name="connsiteX14" fmla="*/ 550 w 10056"/>
                <a:gd name="connsiteY14" fmla="*/ 10015 h 10015"/>
                <a:gd name="connsiteX15" fmla="*/ 1250 w 10056"/>
                <a:gd name="connsiteY15" fmla="*/ 9110 h 10015"/>
                <a:gd name="connsiteX16" fmla="*/ 1952 w 10056"/>
                <a:gd name="connsiteY16" fmla="*/ 8644 h 10015"/>
                <a:gd name="connsiteX17" fmla="*/ 2576 w 10056"/>
                <a:gd name="connsiteY17" fmla="*/ 8149 h 10015"/>
                <a:gd name="connsiteX18" fmla="*/ 3484 w 10056"/>
                <a:gd name="connsiteY18" fmla="*/ 7547 h 10015"/>
                <a:gd name="connsiteX19" fmla="*/ 4316 w 10056"/>
                <a:gd name="connsiteY19" fmla="*/ 6943 h 10015"/>
                <a:gd name="connsiteX20" fmla="*/ 4602 w 10056"/>
                <a:gd name="connsiteY20" fmla="*/ 6586 h 10015"/>
                <a:gd name="connsiteX21" fmla="*/ 4290 w 10056"/>
                <a:gd name="connsiteY21" fmla="*/ 7190 h 10015"/>
                <a:gd name="connsiteX22" fmla="*/ 4887 w 10056"/>
                <a:gd name="connsiteY22" fmla="*/ 6750 h 10015"/>
                <a:gd name="connsiteX23" fmla="*/ 5406 w 10056"/>
                <a:gd name="connsiteY23" fmla="*/ 6805 h 10015"/>
                <a:gd name="connsiteX24" fmla="*/ 5406 w 10056"/>
                <a:gd name="connsiteY24" fmla="*/ 7683 h 10015"/>
                <a:gd name="connsiteX25" fmla="*/ 5406 w 10056"/>
                <a:gd name="connsiteY25" fmla="*/ 7957 h 10015"/>
                <a:gd name="connsiteX26" fmla="*/ 5666 w 10056"/>
                <a:gd name="connsiteY26" fmla="*/ 7079 h 10015"/>
                <a:gd name="connsiteX27" fmla="*/ 5094 w 10056"/>
                <a:gd name="connsiteY27" fmla="*/ 6257 h 10015"/>
                <a:gd name="connsiteX28" fmla="*/ 5250 w 10056"/>
                <a:gd name="connsiteY28" fmla="*/ 6147 h 10015"/>
                <a:gd name="connsiteX29" fmla="*/ 5250 w 10056"/>
                <a:gd name="connsiteY29" fmla="*/ 6147 h 10015"/>
                <a:gd name="connsiteX30" fmla="*/ 5354 w 10056"/>
                <a:gd name="connsiteY30" fmla="*/ 6147 h 10015"/>
                <a:gd name="connsiteX31" fmla="*/ 5328 w 10056"/>
                <a:gd name="connsiteY31" fmla="*/ 6120 h 10015"/>
                <a:gd name="connsiteX32" fmla="*/ 5328 w 10056"/>
                <a:gd name="connsiteY32" fmla="*/ 6120 h 10015"/>
                <a:gd name="connsiteX33" fmla="*/ 6316 w 10056"/>
                <a:gd name="connsiteY33" fmla="*/ 4721 h 10015"/>
                <a:gd name="connsiteX34" fmla="*/ 6887 w 10056"/>
                <a:gd name="connsiteY34" fmla="*/ 3788 h 10015"/>
                <a:gd name="connsiteX35" fmla="*/ 7588 w 10056"/>
                <a:gd name="connsiteY35" fmla="*/ 2718 h 10015"/>
                <a:gd name="connsiteX36" fmla="*/ 9328 w 10056"/>
                <a:gd name="connsiteY36" fmla="*/ 2691 h 10015"/>
                <a:gd name="connsiteX37" fmla="*/ 9957 w 10056"/>
                <a:gd name="connsiteY37" fmla="*/ 2567 h 10015"/>
                <a:gd name="connsiteX38" fmla="*/ 9990 w 10056"/>
                <a:gd name="connsiteY38" fmla="*/ 1554 h 10015"/>
                <a:gd name="connsiteX0" fmla="*/ 9598 w 9992"/>
                <a:gd name="connsiteY0" fmla="*/ 1092 h 10013"/>
                <a:gd name="connsiteX1" fmla="*/ 8025 w 9992"/>
                <a:gd name="connsiteY1" fmla="*/ 93 h 10013"/>
                <a:gd name="connsiteX2" fmla="*/ 6705 w 9992"/>
                <a:gd name="connsiteY2" fmla="*/ 56 h 10013"/>
                <a:gd name="connsiteX3" fmla="*/ 6445 w 9992"/>
                <a:gd name="connsiteY3" fmla="*/ 193 h 10013"/>
                <a:gd name="connsiteX4" fmla="*/ 5406 w 9992"/>
                <a:gd name="connsiteY4" fmla="*/ 741 h 10013"/>
                <a:gd name="connsiteX5" fmla="*/ 4627 w 9992"/>
                <a:gd name="connsiteY5" fmla="*/ 2387 h 10013"/>
                <a:gd name="connsiteX6" fmla="*/ 4783 w 9992"/>
                <a:gd name="connsiteY6" fmla="*/ 3704 h 10013"/>
                <a:gd name="connsiteX7" fmla="*/ 4602 w 9992"/>
                <a:gd name="connsiteY7" fmla="*/ 4527 h 10013"/>
                <a:gd name="connsiteX8" fmla="*/ 4316 w 9992"/>
                <a:gd name="connsiteY8" fmla="*/ 4993 h 10013"/>
                <a:gd name="connsiteX9" fmla="*/ 4316 w 9992"/>
                <a:gd name="connsiteY9" fmla="*/ 4993 h 10013"/>
                <a:gd name="connsiteX10" fmla="*/ 4264 w 9992"/>
                <a:gd name="connsiteY10" fmla="*/ 5021 h 10013"/>
                <a:gd name="connsiteX11" fmla="*/ 3692 w 9992"/>
                <a:gd name="connsiteY11" fmla="*/ 6200 h 10013"/>
                <a:gd name="connsiteX12" fmla="*/ 2654 w 9992"/>
                <a:gd name="connsiteY12" fmla="*/ 7325 h 10013"/>
                <a:gd name="connsiteX13" fmla="*/ 758 w 9992"/>
                <a:gd name="connsiteY13" fmla="*/ 7874 h 10013"/>
                <a:gd name="connsiteX14" fmla="*/ 550 w 9992"/>
                <a:gd name="connsiteY14" fmla="*/ 10013 h 10013"/>
                <a:gd name="connsiteX15" fmla="*/ 1250 w 9992"/>
                <a:gd name="connsiteY15" fmla="*/ 9108 h 10013"/>
                <a:gd name="connsiteX16" fmla="*/ 1952 w 9992"/>
                <a:gd name="connsiteY16" fmla="*/ 8642 h 10013"/>
                <a:gd name="connsiteX17" fmla="*/ 2576 w 9992"/>
                <a:gd name="connsiteY17" fmla="*/ 8147 h 10013"/>
                <a:gd name="connsiteX18" fmla="*/ 3484 w 9992"/>
                <a:gd name="connsiteY18" fmla="*/ 7545 h 10013"/>
                <a:gd name="connsiteX19" fmla="*/ 4316 w 9992"/>
                <a:gd name="connsiteY19" fmla="*/ 6941 h 10013"/>
                <a:gd name="connsiteX20" fmla="*/ 4602 w 9992"/>
                <a:gd name="connsiteY20" fmla="*/ 6584 h 10013"/>
                <a:gd name="connsiteX21" fmla="*/ 4290 w 9992"/>
                <a:gd name="connsiteY21" fmla="*/ 7188 h 10013"/>
                <a:gd name="connsiteX22" fmla="*/ 4887 w 9992"/>
                <a:gd name="connsiteY22" fmla="*/ 6748 h 10013"/>
                <a:gd name="connsiteX23" fmla="*/ 5406 w 9992"/>
                <a:gd name="connsiteY23" fmla="*/ 6803 h 10013"/>
                <a:gd name="connsiteX24" fmla="*/ 5406 w 9992"/>
                <a:gd name="connsiteY24" fmla="*/ 7681 h 10013"/>
                <a:gd name="connsiteX25" fmla="*/ 5406 w 9992"/>
                <a:gd name="connsiteY25" fmla="*/ 7955 h 10013"/>
                <a:gd name="connsiteX26" fmla="*/ 5666 w 9992"/>
                <a:gd name="connsiteY26" fmla="*/ 7077 h 10013"/>
                <a:gd name="connsiteX27" fmla="*/ 5094 w 9992"/>
                <a:gd name="connsiteY27" fmla="*/ 6255 h 10013"/>
                <a:gd name="connsiteX28" fmla="*/ 5250 w 9992"/>
                <a:gd name="connsiteY28" fmla="*/ 6145 h 10013"/>
                <a:gd name="connsiteX29" fmla="*/ 5250 w 9992"/>
                <a:gd name="connsiteY29" fmla="*/ 6145 h 10013"/>
                <a:gd name="connsiteX30" fmla="*/ 5354 w 9992"/>
                <a:gd name="connsiteY30" fmla="*/ 6145 h 10013"/>
                <a:gd name="connsiteX31" fmla="*/ 5328 w 9992"/>
                <a:gd name="connsiteY31" fmla="*/ 6118 h 10013"/>
                <a:gd name="connsiteX32" fmla="*/ 5328 w 9992"/>
                <a:gd name="connsiteY32" fmla="*/ 6118 h 10013"/>
                <a:gd name="connsiteX33" fmla="*/ 6316 w 9992"/>
                <a:gd name="connsiteY33" fmla="*/ 4719 h 10013"/>
                <a:gd name="connsiteX34" fmla="*/ 6887 w 9992"/>
                <a:gd name="connsiteY34" fmla="*/ 3786 h 10013"/>
                <a:gd name="connsiteX35" fmla="*/ 7588 w 9992"/>
                <a:gd name="connsiteY35" fmla="*/ 2716 h 10013"/>
                <a:gd name="connsiteX36" fmla="*/ 9328 w 9992"/>
                <a:gd name="connsiteY36" fmla="*/ 2689 h 10013"/>
                <a:gd name="connsiteX37" fmla="*/ 9957 w 9992"/>
                <a:gd name="connsiteY37" fmla="*/ 2565 h 10013"/>
                <a:gd name="connsiteX38" fmla="*/ 9598 w 9992"/>
                <a:gd name="connsiteY38" fmla="*/ 1092 h 10013"/>
                <a:gd name="connsiteX0" fmla="*/ 9606 w 10166"/>
                <a:gd name="connsiteY0" fmla="*/ 1091 h 10000"/>
                <a:gd name="connsiteX1" fmla="*/ 8031 w 10166"/>
                <a:gd name="connsiteY1" fmla="*/ 93 h 10000"/>
                <a:gd name="connsiteX2" fmla="*/ 6710 w 10166"/>
                <a:gd name="connsiteY2" fmla="*/ 56 h 10000"/>
                <a:gd name="connsiteX3" fmla="*/ 6450 w 10166"/>
                <a:gd name="connsiteY3" fmla="*/ 193 h 10000"/>
                <a:gd name="connsiteX4" fmla="*/ 5410 w 10166"/>
                <a:gd name="connsiteY4" fmla="*/ 740 h 10000"/>
                <a:gd name="connsiteX5" fmla="*/ 4631 w 10166"/>
                <a:gd name="connsiteY5" fmla="*/ 2384 h 10000"/>
                <a:gd name="connsiteX6" fmla="*/ 4787 w 10166"/>
                <a:gd name="connsiteY6" fmla="*/ 3699 h 10000"/>
                <a:gd name="connsiteX7" fmla="*/ 4606 w 10166"/>
                <a:gd name="connsiteY7" fmla="*/ 4521 h 10000"/>
                <a:gd name="connsiteX8" fmla="*/ 4319 w 10166"/>
                <a:gd name="connsiteY8" fmla="*/ 4987 h 10000"/>
                <a:gd name="connsiteX9" fmla="*/ 4319 w 10166"/>
                <a:gd name="connsiteY9" fmla="*/ 4987 h 10000"/>
                <a:gd name="connsiteX10" fmla="*/ 4267 w 10166"/>
                <a:gd name="connsiteY10" fmla="*/ 5014 h 10000"/>
                <a:gd name="connsiteX11" fmla="*/ 3695 w 10166"/>
                <a:gd name="connsiteY11" fmla="*/ 6192 h 10000"/>
                <a:gd name="connsiteX12" fmla="*/ 2656 w 10166"/>
                <a:gd name="connsiteY12" fmla="*/ 7315 h 10000"/>
                <a:gd name="connsiteX13" fmla="*/ 759 w 10166"/>
                <a:gd name="connsiteY13" fmla="*/ 7864 h 10000"/>
                <a:gd name="connsiteX14" fmla="*/ 550 w 10166"/>
                <a:gd name="connsiteY14" fmla="*/ 10000 h 10000"/>
                <a:gd name="connsiteX15" fmla="*/ 1251 w 10166"/>
                <a:gd name="connsiteY15" fmla="*/ 9096 h 10000"/>
                <a:gd name="connsiteX16" fmla="*/ 1954 w 10166"/>
                <a:gd name="connsiteY16" fmla="*/ 8631 h 10000"/>
                <a:gd name="connsiteX17" fmla="*/ 2578 w 10166"/>
                <a:gd name="connsiteY17" fmla="*/ 8136 h 10000"/>
                <a:gd name="connsiteX18" fmla="*/ 3487 w 10166"/>
                <a:gd name="connsiteY18" fmla="*/ 7535 h 10000"/>
                <a:gd name="connsiteX19" fmla="*/ 4319 w 10166"/>
                <a:gd name="connsiteY19" fmla="*/ 6932 h 10000"/>
                <a:gd name="connsiteX20" fmla="*/ 4606 w 10166"/>
                <a:gd name="connsiteY20" fmla="*/ 6575 h 10000"/>
                <a:gd name="connsiteX21" fmla="*/ 4293 w 10166"/>
                <a:gd name="connsiteY21" fmla="*/ 7179 h 10000"/>
                <a:gd name="connsiteX22" fmla="*/ 4891 w 10166"/>
                <a:gd name="connsiteY22" fmla="*/ 6739 h 10000"/>
                <a:gd name="connsiteX23" fmla="*/ 5410 w 10166"/>
                <a:gd name="connsiteY23" fmla="*/ 6794 h 10000"/>
                <a:gd name="connsiteX24" fmla="*/ 5410 w 10166"/>
                <a:gd name="connsiteY24" fmla="*/ 7671 h 10000"/>
                <a:gd name="connsiteX25" fmla="*/ 5410 w 10166"/>
                <a:gd name="connsiteY25" fmla="*/ 7945 h 10000"/>
                <a:gd name="connsiteX26" fmla="*/ 5671 w 10166"/>
                <a:gd name="connsiteY26" fmla="*/ 7068 h 10000"/>
                <a:gd name="connsiteX27" fmla="*/ 5098 w 10166"/>
                <a:gd name="connsiteY27" fmla="*/ 6247 h 10000"/>
                <a:gd name="connsiteX28" fmla="*/ 5254 w 10166"/>
                <a:gd name="connsiteY28" fmla="*/ 6137 h 10000"/>
                <a:gd name="connsiteX29" fmla="*/ 5254 w 10166"/>
                <a:gd name="connsiteY29" fmla="*/ 6137 h 10000"/>
                <a:gd name="connsiteX30" fmla="*/ 5358 w 10166"/>
                <a:gd name="connsiteY30" fmla="*/ 6137 h 10000"/>
                <a:gd name="connsiteX31" fmla="*/ 5332 w 10166"/>
                <a:gd name="connsiteY31" fmla="*/ 6110 h 10000"/>
                <a:gd name="connsiteX32" fmla="*/ 5332 w 10166"/>
                <a:gd name="connsiteY32" fmla="*/ 6110 h 10000"/>
                <a:gd name="connsiteX33" fmla="*/ 6321 w 10166"/>
                <a:gd name="connsiteY33" fmla="*/ 4713 h 10000"/>
                <a:gd name="connsiteX34" fmla="*/ 6893 w 10166"/>
                <a:gd name="connsiteY34" fmla="*/ 3781 h 10000"/>
                <a:gd name="connsiteX35" fmla="*/ 7594 w 10166"/>
                <a:gd name="connsiteY35" fmla="*/ 2712 h 10000"/>
                <a:gd name="connsiteX36" fmla="*/ 9335 w 10166"/>
                <a:gd name="connsiteY36" fmla="*/ 2686 h 10000"/>
                <a:gd name="connsiteX37" fmla="*/ 10139 w 10166"/>
                <a:gd name="connsiteY37" fmla="*/ 2447 h 10000"/>
                <a:gd name="connsiteX38" fmla="*/ 9606 w 10166"/>
                <a:gd name="connsiteY38" fmla="*/ 1091 h 10000"/>
                <a:gd name="connsiteX0" fmla="*/ 9628 w 10167"/>
                <a:gd name="connsiteY0" fmla="*/ 1066 h 9998"/>
                <a:gd name="connsiteX1" fmla="*/ 8031 w 10167"/>
                <a:gd name="connsiteY1" fmla="*/ 91 h 9998"/>
                <a:gd name="connsiteX2" fmla="*/ 6710 w 10167"/>
                <a:gd name="connsiteY2" fmla="*/ 54 h 9998"/>
                <a:gd name="connsiteX3" fmla="*/ 6450 w 10167"/>
                <a:gd name="connsiteY3" fmla="*/ 191 h 9998"/>
                <a:gd name="connsiteX4" fmla="*/ 5410 w 10167"/>
                <a:gd name="connsiteY4" fmla="*/ 738 h 9998"/>
                <a:gd name="connsiteX5" fmla="*/ 4631 w 10167"/>
                <a:gd name="connsiteY5" fmla="*/ 2382 h 9998"/>
                <a:gd name="connsiteX6" fmla="*/ 4787 w 10167"/>
                <a:gd name="connsiteY6" fmla="*/ 3697 h 9998"/>
                <a:gd name="connsiteX7" fmla="*/ 4606 w 10167"/>
                <a:gd name="connsiteY7" fmla="*/ 4519 h 9998"/>
                <a:gd name="connsiteX8" fmla="*/ 4319 w 10167"/>
                <a:gd name="connsiteY8" fmla="*/ 4985 h 9998"/>
                <a:gd name="connsiteX9" fmla="*/ 4319 w 10167"/>
                <a:gd name="connsiteY9" fmla="*/ 4985 h 9998"/>
                <a:gd name="connsiteX10" fmla="*/ 4267 w 10167"/>
                <a:gd name="connsiteY10" fmla="*/ 5012 h 9998"/>
                <a:gd name="connsiteX11" fmla="*/ 3695 w 10167"/>
                <a:gd name="connsiteY11" fmla="*/ 6190 h 9998"/>
                <a:gd name="connsiteX12" fmla="*/ 2656 w 10167"/>
                <a:gd name="connsiteY12" fmla="*/ 7313 h 9998"/>
                <a:gd name="connsiteX13" fmla="*/ 759 w 10167"/>
                <a:gd name="connsiteY13" fmla="*/ 7862 h 9998"/>
                <a:gd name="connsiteX14" fmla="*/ 550 w 10167"/>
                <a:gd name="connsiteY14" fmla="*/ 9998 h 9998"/>
                <a:gd name="connsiteX15" fmla="*/ 1251 w 10167"/>
                <a:gd name="connsiteY15" fmla="*/ 9094 h 9998"/>
                <a:gd name="connsiteX16" fmla="*/ 1954 w 10167"/>
                <a:gd name="connsiteY16" fmla="*/ 8629 h 9998"/>
                <a:gd name="connsiteX17" fmla="*/ 2578 w 10167"/>
                <a:gd name="connsiteY17" fmla="*/ 8134 h 9998"/>
                <a:gd name="connsiteX18" fmla="*/ 3487 w 10167"/>
                <a:gd name="connsiteY18" fmla="*/ 7533 h 9998"/>
                <a:gd name="connsiteX19" fmla="*/ 4319 w 10167"/>
                <a:gd name="connsiteY19" fmla="*/ 6930 h 9998"/>
                <a:gd name="connsiteX20" fmla="*/ 4606 w 10167"/>
                <a:gd name="connsiteY20" fmla="*/ 6573 h 9998"/>
                <a:gd name="connsiteX21" fmla="*/ 4293 w 10167"/>
                <a:gd name="connsiteY21" fmla="*/ 7177 h 9998"/>
                <a:gd name="connsiteX22" fmla="*/ 4891 w 10167"/>
                <a:gd name="connsiteY22" fmla="*/ 6737 h 9998"/>
                <a:gd name="connsiteX23" fmla="*/ 5410 w 10167"/>
                <a:gd name="connsiteY23" fmla="*/ 6792 h 9998"/>
                <a:gd name="connsiteX24" fmla="*/ 5410 w 10167"/>
                <a:gd name="connsiteY24" fmla="*/ 7669 h 9998"/>
                <a:gd name="connsiteX25" fmla="*/ 5410 w 10167"/>
                <a:gd name="connsiteY25" fmla="*/ 7943 h 9998"/>
                <a:gd name="connsiteX26" fmla="*/ 5671 w 10167"/>
                <a:gd name="connsiteY26" fmla="*/ 7066 h 9998"/>
                <a:gd name="connsiteX27" fmla="*/ 5098 w 10167"/>
                <a:gd name="connsiteY27" fmla="*/ 6245 h 9998"/>
                <a:gd name="connsiteX28" fmla="*/ 5254 w 10167"/>
                <a:gd name="connsiteY28" fmla="*/ 6135 h 9998"/>
                <a:gd name="connsiteX29" fmla="*/ 5254 w 10167"/>
                <a:gd name="connsiteY29" fmla="*/ 6135 h 9998"/>
                <a:gd name="connsiteX30" fmla="*/ 5358 w 10167"/>
                <a:gd name="connsiteY30" fmla="*/ 6135 h 9998"/>
                <a:gd name="connsiteX31" fmla="*/ 5332 w 10167"/>
                <a:gd name="connsiteY31" fmla="*/ 6108 h 9998"/>
                <a:gd name="connsiteX32" fmla="*/ 5332 w 10167"/>
                <a:gd name="connsiteY32" fmla="*/ 6108 h 9998"/>
                <a:gd name="connsiteX33" fmla="*/ 6321 w 10167"/>
                <a:gd name="connsiteY33" fmla="*/ 4711 h 9998"/>
                <a:gd name="connsiteX34" fmla="*/ 6893 w 10167"/>
                <a:gd name="connsiteY34" fmla="*/ 3779 h 9998"/>
                <a:gd name="connsiteX35" fmla="*/ 7594 w 10167"/>
                <a:gd name="connsiteY35" fmla="*/ 2710 h 9998"/>
                <a:gd name="connsiteX36" fmla="*/ 9335 w 10167"/>
                <a:gd name="connsiteY36" fmla="*/ 2684 h 9998"/>
                <a:gd name="connsiteX37" fmla="*/ 10139 w 10167"/>
                <a:gd name="connsiteY37" fmla="*/ 2445 h 9998"/>
                <a:gd name="connsiteX38" fmla="*/ 9628 w 10167"/>
                <a:gd name="connsiteY38" fmla="*/ 1066 h 9998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69 w 10077"/>
                <a:gd name="connsiteY35" fmla="*/ 2711 h 10000"/>
                <a:gd name="connsiteX36" fmla="*/ 9182 w 10077"/>
                <a:gd name="connsiteY36" fmla="*/ 2685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69 w 10077"/>
                <a:gd name="connsiteY35" fmla="*/ 2711 h 10000"/>
                <a:gd name="connsiteX36" fmla="*/ 9102 w 10077"/>
                <a:gd name="connsiteY36" fmla="*/ 2788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85 w 10077"/>
                <a:gd name="connsiteY35" fmla="*/ 2814 h 10000"/>
                <a:gd name="connsiteX36" fmla="*/ 9102 w 10077"/>
                <a:gd name="connsiteY36" fmla="*/ 2788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10100 w 10123"/>
                <a:gd name="connsiteY37" fmla="*/ 2755 h 10000"/>
                <a:gd name="connsiteX38" fmla="*/ 9470 w 10123"/>
                <a:gd name="connsiteY38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9171 w 10123"/>
                <a:gd name="connsiteY37" fmla="*/ 2887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9573 w 10123"/>
                <a:gd name="connsiteY37" fmla="*/ 2870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8781 w 10123"/>
                <a:gd name="connsiteY36" fmla="*/ 2754 h 10000"/>
                <a:gd name="connsiteX37" fmla="*/ 9573 w 10123"/>
                <a:gd name="connsiteY37" fmla="*/ 2870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23" h="10000">
                  <a:moveTo>
                    <a:pt x="9470" y="1066"/>
                  </a:moveTo>
                  <a:cubicBezTo>
                    <a:pt x="9342" y="873"/>
                    <a:pt x="8377" y="260"/>
                    <a:pt x="7899" y="91"/>
                  </a:cubicBezTo>
                  <a:cubicBezTo>
                    <a:pt x="7421" y="-78"/>
                    <a:pt x="6859" y="37"/>
                    <a:pt x="6600" y="54"/>
                  </a:cubicBezTo>
                  <a:cubicBezTo>
                    <a:pt x="6341" y="71"/>
                    <a:pt x="6472" y="135"/>
                    <a:pt x="6344" y="191"/>
                  </a:cubicBezTo>
                  <a:cubicBezTo>
                    <a:pt x="6217" y="218"/>
                    <a:pt x="5757" y="436"/>
                    <a:pt x="5321" y="738"/>
                  </a:cubicBezTo>
                  <a:cubicBezTo>
                    <a:pt x="4862" y="1040"/>
                    <a:pt x="4683" y="1943"/>
                    <a:pt x="4555" y="2382"/>
                  </a:cubicBezTo>
                  <a:cubicBezTo>
                    <a:pt x="4402" y="2794"/>
                    <a:pt x="4555" y="3233"/>
                    <a:pt x="4708" y="3698"/>
                  </a:cubicBezTo>
                  <a:cubicBezTo>
                    <a:pt x="4887" y="4164"/>
                    <a:pt x="4734" y="4355"/>
                    <a:pt x="4530" y="4520"/>
                  </a:cubicBezTo>
                  <a:cubicBezTo>
                    <a:pt x="4530" y="4520"/>
                    <a:pt x="4377" y="4766"/>
                    <a:pt x="4248" y="4986"/>
                  </a:cubicBezTo>
                  <a:lnTo>
                    <a:pt x="4248" y="4986"/>
                  </a:lnTo>
                  <a:cubicBezTo>
                    <a:pt x="4222" y="4986"/>
                    <a:pt x="4222" y="5013"/>
                    <a:pt x="4197" y="5013"/>
                  </a:cubicBezTo>
                  <a:cubicBezTo>
                    <a:pt x="4018" y="5177"/>
                    <a:pt x="3609" y="5917"/>
                    <a:pt x="3634" y="6191"/>
                  </a:cubicBezTo>
                  <a:cubicBezTo>
                    <a:pt x="3634" y="6465"/>
                    <a:pt x="3148" y="6931"/>
                    <a:pt x="2612" y="7314"/>
                  </a:cubicBezTo>
                  <a:cubicBezTo>
                    <a:pt x="2101" y="7726"/>
                    <a:pt x="2126" y="7671"/>
                    <a:pt x="747" y="7864"/>
                  </a:cubicBezTo>
                  <a:cubicBezTo>
                    <a:pt x="-661" y="8055"/>
                    <a:pt x="311" y="9973"/>
                    <a:pt x="541" y="10000"/>
                  </a:cubicBezTo>
                  <a:cubicBezTo>
                    <a:pt x="772" y="10027"/>
                    <a:pt x="1282" y="8685"/>
                    <a:pt x="1230" y="9096"/>
                  </a:cubicBezTo>
                  <a:cubicBezTo>
                    <a:pt x="1179" y="9535"/>
                    <a:pt x="1588" y="9096"/>
                    <a:pt x="1922" y="8631"/>
                  </a:cubicBezTo>
                  <a:cubicBezTo>
                    <a:pt x="2101" y="8383"/>
                    <a:pt x="2280" y="8246"/>
                    <a:pt x="2536" y="8136"/>
                  </a:cubicBezTo>
                  <a:cubicBezTo>
                    <a:pt x="2791" y="8028"/>
                    <a:pt x="3071" y="7726"/>
                    <a:pt x="3430" y="7535"/>
                  </a:cubicBezTo>
                  <a:cubicBezTo>
                    <a:pt x="4095" y="7149"/>
                    <a:pt x="4043" y="7013"/>
                    <a:pt x="4248" y="6931"/>
                  </a:cubicBezTo>
                  <a:cubicBezTo>
                    <a:pt x="4454" y="6820"/>
                    <a:pt x="4479" y="6547"/>
                    <a:pt x="4530" y="6574"/>
                  </a:cubicBezTo>
                  <a:cubicBezTo>
                    <a:pt x="4581" y="6601"/>
                    <a:pt x="4505" y="7013"/>
                    <a:pt x="4222" y="7178"/>
                  </a:cubicBezTo>
                  <a:cubicBezTo>
                    <a:pt x="3941" y="7341"/>
                    <a:pt x="4505" y="7149"/>
                    <a:pt x="4811" y="6738"/>
                  </a:cubicBezTo>
                  <a:cubicBezTo>
                    <a:pt x="5117" y="6300"/>
                    <a:pt x="5193" y="6657"/>
                    <a:pt x="5321" y="6793"/>
                  </a:cubicBezTo>
                  <a:cubicBezTo>
                    <a:pt x="5449" y="6931"/>
                    <a:pt x="5500" y="7206"/>
                    <a:pt x="5321" y="7671"/>
                  </a:cubicBezTo>
                  <a:cubicBezTo>
                    <a:pt x="5168" y="8136"/>
                    <a:pt x="5117" y="8028"/>
                    <a:pt x="5321" y="7945"/>
                  </a:cubicBezTo>
                  <a:cubicBezTo>
                    <a:pt x="5526" y="7864"/>
                    <a:pt x="5603" y="7260"/>
                    <a:pt x="5578" y="7067"/>
                  </a:cubicBezTo>
                  <a:cubicBezTo>
                    <a:pt x="5578" y="6876"/>
                    <a:pt x="5168" y="6438"/>
                    <a:pt x="5014" y="6246"/>
                  </a:cubicBezTo>
                  <a:cubicBezTo>
                    <a:pt x="4938" y="6136"/>
                    <a:pt x="5040" y="6109"/>
                    <a:pt x="5168" y="6136"/>
                  </a:cubicBezTo>
                  <a:lnTo>
                    <a:pt x="5168" y="6136"/>
                  </a:lnTo>
                  <a:lnTo>
                    <a:pt x="5270" y="6136"/>
                  </a:lnTo>
                  <a:cubicBezTo>
                    <a:pt x="5261" y="6127"/>
                    <a:pt x="5253" y="6118"/>
                    <a:pt x="5244" y="6109"/>
                  </a:cubicBezTo>
                  <a:lnTo>
                    <a:pt x="5244" y="6109"/>
                  </a:lnTo>
                  <a:cubicBezTo>
                    <a:pt x="5244" y="6109"/>
                    <a:pt x="6089" y="5314"/>
                    <a:pt x="6217" y="4712"/>
                  </a:cubicBezTo>
                  <a:cubicBezTo>
                    <a:pt x="6318" y="4136"/>
                    <a:pt x="6574" y="3999"/>
                    <a:pt x="6780" y="3780"/>
                  </a:cubicBezTo>
                  <a:cubicBezTo>
                    <a:pt x="6958" y="3561"/>
                    <a:pt x="7152" y="2985"/>
                    <a:pt x="7485" y="2814"/>
                  </a:cubicBezTo>
                  <a:cubicBezTo>
                    <a:pt x="7818" y="2643"/>
                    <a:pt x="8503" y="2759"/>
                    <a:pt x="8781" y="2754"/>
                  </a:cubicBezTo>
                  <a:cubicBezTo>
                    <a:pt x="9059" y="2749"/>
                    <a:pt x="9407" y="2876"/>
                    <a:pt x="9573" y="2870"/>
                  </a:cubicBezTo>
                  <a:cubicBezTo>
                    <a:pt x="9739" y="2865"/>
                    <a:pt x="10048" y="3041"/>
                    <a:pt x="10100" y="2755"/>
                  </a:cubicBezTo>
                  <a:cubicBezTo>
                    <a:pt x="10265" y="2609"/>
                    <a:pt x="9521" y="1174"/>
                    <a:pt x="9470" y="1066"/>
                  </a:cubicBezTo>
                  <a:close/>
                </a:path>
              </a:pathLst>
            </a:custGeom>
            <a:solidFill>
              <a:srgbClr val="C69C6D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38">
              <a:extLst>
                <a:ext uri="{FF2B5EF4-FFF2-40B4-BE49-F238E27FC236}">
                  <a16:creationId xmlns:a16="http://schemas.microsoft.com/office/drawing/2014/main" id="{7998285E-668B-420C-8E2E-54FD8C21E3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0713" y="1789113"/>
              <a:ext cx="236537" cy="307975"/>
            </a:xfrm>
            <a:custGeom>
              <a:avLst/>
              <a:gdLst>
                <a:gd name="T0" fmla="*/ 43 w 63"/>
                <a:gd name="T1" fmla="*/ 82 h 82"/>
                <a:gd name="T2" fmla="*/ 31 w 63"/>
                <a:gd name="T3" fmla="*/ 62 h 82"/>
                <a:gd name="T4" fmla="*/ 5 w 63"/>
                <a:gd name="T5" fmla="*/ 23 h 82"/>
                <a:gd name="T6" fmla="*/ 0 w 63"/>
                <a:gd name="T7" fmla="*/ 0 h 82"/>
                <a:gd name="T8" fmla="*/ 19 w 63"/>
                <a:gd name="T9" fmla="*/ 25 h 82"/>
                <a:gd name="T10" fmla="*/ 42 w 63"/>
                <a:gd name="T11" fmla="*/ 35 h 82"/>
                <a:gd name="T12" fmla="*/ 44 w 63"/>
                <a:gd name="T13" fmla="*/ 57 h 82"/>
                <a:gd name="T14" fmla="*/ 63 w 63"/>
                <a:gd name="T15" fmla="*/ 69 h 82"/>
                <a:gd name="T16" fmla="*/ 55 w 63"/>
                <a:gd name="T17" fmla="*/ 76 h 82"/>
                <a:gd name="T18" fmla="*/ 43 w 63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82">
                  <a:moveTo>
                    <a:pt x="43" y="82"/>
                  </a:moveTo>
                  <a:cubicBezTo>
                    <a:pt x="42" y="80"/>
                    <a:pt x="45" y="81"/>
                    <a:pt x="31" y="62"/>
                  </a:cubicBezTo>
                  <a:cubicBezTo>
                    <a:pt x="17" y="43"/>
                    <a:pt x="8" y="29"/>
                    <a:pt x="5" y="23"/>
                  </a:cubicBezTo>
                  <a:cubicBezTo>
                    <a:pt x="2" y="18"/>
                    <a:pt x="0" y="0"/>
                    <a:pt x="0" y="0"/>
                  </a:cubicBezTo>
                  <a:cubicBezTo>
                    <a:pt x="0" y="0"/>
                    <a:pt x="8" y="22"/>
                    <a:pt x="19" y="25"/>
                  </a:cubicBezTo>
                  <a:cubicBezTo>
                    <a:pt x="30" y="29"/>
                    <a:pt x="42" y="28"/>
                    <a:pt x="42" y="35"/>
                  </a:cubicBezTo>
                  <a:cubicBezTo>
                    <a:pt x="43" y="43"/>
                    <a:pt x="39" y="52"/>
                    <a:pt x="44" y="57"/>
                  </a:cubicBezTo>
                  <a:cubicBezTo>
                    <a:pt x="50" y="61"/>
                    <a:pt x="63" y="69"/>
                    <a:pt x="63" y="69"/>
                  </a:cubicBezTo>
                  <a:cubicBezTo>
                    <a:pt x="63" y="69"/>
                    <a:pt x="59" y="75"/>
                    <a:pt x="55" y="76"/>
                  </a:cubicBezTo>
                  <a:cubicBezTo>
                    <a:pt x="50" y="78"/>
                    <a:pt x="43" y="82"/>
                    <a:pt x="43" y="82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139">
              <a:extLst>
                <a:ext uri="{FF2B5EF4-FFF2-40B4-BE49-F238E27FC236}">
                  <a16:creationId xmlns:a16="http://schemas.microsoft.com/office/drawing/2014/main" id="{3225D339-B1C8-406A-B8DF-BD973ECEC8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00388" y="2100263"/>
              <a:ext cx="165100" cy="233363"/>
            </a:xfrm>
            <a:custGeom>
              <a:avLst/>
              <a:gdLst>
                <a:gd name="T0" fmla="*/ 44 w 44"/>
                <a:gd name="T1" fmla="*/ 6 h 62"/>
                <a:gd name="T2" fmla="*/ 29 w 44"/>
                <a:gd name="T3" fmla="*/ 14 h 62"/>
                <a:gd name="T4" fmla="*/ 6 w 44"/>
                <a:gd name="T5" fmla="*/ 55 h 62"/>
                <a:gd name="T6" fmla="*/ 9 w 44"/>
                <a:gd name="T7" fmla="*/ 37 h 62"/>
                <a:gd name="T8" fmla="*/ 28 w 44"/>
                <a:gd name="T9" fmla="*/ 3 h 62"/>
                <a:gd name="T10" fmla="*/ 44 w 44"/>
                <a:gd name="T11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2">
                  <a:moveTo>
                    <a:pt x="44" y="6"/>
                  </a:moveTo>
                  <a:cubicBezTo>
                    <a:pt x="40" y="9"/>
                    <a:pt x="37" y="1"/>
                    <a:pt x="29" y="14"/>
                  </a:cubicBezTo>
                  <a:cubicBezTo>
                    <a:pt x="21" y="26"/>
                    <a:pt x="11" y="48"/>
                    <a:pt x="6" y="55"/>
                  </a:cubicBezTo>
                  <a:cubicBezTo>
                    <a:pt x="0" y="62"/>
                    <a:pt x="9" y="54"/>
                    <a:pt x="9" y="37"/>
                  </a:cubicBezTo>
                  <a:cubicBezTo>
                    <a:pt x="9" y="20"/>
                    <a:pt x="20" y="6"/>
                    <a:pt x="28" y="3"/>
                  </a:cubicBezTo>
                  <a:cubicBezTo>
                    <a:pt x="35" y="0"/>
                    <a:pt x="44" y="6"/>
                    <a:pt x="44" y="6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140">
              <a:extLst>
                <a:ext uri="{FF2B5EF4-FFF2-40B4-BE49-F238E27FC236}">
                  <a16:creationId xmlns:a16="http://schemas.microsoft.com/office/drawing/2014/main" id="{11667D92-77E0-482F-B52A-A11DC5A79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6888" y="1984375"/>
              <a:ext cx="150812" cy="206375"/>
            </a:xfrm>
            <a:custGeom>
              <a:avLst/>
              <a:gdLst>
                <a:gd name="T0" fmla="*/ 40 w 40"/>
                <a:gd name="T1" fmla="*/ 1 h 55"/>
                <a:gd name="T2" fmla="*/ 12 w 40"/>
                <a:gd name="T3" fmla="*/ 22 h 55"/>
                <a:gd name="T4" fmla="*/ 0 w 40"/>
                <a:gd name="T5" fmla="*/ 55 h 55"/>
                <a:gd name="T6" fmla="*/ 0 w 40"/>
                <a:gd name="T7" fmla="*/ 29 h 55"/>
                <a:gd name="T8" fmla="*/ 16 w 40"/>
                <a:gd name="T9" fmla="*/ 5 h 55"/>
                <a:gd name="T10" fmla="*/ 40 w 40"/>
                <a:gd name="T11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5">
                  <a:moveTo>
                    <a:pt x="40" y="1"/>
                  </a:moveTo>
                  <a:cubicBezTo>
                    <a:pt x="40" y="1"/>
                    <a:pt x="19" y="9"/>
                    <a:pt x="12" y="22"/>
                  </a:cubicBezTo>
                  <a:cubicBezTo>
                    <a:pt x="5" y="34"/>
                    <a:pt x="0" y="55"/>
                    <a:pt x="0" y="55"/>
                  </a:cubicBezTo>
                  <a:cubicBezTo>
                    <a:pt x="0" y="55"/>
                    <a:pt x="1" y="38"/>
                    <a:pt x="0" y="29"/>
                  </a:cubicBezTo>
                  <a:cubicBezTo>
                    <a:pt x="0" y="20"/>
                    <a:pt x="7" y="10"/>
                    <a:pt x="16" y="5"/>
                  </a:cubicBezTo>
                  <a:cubicBezTo>
                    <a:pt x="24" y="0"/>
                    <a:pt x="40" y="1"/>
                    <a:pt x="40" y="1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141">
              <a:extLst>
                <a:ext uri="{FF2B5EF4-FFF2-40B4-BE49-F238E27FC236}">
                  <a16:creationId xmlns:a16="http://schemas.microsoft.com/office/drawing/2014/main" id="{4D3F302F-9024-4750-BAFB-806CA6534B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2238" y="2314575"/>
              <a:ext cx="404812" cy="430213"/>
            </a:xfrm>
            <a:custGeom>
              <a:avLst/>
              <a:gdLst>
                <a:gd name="T0" fmla="*/ 104 w 108"/>
                <a:gd name="T1" fmla="*/ 15 h 115"/>
                <a:gd name="T2" fmla="*/ 92 w 108"/>
                <a:gd name="T3" fmla="*/ 32 h 115"/>
                <a:gd name="T4" fmla="*/ 56 w 108"/>
                <a:gd name="T5" fmla="*/ 61 h 115"/>
                <a:gd name="T6" fmla="*/ 36 w 108"/>
                <a:gd name="T7" fmla="*/ 88 h 115"/>
                <a:gd name="T8" fmla="*/ 0 w 108"/>
                <a:gd name="T9" fmla="*/ 115 h 115"/>
                <a:gd name="T10" fmla="*/ 47 w 108"/>
                <a:gd name="T11" fmla="*/ 69 h 115"/>
                <a:gd name="T12" fmla="*/ 62 w 108"/>
                <a:gd name="T13" fmla="*/ 43 h 115"/>
                <a:gd name="T14" fmla="*/ 84 w 108"/>
                <a:gd name="T15" fmla="*/ 29 h 115"/>
                <a:gd name="T16" fmla="*/ 100 w 108"/>
                <a:gd name="T17" fmla="*/ 18 h 115"/>
                <a:gd name="T18" fmla="*/ 108 w 108"/>
                <a:gd name="T19" fmla="*/ 0 h 115"/>
                <a:gd name="T20" fmla="*/ 104 w 108"/>
                <a:gd name="T21" fmla="*/ 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15">
                  <a:moveTo>
                    <a:pt x="104" y="15"/>
                  </a:moveTo>
                  <a:cubicBezTo>
                    <a:pt x="104" y="15"/>
                    <a:pt x="104" y="25"/>
                    <a:pt x="92" y="32"/>
                  </a:cubicBezTo>
                  <a:cubicBezTo>
                    <a:pt x="80" y="40"/>
                    <a:pt x="61" y="51"/>
                    <a:pt x="56" y="61"/>
                  </a:cubicBezTo>
                  <a:cubicBezTo>
                    <a:pt x="51" y="71"/>
                    <a:pt x="46" y="80"/>
                    <a:pt x="36" y="88"/>
                  </a:cubicBezTo>
                  <a:cubicBezTo>
                    <a:pt x="26" y="97"/>
                    <a:pt x="0" y="115"/>
                    <a:pt x="0" y="115"/>
                  </a:cubicBezTo>
                  <a:cubicBezTo>
                    <a:pt x="0" y="115"/>
                    <a:pt x="43" y="79"/>
                    <a:pt x="47" y="69"/>
                  </a:cubicBezTo>
                  <a:cubicBezTo>
                    <a:pt x="51" y="59"/>
                    <a:pt x="54" y="49"/>
                    <a:pt x="62" y="43"/>
                  </a:cubicBezTo>
                  <a:cubicBezTo>
                    <a:pt x="70" y="37"/>
                    <a:pt x="77" y="33"/>
                    <a:pt x="84" y="29"/>
                  </a:cubicBezTo>
                  <a:cubicBezTo>
                    <a:pt x="92" y="25"/>
                    <a:pt x="100" y="21"/>
                    <a:pt x="100" y="18"/>
                  </a:cubicBezTo>
                  <a:cubicBezTo>
                    <a:pt x="101" y="16"/>
                    <a:pt x="108" y="0"/>
                    <a:pt x="108" y="0"/>
                  </a:cubicBezTo>
                  <a:lnTo>
                    <a:pt x="104" y="15"/>
                  </a:ln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142">
              <a:extLst>
                <a:ext uri="{FF2B5EF4-FFF2-40B4-BE49-F238E27FC236}">
                  <a16:creationId xmlns:a16="http://schemas.microsoft.com/office/drawing/2014/main" id="{FFB5F36D-4F85-4C4D-AB5C-D094ACFFFD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8613" y="2468563"/>
              <a:ext cx="179387" cy="228600"/>
            </a:xfrm>
            <a:custGeom>
              <a:avLst/>
              <a:gdLst>
                <a:gd name="T0" fmla="*/ 48 w 48"/>
                <a:gd name="T1" fmla="*/ 0 h 61"/>
                <a:gd name="T2" fmla="*/ 20 w 48"/>
                <a:gd name="T3" fmla="*/ 25 h 61"/>
                <a:gd name="T4" fmla="*/ 8 w 48"/>
                <a:gd name="T5" fmla="*/ 45 h 61"/>
                <a:gd name="T6" fmla="*/ 2 w 48"/>
                <a:gd name="T7" fmla="*/ 51 h 61"/>
                <a:gd name="T8" fmla="*/ 8 w 48"/>
                <a:gd name="T9" fmla="*/ 23 h 61"/>
                <a:gd name="T10" fmla="*/ 32 w 48"/>
                <a:gd name="T11" fmla="*/ 7 h 61"/>
                <a:gd name="T12" fmla="*/ 48 w 48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61">
                  <a:moveTo>
                    <a:pt x="48" y="0"/>
                  </a:moveTo>
                  <a:cubicBezTo>
                    <a:pt x="44" y="5"/>
                    <a:pt x="25" y="19"/>
                    <a:pt x="20" y="25"/>
                  </a:cubicBezTo>
                  <a:cubicBezTo>
                    <a:pt x="15" y="32"/>
                    <a:pt x="10" y="43"/>
                    <a:pt x="8" y="45"/>
                  </a:cubicBezTo>
                  <a:cubicBezTo>
                    <a:pt x="5" y="47"/>
                    <a:pt x="4" y="61"/>
                    <a:pt x="2" y="51"/>
                  </a:cubicBezTo>
                  <a:cubicBezTo>
                    <a:pt x="0" y="40"/>
                    <a:pt x="0" y="31"/>
                    <a:pt x="8" y="23"/>
                  </a:cubicBezTo>
                  <a:cubicBezTo>
                    <a:pt x="17" y="16"/>
                    <a:pt x="25" y="10"/>
                    <a:pt x="32" y="7"/>
                  </a:cubicBezTo>
                  <a:cubicBezTo>
                    <a:pt x="38" y="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143">
              <a:extLst>
                <a:ext uri="{FF2B5EF4-FFF2-40B4-BE49-F238E27FC236}">
                  <a16:creationId xmlns:a16="http://schemas.microsoft.com/office/drawing/2014/main" id="{D2BCBEF1-DA8E-42AB-A56E-A7A15C0258BC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5775" y="2251075"/>
              <a:ext cx="184150" cy="292100"/>
            </a:xfrm>
            <a:custGeom>
              <a:avLst/>
              <a:gdLst>
                <a:gd name="T0" fmla="*/ 38 w 49"/>
                <a:gd name="T1" fmla="*/ 21 h 78"/>
                <a:gd name="T2" fmla="*/ 21 w 49"/>
                <a:gd name="T3" fmla="*/ 46 h 78"/>
                <a:gd name="T4" fmla="*/ 5 w 49"/>
                <a:gd name="T5" fmla="*/ 73 h 78"/>
                <a:gd name="T6" fmla="*/ 24 w 49"/>
                <a:gd name="T7" fmla="*/ 53 h 78"/>
                <a:gd name="T8" fmla="*/ 47 w 49"/>
                <a:gd name="T9" fmla="*/ 6 h 78"/>
                <a:gd name="T10" fmla="*/ 42 w 49"/>
                <a:gd name="T11" fmla="*/ 8 h 78"/>
                <a:gd name="T12" fmla="*/ 38 w 49"/>
                <a:gd name="T13" fmla="*/ 2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8">
                  <a:moveTo>
                    <a:pt x="38" y="21"/>
                  </a:moveTo>
                  <a:cubicBezTo>
                    <a:pt x="38" y="21"/>
                    <a:pt x="29" y="34"/>
                    <a:pt x="21" y="46"/>
                  </a:cubicBezTo>
                  <a:cubicBezTo>
                    <a:pt x="14" y="58"/>
                    <a:pt x="10" y="68"/>
                    <a:pt x="5" y="73"/>
                  </a:cubicBezTo>
                  <a:cubicBezTo>
                    <a:pt x="0" y="78"/>
                    <a:pt x="20" y="57"/>
                    <a:pt x="24" y="53"/>
                  </a:cubicBezTo>
                  <a:cubicBezTo>
                    <a:pt x="27" y="49"/>
                    <a:pt x="45" y="8"/>
                    <a:pt x="47" y="6"/>
                  </a:cubicBezTo>
                  <a:cubicBezTo>
                    <a:pt x="49" y="3"/>
                    <a:pt x="45" y="0"/>
                    <a:pt x="42" y="8"/>
                  </a:cubicBezTo>
                  <a:cubicBezTo>
                    <a:pt x="39" y="15"/>
                    <a:pt x="38" y="21"/>
                    <a:pt x="38" y="21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7" name="Gruppieren 84">
            <a:extLst>
              <a:ext uri="{FF2B5EF4-FFF2-40B4-BE49-F238E27FC236}">
                <a16:creationId xmlns:a16="http://schemas.microsoft.com/office/drawing/2014/main" id="{5566CCED-C005-47A3-9594-379DE181083D}"/>
              </a:ext>
            </a:extLst>
          </p:cNvPr>
          <p:cNvGrpSpPr/>
          <p:nvPr/>
        </p:nvGrpSpPr>
        <p:grpSpPr bwMode="gray">
          <a:xfrm>
            <a:off x="5384769" y="1007854"/>
            <a:ext cx="1307495" cy="4557657"/>
            <a:chOff x="3940554" y="3795905"/>
            <a:chExt cx="532751" cy="1857062"/>
          </a:xfrm>
        </p:grpSpPr>
        <p:sp>
          <p:nvSpPr>
            <p:cNvPr id="142" name="Ellipse 30">
              <a:extLst>
                <a:ext uri="{FF2B5EF4-FFF2-40B4-BE49-F238E27FC236}">
                  <a16:creationId xmlns:a16="http://schemas.microsoft.com/office/drawing/2014/main" id="{829980B9-93C3-4FEF-A0AA-CE155AFB7FDB}"/>
                </a:ext>
              </a:extLst>
            </p:cNvPr>
            <p:cNvSpPr/>
            <p:nvPr/>
          </p:nvSpPr>
          <p:spPr bwMode="gray">
            <a:xfrm>
              <a:off x="3940554" y="5402836"/>
              <a:ext cx="526342" cy="25013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3" name="Gruppieren 86">
              <a:extLst>
                <a:ext uri="{FF2B5EF4-FFF2-40B4-BE49-F238E27FC236}">
                  <a16:creationId xmlns:a16="http://schemas.microsoft.com/office/drawing/2014/main" id="{1AA1E3A3-EC70-4F1C-A922-924B97AFE5B6}"/>
                </a:ext>
              </a:extLst>
            </p:cNvPr>
            <p:cNvGrpSpPr/>
            <p:nvPr/>
          </p:nvGrpSpPr>
          <p:grpSpPr bwMode="gray">
            <a:xfrm>
              <a:off x="3984985" y="3795905"/>
              <a:ext cx="488320" cy="1771369"/>
              <a:chOff x="7112466" y="2589765"/>
              <a:chExt cx="375773" cy="1363110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44" name="Freeform 26">
                <a:extLst>
                  <a:ext uri="{FF2B5EF4-FFF2-40B4-BE49-F238E27FC236}">
                    <a16:creationId xmlns:a16="http://schemas.microsoft.com/office/drawing/2014/main" id="{A5524D7A-A22B-42C7-A8FE-4FBA78A2F7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12466" y="2795830"/>
                <a:ext cx="304335" cy="396060"/>
              </a:xfrm>
              <a:custGeom>
                <a:avLst/>
                <a:gdLst>
                  <a:gd name="T0" fmla="*/ 58 w 82"/>
                  <a:gd name="T1" fmla="*/ 76 h 97"/>
                  <a:gd name="T2" fmla="*/ 48 w 82"/>
                  <a:gd name="T3" fmla="*/ 77 h 97"/>
                  <a:gd name="T4" fmla="*/ 34 w 82"/>
                  <a:gd name="T5" fmla="*/ 79 h 97"/>
                  <a:gd name="T6" fmla="*/ 35 w 82"/>
                  <a:gd name="T7" fmla="*/ 75 h 97"/>
                  <a:gd name="T8" fmla="*/ 42 w 82"/>
                  <a:gd name="T9" fmla="*/ 67 h 97"/>
                  <a:gd name="T10" fmla="*/ 42 w 82"/>
                  <a:gd name="T11" fmla="*/ 67 h 97"/>
                  <a:gd name="T12" fmla="*/ 48 w 82"/>
                  <a:gd name="T13" fmla="*/ 64 h 97"/>
                  <a:gd name="T14" fmla="*/ 57 w 82"/>
                  <a:gd name="T15" fmla="*/ 60 h 97"/>
                  <a:gd name="T16" fmla="*/ 56 w 82"/>
                  <a:gd name="T17" fmla="*/ 63 h 97"/>
                  <a:gd name="T18" fmla="*/ 58 w 82"/>
                  <a:gd name="T19" fmla="*/ 63 h 97"/>
                  <a:gd name="T20" fmla="*/ 58 w 82"/>
                  <a:gd name="T21" fmla="*/ 59 h 97"/>
                  <a:gd name="T22" fmla="*/ 58 w 82"/>
                  <a:gd name="T23" fmla="*/ 59 h 97"/>
                  <a:gd name="T24" fmla="*/ 56 w 82"/>
                  <a:gd name="T25" fmla="*/ 55 h 97"/>
                  <a:gd name="T26" fmla="*/ 57 w 82"/>
                  <a:gd name="T27" fmla="*/ 52 h 97"/>
                  <a:gd name="T28" fmla="*/ 58 w 82"/>
                  <a:gd name="T29" fmla="*/ 47 h 97"/>
                  <a:gd name="T30" fmla="*/ 58 w 82"/>
                  <a:gd name="T31" fmla="*/ 44 h 97"/>
                  <a:gd name="T32" fmla="*/ 60 w 82"/>
                  <a:gd name="T33" fmla="*/ 45 h 97"/>
                  <a:gd name="T34" fmla="*/ 61 w 82"/>
                  <a:gd name="T35" fmla="*/ 38 h 97"/>
                  <a:gd name="T36" fmla="*/ 63 w 82"/>
                  <a:gd name="T37" fmla="*/ 19 h 97"/>
                  <a:gd name="T38" fmla="*/ 64 w 82"/>
                  <a:gd name="T39" fmla="*/ 14 h 97"/>
                  <a:gd name="T40" fmla="*/ 61 w 82"/>
                  <a:gd name="T41" fmla="*/ 14 h 97"/>
                  <a:gd name="T42" fmla="*/ 61 w 82"/>
                  <a:gd name="T43" fmla="*/ 19 h 97"/>
                  <a:gd name="T44" fmla="*/ 57 w 82"/>
                  <a:gd name="T45" fmla="*/ 30 h 97"/>
                  <a:gd name="T46" fmla="*/ 53 w 82"/>
                  <a:gd name="T47" fmla="*/ 37 h 97"/>
                  <a:gd name="T48" fmla="*/ 50 w 82"/>
                  <a:gd name="T49" fmla="*/ 23 h 97"/>
                  <a:gd name="T50" fmla="*/ 46 w 82"/>
                  <a:gd name="T51" fmla="*/ 16 h 97"/>
                  <a:gd name="T52" fmla="*/ 44 w 82"/>
                  <a:gd name="T53" fmla="*/ 10 h 97"/>
                  <a:gd name="T54" fmla="*/ 40 w 82"/>
                  <a:gd name="T55" fmla="*/ 8 h 97"/>
                  <a:gd name="T56" fmla="*/ 34 w 82"/>
                  <a:gd name="T57" fmla="*/ 7 h 97"/>
                  <a:gd name="T58" fmla="*/ 22 w 82"/>
                  <a:gd name="T59" fmla="*/ 8 h 97"/>
                  <a:gd name="T60" fmla="*/ 30 w 82"/>
                  <a:gd name="T61" fmla="*/ 1 h 97"/>
                  <a:gd name="T62" fmla="*/ 27 w 82"/>
                  <a:gd name="T63" fmla="*/ 2 h 97"/>
                  <a:gd name="T64" fmla="*/ 16 w 82"/>
                  <a:gd name="T65" fmla="*/ 6 h 97"/>
                  <a:gd name="T66" fmla="*/ 5 w 82"/>
                  <a:gd name="T67" fmla="*/ 34 h 97"/>
                  <a:gd name="T68" fmla="*/ 1 w 82"/>
                  <a:gd name="T69" fmla="*/ 59 h 97"/>
                  <a:gd name="T70" fmla="*/ 1 w 82"/>
                  <a:gd name="T71" fmla="*/ 71 h 97"/>
                  <a:gd name="T72" fmla="*/ 16 w 82"/>
                  <a:gd name="T73" fmla="*/ 78 h 97"/>
                  <a:gd name="T74" fmla="*/ 22 w 82"/>
                  <a:gd name="T75" fmla="*/ 80 h 97"/>
                  <a:gd name="T76" fmla="*/ 20 w 82"/>
                  <a:gd name="T77" fmla="*/ 89 h 97"/>
                  <a:gd name="T78" fmla="*/ 21 w 82"/>
                  <a:gd name="T79" fmla="*/ 95 h 97"/>
                  <a:gd name="T80" fmla="*/ 22 w 82"/>
                  <a:gd name="T81" fmla="*/ 94 h 97"/>
                  <a:gd name="T82" fmla="*/ 54 w 82"/>
                  <a:gd name="T83" fmla="*/ 97 h 97"/>
                  <a:gd name="T84" fmla="*/ 78 w 82"/>
                  <a:gd name="T85" fmla="*/ 91 h 97"/>
                  <a:gd name="T86" fmla="*/ 78 w 82"/>
                  <a:gd name="T87" fmla="*/ 92 h 97"/>
                  <a:gd name="T88" fmla="*/ 78 w 82"/>
                  <a:gd name="T89" fmla="*/ 86 h 97"/>
                  <a:gd name="T90" fmla="*/ 76 w 82"/>
                  <a:gd name="T91" fmla="*/ 77 h 97"/>
                  <a:gd name="T92" fmla="*/ 82 w 82"/>
                  <a:gd name="T93" fmla="*/ 76 h 97"/>
                  <a:gd name="T94" fmla="*/ 58 w 82"/>
                  <a:gd name="T95" fmla="*/ 76 h 97"/>
                  <a:gd name="connsiteX0" fmla="*/ 7006 w 9933"/>
                  <a:gd name="connsiteY0" fmla="*/ 7741 h 9906"/>
                  <a:gd name="connsiteX1" fmla="*/ 5887 w 9933"/>
                  <a:gd name="connsiteY1" fmla="*/ 7655 h 9906"/>
                  <a:gd name="connsiteX2" fmla="*/ 4079 w 9933"/>
                  <a:gd name="connsiteY2" fmla="*/ 8050 h 9906"/>
                  <a:gd name="connsiteX3" fmla="*/ 4201 w 9933"/>
                  <a:gd name="connsiteY3" fmla="*/ 7638 h 9906"/>
                  <a:gd name="connsiteX4" fmla="*/ 5055 w 9933"/>
                  <a:gd name="connsiteY4" fmla="*/ 6813 h 9906"/>
                  <a:gd name="connsiteX5" fmla="*/ 5055 w 9933"/>
                  <a:gd name="connsiteY5" fmla="*/ 6813 h 9906"/>
                  <a:gd name="connsiteX6" fmla="*/ 5787 w 9933"/>
                  <a:gd name="connsiteY6" fmla="*/ 6504 h 9906"/>
                  <a:gd name="connsiteX7" fmla="*/ 6884 w 9933"/>
                  <a:gd name="connsiteY7" fmla="*/ 6092 h 9906"/>
                  <a:gd name="connsiteX8" fmla="*/ 6762 w 9933"/>
                  <a:gd name="connsiteY8" fmla="*/ 6401 h 9906"/>
                  <a:gd name="connsiteX9" fmla="*/ 7006 w 9933"/>
                  <a:gd name="connsiteY9" fmla="*/ 6401 h 9906"/>
                  <a:gd name="connsiteX10" fmla="*/ 7006 w 9933"/>
                  <a:gd name="connsiteY10" fmla="*/ 5988 h 9906"/>
                  <a:gd name="connsiteX11" fmla="*/ 7006 w 9933"/>
                  <a:gd name="connsiteY11" fmla="*/ 5988 h 9906"/>
                  <a:gd name="connsiteX12" fmla="*/ 6762 w 9933"/>
                  <a:gd name="connsiteY12" fmla="*/ 5576 h 9906"/>
                  <a:gd name="connsiteX13" fmla="*/ 6884 w 9933"/>
                  <a:gd name="connsiteY13" fmla="*/ 5267 h 9906"/>
                  <a:gd name="connsiteX14" fmla="*/ 7006 w 9933"/>
                  <a:gd name="connsiteY14" fmla="*/ 4751 h 9906"/>
                  <a:gd name="connsiteX15" fmla="*/ 7006 w 9933"/>
                  <a:gd name="connsiteY15" fmla="*/ 4442 h 9906"/>
                  <a:gd name="connsiteX16" fmla="*/ 7250 w 9933"/>
                  <a:gd name="connsiteY16" fmla="*/ 4545 h 9906"/>
                  <a:gd name="connsiteX17" fmla="*/ 7372 w 9933"/>
                  <a:gd name="connsiteY17" fmla="*/ 3824 h 9906"/>
                  <a:gd name="connsiteX18" fmla="*/ 7616 w 9933"/>
                  <a:gd name="connsiteY18" fmla="*/ 1865 h 9906"/>
                  <a:gd name="connsiteX19" fmla="*/ 7738 w 9933"/>
                  <a:gd name="connsiteY19" fmla="*/ 1349 h 9906"/>
                  <a:gd name="connsiteX20" fmla="*/ 7372 w 9933"/>
                  <a:gd name="connsiteY20" fmla="*/ 1349 h 9906"/>
                  <a:gd name="connsiteX21" fmla="*/ 7372 w 9933"/>
                  <a:gd name="connsiteY21" fmla="*/ 1865 h 9906"/>
                  <a:gd name="connsiteX22" fmla="*/ 6884 w 9933"/>
                  <a:gd name="connsiteY22" fmla="*/ 2999 h 9906"/>
                  <a:gd name="connsiteX23" fmla="*/ 6396 w 9933"/>
                  <a:gd name="connsiteY23" fmla="*/ 3720 h 9906"/>
                  <a:gd name="connsiteX24" fmla="*/ 6031 w 9933"/>
                  <a:gd name="connsiteY24" fmla="*/ 2277 h 9906"/>
                  <a:gd name="connsiteX25" fmla="*/ 5543 w 9933"/>
                  <a:gd name="connsiteY25" fmla="*/ 1555 h 9906"/>
                  <a:gd name="connsiteX26" fmla="*/ 5299 w 9933"/>
                  <a:gd name="connsiteY26" fmla="*/ 937 h 9906"/>
                  <a:gd name="connsiteX27" fmla="*/ 4811 w 9933"/>
                  <a:gd name="connsiteY27" fmla="*/ 731 h 9906"/>
                  <a:gd name="connsiteX28" fmla="*/ 4079 w 9933"/>
                  <a:gd name="connsiteY28" fmla="*/ 628 h 9906"/>
                  <a:gd name="connsiteX29" fmla="*/ 2616 w 9933"/>
                  <a:gd name="connsiteY29" fmla="*/ 731 h 9906"/>
                  <a:gd name="connsiteX30" fmla="*/ 3592 w 9933"/>
                  <a:gd name="connsiteY30" fmla="*/ 9 h 9906"/>
                  <a:gd name="connsiteX31" fmla="*/ 3226 w 9933"/>
                  <a:gd name="connsiteY31" fmla="*/ 112 h 9906"/>
                  <a:gd name="connsiteX32" fmla="*/ 1884 w 9933"/>
                  <a:gd name="connsiteY32" fmla="*/ 525 h 9906"/>
                  <a:gd name="connsiteX33" fmla="*/ 543 w 9933"/>
                  <a:gd name="connsiteY33" fmla="*/ 3411 h 9906"/>
                  <a:gd name="connsiteX34" fmla="*/ 55 w 9933"/>
                  <a:gd name="connsiteY34" fmla="*/ 5988 h 9906"/>
                  <a:gd name="connsiteX35" fmla="*/ 55 w 9933"/>
                  <a:gd name="connsiteY35" fmla="*/ 7226 h 9906"/>
                  <a:gd name="connsiteX36" fmla="*/ 1884 w 9933"/>
                  <a:gd name="connsiteY36" fmla="*/ 7947 h 9906"/>
                  <a:gd name="connsiteX37" fmla="*/ 2616 w 9933"/>
                  <a:gd name="connsiteY37" fmla="*/ 8153 h 9906"/>
                  <a:gd name="connsiteX38" fmla="*/ 2372 w 9933"/>
                  <a:gd name="connsiteY38" fmla="*/ 9081 h 9906"/>
                  <a:gd name="connsiteX39" fmla="*/ 2494 w 9933"/>
                  <a:gd name="connsiteY39" fmla="*/ 9700 h 9906"/>
                  <a:gd name="connsiteX40" fmla="*/ 2616 w 9933"/>
                  <a:gd name="connsiteY40" fmla="*/ 9597 h 9906"/>
                  <a:gd name="connsiteX41" fmla="*/ 6518 w 9933"/>
                  <a:gd name="connsiteY41" fmla="*/ 9906 h 9906"/>
                  <a:gd name="connsiteX42" fmla="*/ 9445 w 9933"/>
                  <a:gd name="connsiteY42" fmla="*/ 9287 h 9906"/>
                  <a:gd name="connsiteX43" fmla="*/ 9445 w 9933"/>
                  <a:gd name="connsiteY43" fmla="*/ 9391 h 9906"/>
                  <a:gd name="connsiteX44" fmla="*/ 9445 w 9933"/>
                  <a:gd name="connsiteY44" fmla="*/ 8772 h 9906"/>
                  <a:gd name="connsiteX45" fmla="*/ 9201 w 9933"/>
                  <a:gd name="connsiteY45" fmla="*/ 7844 h 9906"/>
                  <a:gd name="connsiteX46" fmla="*/ 9933 w 9933"/>
                  <a:gd name="connsiteY46" fmla="*/ 7741 h 9906"/>
                  <a:gd name="connsiteX47" fmla="*/ 7006 w 9933"/>
                  <a:gd name="connsiteY47" fmla="*/ 7741 h 9906"/>
                  <a:gd name="connsiteX0" fmla="*/ 7053 w 10000"/>
                  <a:gd name="connsiteY0" fmla="*/ 7814 h 10996"/>
                  <a:gd name="connsiteX1" fmla="*/ 5927 w 10000"/>
                  <a:gd name="connsiteY1" fmla="*/ 7728 h 10996"/>
                  <a:gd name="connsiteX2" fmla="*/ 4107 w 10000"/>
                  <a:gd name="connsiteY2" fmla="*/ 8126 h 10996"/>
                  <a:gd name="connsiteX3" fmla="*/ 4229 w 10000"/>
                  <a:gd name="connsiteY3" fmla="*/ 7710 h 10996"/>
                  <a:gd name="connsiteX4" fmla="*/ 5089 w 10000"/>
                  <a:gd name="connsiteY4" fmla="*/ 6878 h 10996"/>
                  <a:gd name="connsiteX5" fmla="*/ 5089 w 10000"/>
                  <a:gd name="connsiteY5" fmla="*/ 6878 h 10996"/>
                  <a:gd name="connsiteX6" fmla="*/ 5826 w 10000"/>
                  <a:gd name="connsiteY6" fmla="*/ 6566 h 10996"/>
                  <a:gd name="connsiteX7" fmla="*/ 6930 w 10000"/>
                  <a:gd name="connsiteY7" fmla="*/ 6150 h 10996"/>
                  <a:gd name="connsiteX8" fmla="*/ 6808 w 10000"/>
                  <a:gd name="connsiteY8" fmla="*/ 6462 h 10996"/>
                  <a:gd name="connsiteX9" fmla="*/ 7053 w 10000"/>
                  <a:gd name="connsiteY9" fmla="*/ 6462 h 10996"/>
                  <a:gd name="connsiteX10" fmla="*/ 7053 w 10000"/>
                  <a:gd name="connsiteY10" fmla="*/ 6045 h 10996"/>
                  <a:gd name="connsiteX11" fmla="*/ 7053 w 10000"/>
                  <a:gd name="connsiteY11" fmla="*/ 6045 h 10996"/>
                  <a:gd name="connsiteX12" fmla="*/ 6808 w 10000"/>
                  <a:gd name="connsiteY12" fmla="*/ 5629 h 10996"/>
                  <a:gd name="connsiteX13" fmla="*/ 6930 w 10000"/>
                  <a:gd name="connsiteY13" fmla="*/ 5317 h 10996"/>
                  <a:gd name="connsiteX14" fmla="*/ 7053 w 10000"/>
                  <a:gd name="connsiteY14" fmla="*/ 4796 h 10996"/>
                  <a:gd name="connsiteX15" fmla="*/ 7053 w 10000"/>
                  <a:gd name="connsiteY15" fmla="*/ 4484 h 10996"/>
                  <a:gd name="connsiteX16" fmla="*/ 7299 w 10000"/>
                  <a:gd name="connsiteY16" fmla="*/ 4588 h 10996"/>
                  <a:gd name="connsiteX17" fmla="*/ 7422 w 10000"/>
                  <a:gd name="connsiteY17" fmla="*/ 3860 h 10996"/>
                  <a:gd name="connsiteX18" fmla="*/ 7667 w 10000"/>
                  <a:gd name="connsiteY18" fmla="*/ 1883 h 10996"/>
                  <a:gd name="connsiteX19" fmla="*/ 7790 w 10000"/>
                  <a:gd name="connsiteY19" fmla="*/ 1362 h 10996"/>
                  <a:gd name="connsiteX20" fmla="*/ 7422 w 10000"/>
                  <a:gd name="connsiteY20" fmla="*/ 1362 h 10996"/>
                  <a:gd name="connsiteX21" fmla="*/ 7422 w 10000"/>
                  <a:gd name="connsiteY21" fmla="*/ 1883 h 10996"/>
                  <a:gd name="connsiteX22" fmla="*/ 6930 w 10000"/>
                  <a:gd name="connsiteY22" fmla="*/ 3027 h 10996"/>
                  <a:gd name="connsiteX23" fmla="*/ 6439 w 10000"/>
                  <a:gd name="connsiteY23" fmla="*/ 3755 h 10996"/>
                  <a:gd name="connsiteX24" fmla="*/ 6072 w 10000"/>
                  <a:gd name="connsiteY24" fmla="*/ 2299 h 10996"/>
                  <a:gd name="connsiteX25" fmla="*/ 5580 w 10000"/>
                  <a:gd name="connsiteY25" fmla="*/ 1570 h 10996"/>
                  <a:gd name="connsiteX26" fmla="*/ 5335 w 10000"/>
                  <a:gd name="connsiteY26" fmla="*/ 946 h 10996"/>
                  <a:gd name="connsiteX27" fmla="*/ 4843 w 10000"/>
                  <a:gd name="connsiteY27" fmla="*/ 738 h 10996"/>
                  <a:gd name="connsiteX28" fmla="*/ 4107 w 10000"/>
                  <a:gd name="connsiteY28" fmla="*/ 634 h 10996"/>
                  <a:gd name="connsiteX29" fmla="*/ 2634 w 10000"/>
                  <a:gd name="connsiteY29" fmla="*/ 738 h 10996"/>
                  <a:gd name="connsiteX30" fmla="*/ 3616 w 10000"/>
                  <a:gd name="connsiteY30" fmla="*/ 9 h 10996"/>
                  <a:gd name="connsiteX31" fmla="*/ 3248 w 10000"/>
                  <a:gd name="connsiteY31" fmla="*/ 113 h 10996"/>
                  <a:gd name="connsiteX32" fmla="*/ 1897 w 10000"/>
                  <a:gd name="connsiteY32" fmla="*/ 530 h 10996"/>
                  <a:gd name="connsiteX33" fmla="*/ 547 w 10000"/>
                  <a:gd name="connsiteY33" fmla="*/ 3443 h 10996"/>
                  <a:gd name="connsiteX34" fmla="*/ 55 w 10000"/>
                  <a:gd name="connsiteY34" fmla="*/ 6045 h 10996"/>
                  <a:gd name="connsiteX35" fmla="*/ 55 w 10000"/>
                  <a:gd name="connsiteY35" fmla="*/ 7295 h 10996"/>
                  <a:gd name="connsiteX36" fmla="*/ 1897 w 10000"/>
                  <a:gd name="connsiteY36" fmla="*/ 8022 h 10996"/>
                  <a:gd name="connsiteX37" fmla="*/ 2634 w 10000"/>
                  <a:gd name="connsiteY37" fmla="*/ 8230 h 10996"/>
                  <a:gd name="connsiteX38" fmla="*/ 2388 w 10000"/>
                  <a:gd name="connsiteY38" fmla="*/ 9167 h 10996"/>
                  <a:gd name="connsiteX39" fmla="*/ 2511 w 10000"/>
                  <a:gd name="connsiteY39" fmla="*/ 9792 h 10996"/>
                  <a:gd name="connsiteX40" fmla="*/ 2634 w 10000"/>
                  <a:gd name="connsiteY40" fmla="*/ 9688 h 10996"/>
                  <a:gd name="connsiteX41" fmla="*/ 6562 w 10000"/>
                  <a:gd name="connsiteY41" fmla="*/ 10996 h 10996"/>
                  <a:gd name="connsiteX42" fmla="*/ 9509 w 10000"/>
                  <a:gd name="connsiteY42" fmla="*/ 9375 h 10996"/>
                  <a:gd name="connsiteX43" fmla="*/ 9509 w 10000"/>
                  <a:gd name="connsiteY43" fmla="*/ 9480 h 10996"/>
                  <a:gd name="connsiteX44" fmla="*/ 9509 w 10000"/>
                  <a:gd name="connsiteY44" fmla="*/ 8855 h 10996"/>
                  <a:gd name="connsiteX45" fmla="*/ 9263 w 10000"/>
                  <a:gd name="connsiteY45" fmla="*/ 7918 h 10996"/>
                  <a:gd name="connsiteX46" fmla="*/ 10000 w 10000"/>
                  <a:gd name="connsiteY46" fmla="*/ 7814 h 10996"/>
                  <a:gd name="connsiteX47" fmla="*/ 7053 w 10000"/>
                  <a:gd name="connsiteY47" fmla="*/ 7814 h 10996"/>
                  <a:gd name="connsiteX0" fmla="*/ 7053 w 10000"/>
                  <a:gd name="connsiteY0" fmla="*/ 7814 h 10999"/>
                  <a:gd name="connsiteX1" fmla="*/ 5927 w 10000"/>
                  <a:gd name="connsiteY1" fmla="*/ 7728 h 10999"/>
                  <a:gd name="connsiteX2" fmla="*/ 4107 w 10000"/>
                  <a:gd name="connsiteY2" fmla="*/ 8126 h 10999"/>
                  <a:gd name="connsiteX3" fmla="*/ 4229 w 10000"/>
                  <a:gd name="connsiteY3" fmla="*/ 7710 h 10999"/>
                  <a:gd name="connsiteX4" fmla="*/ 5089 w 10000"/>
                  <a:gd name="connsiteY4" fmla="*/ 6878 h 10999"/>
                  <a:gd name="connsiteX5" fmla="*/ 5089 w 10000"/>
                  <a:gd name="connsiteY5" fmla="*/ 6878 h 10999"/>
                  <a:gd name="connsiteX6" fmla="*/ 5826 w 10000"/>
                  <a:gd name="connsiteY6" fmla="*/ 6566 h 10999"/>
                  <a:gd name="connsiteX7" fmla="*/ 6930 w 10000"/>
                  <a:gd name="connsiteY7" fmla="*/ 6150 h 10999"/>
                  <a:gd name="connsiteX8" fmla="*/ 6808 w 10000"/>
                  <a:gd name="connsiteY8" fmla="*/ 6462 h 10999"/>
                  <a:gd name="connsiteX9" fmla="*/ 7053 w 10000"/>
                  <a:gd name="connsiteY9" fmla="*/ 6462 h 10999"/>
                  <a:gd name="connsiteX10" fmla="*/ 7053 w 10000"/>
                  <a:gd name="connsiteY10" fmla="*/ 6045 h 10999"/>
                  <a:gd name="connsiteX11" fmla="*/ 7053 w 10000"/>
                  <a:gd name="connsiteY11" fmla="*/ 6045 h 10999"/>
                  <a:gd name="connsiteX12" fmla="*/ 6808 w 10000"/>
                  <a:gd name="connsiteY12" fmla="*/ 5629 h 10999"/>
                  <a:gd name="connsiteX13" fmla="*/ 6930 w 10000"/>
                  <a:gd name="connsiteY13" fmla="*/ 5317 h 10999"/>
                  <a:gd name="connsiteX14" fmla="*/ 7053 w 10000"/>
                  <a:gd name="connsiteY14" fmla="*/ 4796 h 10999"/>
                  <a:gd name="connsiteX15" fmla="*/ 7053 w 10000"/>
                  <a:gd name="connsiteY15" fmla="*/ 4484 h 10999"/>
                  <a:gd name="connsiteX16" fmla="*/ 7299 w 10000"/>
                  <a:gd name="connsiteY16" fmla="*/ 4588 h 10999"/>
                  <a:gd name="connsiteX17" fmla="*/ 7422 w 10000"/>
                  <a:gd name="connsiteY17" fmla="*/ 3860 h 10999"/>
                  <a:gd name="connsiteX18" fmla="*/ 7667 w 10000"/>
                  <a:gd name="connsiteY18" fmla="*/ 1883 h 10999"/>
                  <a:gd name="connsiteX19" fmla="*/ 7790 w 10000"/>
                  <a:gd name="connsiteY19" fmla="*/ 1362 h 10999"/>
                  <a:gd name="connsiteX20" fmla="*/ 7422 w 10000"/>
                  <a:gd name="connsiteY20" fmla="*/ 1362 h 10999"/>
                  <a:gd name="connsiteX21" fmla="*/ 7422 w 10000"/>
                  <a:gd name="connsiteY21" fmla="*/ 1883 h 10999"/>
                  <a:gd name="connsiteX22" fmla="*/ 6930 w 10000"/>
                  <a:gd name="connsiteY22" fmla="*/ 3027 h 10999"/>
                  <a:gd name="connsiteX23" fmla="*/ 6439 w 10000"/>
                  <a:gd name="connsiteY23" fmla="*/ 3755 h 10999"/>
                  <a:gd name="connsiteX24" fmla="*/ 6072 w 10000"/>
                  <a:gd name="connsiteY24" fmla="*/ 2299 h 10999"/>
                  <a:gd name="connsiteX25" fmla="*/ 5580 w 10000"/>
                  <a:gd name="connsiteY25" fmla="*/ 1570 h 10999"/>
                  <a:gd name="connsiteX26" fmla="*/ 5335 w 10000"/>
                  <a:gd name="connsiteY26" fmla="*/ 946 h 10999"/>
                  <a:gd name="connsiteX27" fmla="*/ 4843 w 10000"/>
                  <a:gd name="connsiteY27" fmla="*/ 738 h 10999"/>
                  <a:gd name="connsiteX28" fmla="*/ 4107 w 10000"/>
                  <a:gd name="connsiteY28" fmla="*/ 634 h 10999"/>
                  <a:gd name="connsiteX29" fmla="*/ 2634 w 10000"/>
                  <a:gd name="connsiteY29" fmla="*/ 738 h 10999"/>
                  <a:gd name="connsiteX30" fmla="*/ 3616 w 10000"/>
                  <a:gd name="connsiteY30" fmla="*/ 9 h 10999"/>
                  <a:gd name="connsiteX31" fmla="*/ 3248 w 10000"/>
                  <a:gd name="connsiteY31" fmla="*/ 113 h 10999"/>
                  <a:gd name="connsiteX32" fmla="*/ 1897 w 10000"/>
                  <a:gd name="connsiteY32" fmla="*/ 530 h 10999"/>
                  <a:gd name="connsiteX33" fmla="*/ 547 w 10000"/>
                  <a:gd name="connsiteY33" fmla="*/ 3443 h 10999"/>
                  <a:gd name="connsiteX34" fmla="*/ 55 w 10000"/>
                  <a:gd name="connsiteY34" fmla="*/ 6045 h 10999"/>
                  <a:gd name="connsiteX35" fmla="*/ 55 w 10000"/>
                  <a:gd name="connsiteY35" fmla="*/ 7295 h 10999"/>
                  <a:gd name="connsiteX36" fmla="*/ 1897 w 10000"/>
                  <a:gd name="connsiteY36" fmla="*/ 8022 h 10999"/>
                  <a:gd name="connsiteX37" fmla="*/ 2634 w 10000"/>
                  <a:gd name="connsiteY37" fmla="*/ 8230 h 10999"/>
                  <a:gd name="connsiteX38" fmla="*/ 2388 w 10000"/>
                  <a:gd name="connsiteY38" fmla="*/ 9167 h 10999"/>
                  <a:gd name="connsiteX39" fmla="*/ 2511 w 10000"/>
                  <a:gd name="connsiteY39" fmla="*/ 9792 h 10999"/>
                  <a:gd name="connsiteX40" fmla="*/ 6562 w 10000"/>
                  <a:gd name="connsiteY40" fmla="*/ 10996 h 10999"/>
                  <a:gd name="connsiteX41" fmla="*/ 9509 w 10000"/>
                  <a:gd name="connsiteY41" fmla="*/ 9375 h 10999"/>
                  <a:gd name="connsiteX42" fmla="*/ 9509 w 10000"/>
                  <a:gd name="connsiteY42" fmla="*/ 9480 h 10999"/>
                  <a:gd name="connsiteX43" fmla="*/ 9509 w 10000"/>
                  <a:gd name="connsiteY43" fmla="*/ 8855 h 10999"/>
                  <a:gd name="connsiteX44" fmla="*/ 9263 w 10000"/>
                  <a:gd name="connsiteY44" fmla="*/ 7918 h 10999"/>
                  <a:gd name="connsiteX45" fmla="*/ 10000 w 10000"/>
                  <a:gd name="connsiteY45" fmla="*/ 7814 h 10999"/>
                  <a:gd name="connsiteX46" fmla="*/ 7053 w 10000"/>
                  <a:gd name="connsiteY46" fmla="*/ 7814 h 10999"/>
                  <a:gd name="connsiteX0" fmla="*/ 7053 w 10000"/>
                  <a:gd name="connsiteY0" fmla="*/ 7814 h 10998"/>
                  <a:gd name="connsiteX1" fmla="*/ 5927 w 10000"/>
                  <a:gd name="connsiteY1" fmla="*/ 7728 h 10998"/>
                  <a:gd name="connsiteX2" fmla="*/ 4107 w 10000"/>
                  <a:gd name="connsiteY2" fmla="*/ 8126 h 10998"/>
                  <a:gd name="connsiteX3" fmla="*/ 4229 w 10000"/>
                  <a:gd name="connsiteY3" fmla="*/ 7710 h 10998"/>
                  <a:gd name="connsiteX4" fmla="*/ 5089 w 10000"/>
                  <a:gd name="connsiteY4" fmla="*/ 6878 h 10998"/>
                  <a:gd name="connsiteX5" fmla="*/ 5089 w 10000"/>
                  <a:gd name="connsiteY5" fmla="*/ 6878 h 10998"/>
                  <a:gd name="connsiteX6" fmla="*/ 5826 w 10000"/>
                  <a:gd name="connsiteY6" fmla="*/ 6566 h 10998"/>
                  <a:gd name="connsiteX7" fmla="*/ 6930 w 10000"/>
                  <a:gd name="connsiteY7" fmla="*/ 6150 h 10998"/>
                  <a:gd name="connsiteX8" fmla="*/ 6808 w 10000"/>
                  <a:gd name="connsiteY8" fmla="*/ 6462 h 10998"/>
                  <a:gd name="connsiteX9" fmla="*/ 7053 w 10000"/>
                  <a:gd name="connsiteY9" fmla="*/ 6462 h 10998"/>
                  <a:gd name="connsiteX10" fmla="*/ 7053 w 10000"/>
                  <a:gd name="connsiteY10" fmla="*/ 6045 h 10998"/>
                  <a:gd name="connsiteX11" fmla="*/ 7053 w 10000"/>
                  <a:gd name="connsiteY11" fmla="*/ 6045 h 10998"/>
                  <a:gd name="connsiteX12" fmla="*/ 6808 w 10000"/>
                  <a:gd name="connsiteY12" fmla="*/ 5629 h 10998"/>
                  <a:gd name="connsiteX13" fmla="*/ 6930 w 10000"/>
                  <a:gd name="connsiteY13" fmla="*/ 5317 h 10998"/>
                  <a:gd name="connsiteX14" fmla="*/ 7053 w 10000"/>
                  <a:gd name="connsiteY14" fmla="*/ 4796 h 10998"/>
                  <a:gd name="connsiteX15" fmla="*/ 7053 w 10000"/>
                  <a:gd name="connsiteY15" fmla="*/ 4484 h 10998"/>
                  <a:gd name="connsiteX16" fmla="*/ 7299 w 10000"/>
                  <a:gd name="connsiteY16" fmla="*/ 4588 h 10998"/>
                  <a:gd name="connsiteX17" fmla="*/ 7422 w 10000"/>
                  <a:gd name="connsiteY17" fmla="*/ 3860 h 10998"/>
                  <a:gd name="connsiteX18" fmla="*/ 7667 w 10000"/>
                  <a:gd name="connsiteY18" fmla="*/ 1883 h 10998"/>
                  <a:gd name="connsiteX19" fmla="*/ 7790 w 10000"/>
                  <a:gd name="connsiteY19" fmla="*/ 1362 h 10998"/>
                  <a:gd name="connsiteX20" fmla="*/ 7422 w 10000"/>
                  <a:gd name="connsiteY20" fmla="*/ 1362 h 10998"/>
                  <a:gd name="connsiteX21" fmla="*/ 7422 w 10000"/>
                  <a:gd name="connsiteY21" fmla="*/ 1883 h 10998"/>
                  <a:gd name="connsiteX22" fmla="*/ 6930 w 10000"/>
                  <a:gd name="connsiteY22" fmla="*/ 3027 h 10998"/>
                  <a:gd name="connsiteX23" fmla="*/ 6439 w 10000"/>
                  <a:gd name="connsiteY23" fmla="*/ 3755 h 10998"/>
                  <a:gd name="connsiteX24" fmla="*/ 6072 w 10000"/>
                  <a:gd name="connsiteY24" fmla="*/ 2299 h 10998"/>
                  <a:gd name="connsiteX25" fmla="*/ 5580 w 10000"/>
                  <a:gd name="connsiteY25" fmla="*/ 1570 h 10998"/>
                  <a:gd name="connsiteX26" fmla="*/ 5335 w 10000"/>
                  <a:gd name="connsiteY26" fmla="*/ 946 h 10998"/>
                  <a:gd name="connsiteX27" fmla="*/ 4843 w 10000"/>
                  <a:gd name="connsiteY27" fmla="*/ 738 h 10998"/>
                  <a:gd name="connsiteX28" fmla="*/ 4107 w 10000"/>
                  <a:gd name="connsiteY28" fmla="*/ 634 h 10998"/>
                  <a:gd name="connsiteX29" fmla="*/ 2634 w 10000"/>
                  <a:gd name="connsiteY29" fmla="*/ 738 h 10998"/>
                  <a:gd name="connsiteX30" fmla="*/ 3616 w 10000"/>
                  <a:gd name="connsiteY30" fmla="*/ 9 h 10998"/>
                  <a:gd name="connsiteX31" fmla="*/ 3248 w 10000"/>
                  <a:gd name="connsiteY31" fmla="*/ 113 h 10998"/>
                  <a:gd name="connsiteX32" fmla="*/ 1897 w 10000"/>
                  <a:gd name="connsiteY32" fmla="*/ 530 h 10998"/>
                  <a:gd name="connsiteX33" fmla="*/ 547 w 10000"/>
                  <a:gd name="connsiteY33" fmla="*/ 3443 h 10998"/>
                  <a:gd name="connsiteX34" fmla="*/ 55 w 10000"/>
                  <a:gd name="connsiteY34" fmla="*/ 6045 h 10998"/>
                  <a:gd name="connsiteX35" fmla="*/ 55 w 10000"/>
                  <a:gd name="connsiteY35" fmla="*/ 7295 h 10998"/>
                  <a:gd name="connsiteX36" fmla="*/ 1897 w 10000"/>
                  <a:gd name="connsiteY36" fmla="*/ 8022 h 10998"/>
                  <a:gd name="connsiteX37" fmla="*/ 2634 w 10000"/>
                  <a:gd name="connsiteY37" fmla="*/ 8230 h 10998"/>
                  <a:gd name="connsiteX38" fmla="*/ 2388 w 10000"/>
                  <a:gd name="connsiteY38" fmla="*/ 9167 h 10998"/>
                  <a:gd name="connsiteX39" fmla="*/ 2511 w 10000"/>
                  <a:gd name="connsiteY39" fmla="*/ 9792 h 10998"/>
                  <a:gd name="connsiteX40" fmla="*/ 6562 w 10000"/>
                  <a:gd name="connsiteY40" fmla="*/ 10996 h 10998"/>
                  <a:gd name="connsiteX41" fmla="*/ 9509 w 10000"/>
                  <a:gd name="connsiteY41" fmla="*/ 9480 h 10998"/>
                  <a:gd name="connsiteX42" fmla="*/ 9509 w 10000"/>
                  <a:gd name="connsiteY42" fmla="*/ 8855 h 10998"/>
                  <a:gd name="connsiteX43" fmla="*/ 9263 w 10000"/>
                  <a:gd name="connsiteY43" fmla="*/ 7918 h 10998"/>
                  <a:gd name="connsiteX44" fmla="*/ 10000 w 10000"/>
                  <a:gd name="connsiteY44" fmla="*/ 7814 h 10998"/>
                  <a:gd name="connsiteX45" fmla="*/ 7053 w 10000"/>
                  <a:gd name="connsiteY45" fmla="*/ 7814 h 10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0000" h="10998">
                    <a:moveTo>
                      <a:pt x="7053" y="7814"/>
                    </a:moveTo>
                    <a:cubicBezTo>
                      <a:pt x="6685" y="7918"/>
                      <a:pt x="6417" y="7832"/>
                      <a:pt x="5927" y="7728"/>
                    </a:cubicBezTo>
                    <a:cubicBezTo>
                      <a:pt x="5927" y="7728"/>
                      <a:pt x="4721" y="8022"/>
                      <a:pt x="4107" y="8126"/>
                    </a:cubicBezTo>
                    <a:cubicBezTo>
                      <a:pt x="4107" y="8022"/>
                      <a:pt x="4107" y="7918"/>
                      <a:pt x="4229" y="7710"/>
                    </a:cubicBezTo>
                    <a:cubicBezTo>
                      <a:pt x="4475" y="7399"/>
                      <a:pt x="5089" y="6982"/>
                      <a:pt x="5089" y="6878"/>
                    </a:cubicBezTo>
                    <a:lnTo>
                      <a:pt x="5089" y="6878"/>
                    </a:lnTo>
                    <a:cubicBezTo>
                      <a:pt x="5212" y="6774"/>
                      <a:pt x="5580" y="6774"/>
                      <a:pt x="5826" y="6566"/>
                    </a:cubicBezTo>
                    <a:cubicBezTo>
                      <a:pt x="6439" y="6254"/>
                      <a:pt x="6685" y="6150"/>
                      <a:pt x="6930" y="6150"/>
                    </a:cubicBezTo>
                    <a:cubicBezTo>
                      <a:pt x="6930" y="6150"/>
                      <a:pt x="6930" y="6358"/>
                      <a:pt x="6808" y="6462"/>
                    </a:cubicBezTo>
                    <a:lnTo>
                      <a:pt x="7053" y="6462"/>
                    </a:lnTo>
                    <a:lnTo>
                      <a:pt x="7053" y="6045"/>
                    </a:lnTo>
                    <a:lnTo>
                      <a:pt x="7053" y="6045"/>
                    </a:lnTo>
                    <a:cubicBezTo>
                      <a:pt x="6439" y="5837"/>
                      <a:pt x="6808" y="5629"/>
                      <a:pt x="6808" y="5629"/>
                    </a:cubicBezTo>
                    <a:cubicBezTo>
                      <a:pt x="6562" y="5525"/>
                      <a:pt x="6930" y="5317"/>
                      <a:pt x="6930" y="5317"/>
                    </a:cubicBezTo>
                    <a:cubicBezTo>
                      <a:pt x="6562" y="5005"/>
                      <a:pt x="7053" y="4796"/>
                      <a:pt x="7053" y="4796"/>
                    </a:cubicBezTo>
                    <a:cubicBezTo>
                      <a:pt x="6808" y="4692"/>
                      <a:pt x="6930" y="4588"/>
                      <a:pt x="7053" y="4484"/>
                    </a:cubicBezTo>
                    <a:lnTo>
                      <a:pt x="7299" y="4588"/>
                    </a:lnTo>
                    <a:lnTo>
                      <a:pt x="7422" y="3860"/>
                    </a:lnTo>
                    <a:cubicBezTo>
                      <a:pt x="7504" y="3201"/>
                      <a:pt x="7585" y="2542"/>
                      <a:pt x="7667" y="1883"/>
                    </a:cubicBezTo>
                    <a:cubicBezTo>
                      <a:pt x="7790" y="1570"/>
                      <a:pt x="7790" y="1362"/>
                      <a:pt x="7790" y="1362"/>
                    </a:cubicBezTo>
                    <a:lnTo>
                      <a:pt x="7422" y="1362"/>
                    </a:lnTo>
                    <a:cubicBezTo>
                      <a:pt x="7299" y="1466"/>
                      <a:pt x="7422" y="1883"/>
                      <a:pt x="7422" y="1883"/>
                    </a:cubicBezTo>
                    <a:cubicBezTo>
                      <a:pt x="7176" y="2195"/>
                      <a:pt x="6930" y="3027"/>
                      <a:pt x="6930" y="3027"/>
                    </a:cubicBezTo>
                    <a:cubicBezTo>
                      <a:pt x="6685" y="3651"/>
                      <a:pt x="6439" y="3755"/>
                      <a:pt x="6439" y="3755"/>
                    </a:cubicBezTo>
                    <a:cubicBezTo>
                      <a:pt x="6439" y="3755"/>
                      <a:pt x="6195" y="2611"/>
                      <a:pt x="6072" y="2299"/>
                    </a:cubicBezTo>
                    <a:cubicBezTo>
                      <a:pt x="5949" y="1987"/>
                      <a:pt x="5580" y="1987"/>
                      <a:pt x="5580" y="1570"/>
                    </a:cubicBezTo>
                    <a:cubicBezTo>
                      <a:pt x="5458" y="1154"/>
                      <a:pt x="5335" y="946"/>
                      <a:pt x="5335" y="946"/>
                    </a:cubicBezTo>
                    <a:cubicBezTo>
                      <a:pt x="4843" y="946"/>
                      <a:pt x="4843" y="738"/>
                      <a:pt x="4843" y="738"/>
                    </a:cubicBezTo>
                    <a:cubicBezTo>
                      <a:pt x="4721" y="530"/>
                      <a:pt x="4107" y="634"/>
                      <a:pt x="4107" y="634"/>
                    </a:cubicBezTo>
                    <a:cubicBezTo>
                      <a:pt x="3493" y="634"/>
                      <a:pt x="2634" y="738"/>
                      <a:pt x="2634" y="738"/>
                    </a:cubicBezTo>
                    <a:cubicBezTo>
                      <a:pt x="2634" y="738"/>
                      <a:pt x="3738" y="-95"/>
                      <a:pt x="3616" y="9"/>
                    </a:cubicBezTo>
                    <a:cubicBezTo>
                      <a:pt x="3493" y="9"/>
                      <a:pt x="3371" y="113"/>
                      <a:pt x="3248" y="113"/>
                    </a:cubicBezTo>
                    <a:cubicBezTo>
                      <a:pt x="2879" y="217"/>
                      <a:pt x="2265" y="425"/>
                      <a:pt x="1897" y="530"/>
                    </a:cubicBezTo>
                    <a:cubicBezTo>
                      <a:pt x="1405" y="738"/>
                      <a:pt x="669" y="3235"/>
                      <a:pt x="547" y="3443"/>
                    </a:cubicBezTo>
                    <a:cubicBezTo>
                      <a:pt x="547" y="3651"/>
                      <a:pt x="178" y="5629"/>
                      <a:pt x="55" y="6045"/>
                    </a:cubicBezTo>
                    <a:cubicBezTo>
                      <a:pt x="55" y="6462"/>
                      <a:pt x="-67" y="6878"/>
                      <a:pt x="55" y="7295"/>
                    </a:cubicBezTo>
                    <a:cubicBezTo>
                      <a:pt x="178" y="7710"/>
                      <a:pt x="1283" y="7814"/>
                      <a:pt x="1897" y="8022"/>
                    </a:cubicBezTo>
                    <a:cubicBezTo>
                      <a:pt x="2511" y="8126"/>
                      <a:pt x="2634" y="8230"/>
                      <a:pt x="2634" y="8230"/>
                    </a:cubicBezTo>
                    <a:cubicBezTo>
                      <a:pt x="2634" y="8230"/>
                      <a:pt x="2511" y="8647"/>
                      <a:pt x="2388" y="9167"/>
                    </a:cubicBezTo>
                    <a:cubicBezTo>
                      <a:pt x="2388" y="9480"/>
                      <a:pt x="2388" y="9688"/>
                      <a:pt x="2511" y="9792"/>
                    </a:cubicBezTo>
                    <a:cubicBezTo>
                      <a:pt x="3207" y="10097"/>
                      <a:pt x="5396" y="11048"/>
                      <a:pt x="6562" y="10996"/>
                    </a:cubicBezTo>
                    <a:cubicBezTo>
                      <a:pt x="7728" y="10944"/>
                      <a:pt x="9018" y="9837"/>
                      <a:pt x="9509" y="9480"/>
                    </a:cubicBezTo>
                    <a:cubicBezTo>
                      <a:pt x="10000" y="9123"/>
                      <a:pt x="9509" y="8855"/>
                      <a:pt x="9509" y="8855"/>
                    </a:cubicBezTo>
                    <a:cubicBezTo>
                      <a:pt x="9140" y="8022"/>
                      <a:pt x="9263" y="7918"/>
                      <a:pt x="9263" y="7918"/>
                    </a:cubicBezTo>
                    <a:cubicBezTo>
                      <a:pt x="9386" y="7814"/>
                      <a:pt x="9877" y="8022"/>
                      <a:pt x="10000" y="7814"/>
                    </a:cubicBezTo>
                    <a:lnTo>
                      <a:pt x="7053" y="7814"/>
                    </a:ln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21">
                <a:extLst>
                  <a:ext uri="{FF2B5EF4-FFF2-40B4-BE49-F238E27FC236}">
                    <a16:creationId xmlns:a16="http://schemas.microsoft.com/office/drawing/2014/main" id="{1CD3E128-F25E-4D9F-A847-878E146D46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6802" y="3016218"/>
                <a:ext cx="120395" cy="71469"/>
              </a:xfrm>
              <a:custGeom>
                <a:avLst/>
                <a:gdLst>
                  <a:gd name="T0" fmla="*/ 30 w 33"/>
                  <a:gd name="T1" fmla="*/ 4 h 19"/>
                  <a:gd name="T2" fmla="*/ 29 w 33"/>
                  <a:gd name="T3" fmla="*/ 3 h 19"/>
                  <a:gd name="T4" fmla="*/ 24 w 33"/>
                  <a:gd name="T5" fmla="*/ 3 h 19"/>
                  <a:gd name="T6" fmla="*/ 22 w 33"/>
                  <a:gd name="T7" fmla="*/ 3 h 19"/>
                  <a:gd name="T8" fmla="*/ 23 w 33"/>
                  <a:gd name="T9" fmla="*/ 0 h 19"/>
                  <a:gd name="T10" fmla="*/ 14 w 33"/>
                  <a:gd name="T11" fmla="*/ 4 h 19"/>
                  <a:gd name="T12" fmla="*/ 8 w 33"/>
                  <a:gd name="T13" fmla="*/ 7 h 19"/>
                  <a:gd name="T14" fmla="*/ 8 w 33"/>
                  <a:gd name="T15" fmla="*/ 7 h 19"/>
                  <a:gd name="T16" fmla="*/ 1 w 33"/>
                  <a:gd name="T17" fmla="*/ 15 h 19"/>
                  <a:gd name="T18" fmla="*/ 0 w 33"/>
                  <a:gd name="T19" fmla="*/ 19 h 19"/>
                  <a:gd name="T20" fmla="*/ 14 w 33"/>
                  <a:gd name="T21" fmla="*/ 17 h 19"/>
                  <a:gd name="T22" fmla="*/ 24 w 33"/>
                  <a:gd name="T23" fmla="*/ 16 h 19"/>
                  <a:gd name="T24" fmla="*/ 29 w 33"/>
                  <a:gd name="T25" fmla="*/ 13 h 19"/>
                  <a:gd name="T26" fmla="*/ 30 w 33"/>
                  <a:gd name="T27" fmla="*/ 10 h 19"/>
                  <a:gd name="T28" fmla="*/ 31 w 33"/>
                  <a:gd name="T29" fmla="*/ 8 h 19"/>
                  <a:gd name="T30" fmla="*/ 30 w 33"/>
                  <a:gd name="T31" fmla="*/ 4 h 19"/>
                  <a:gd name="connsiteX0" fmla="*/ 9091 w 9602"/>
                  <a:gd name="connsiteY0" fmla="*/ 2178 h 10073"/>
                  <a:gd name="connsiteX1" fmla="*/ 8788 w 9602"/>
                  <a:gd name="connsiteY1" fmla="*/ 1652 h 10073"/>
                  <a:gd name="connsiteX2" fmla="*/ 7273 w 9602"/>
                  <a:gd name="connsiteY2" fmla="*/ 1652 h 10073"/>
                  <a:gd name="connsiteX3" fmla="*/ 6667 w 9602"/>
                  <a:gd name="connsiteY3" fmla="*/ 1652 h 10073"/>
                  <a:gd name="connsiteX4" fmla="*/ 6970 w 9602"/>
                  <a:gd name="connsiteY4" fmla="*/ 73 h 10073"/>
                  <a:gd name="connsiteX5" fmla="*/ 4242 w 9602"/>
                  <a:gd name="connsiteY5" fmla="*/ 2178 h 10073"/>
                  <a:gd name="connsiteX6" fmla="*/ 2424 w 9602"/>
                  <a:gd name="connsiteY6" fmla="*/ 3757 h 10073"/>
                  <a:gd name="connsiteX7" fmla="*/ 2424 w 9602"/>
                  <a:gd name="connsiteY7" fmla="*/ 3757 h 10073"/>
                  <a:gd name="connsiteX8" fmla="*/ 303 w 9602"/>
                  <a:gd name="connsiteY8" fmla="*/ 7968 h 10073"/>
                  <a:gd name="connsiteX9" fmla="*/ 0 w 9602"/>
                  <a:gd name="connsiteY9" fmla="*/ 10073 h 10073"/>
                  <a:gd name="connsiteX10" fmla="*/ 4242 w 9602"/>
                  <a:gd name="connsiteY10" fmla="*/ 9020 h 10073"/>
                  <a:gd name="connsiteX11" fmla="*/ 7273 w 9602"/>
                  <a:gd name="connsiteY11" fmla="*/ 8494 h 10073"/>
                  <a:gd name="connsiteX12" fmla="*/ 8788 w 9602"/>
                  <a:gd name="connsiteY12" fmla="*/ 6915 h 10073"/>
                  <a:gd name="connsiteX13" fmla="*/ 9091 w 9602"/>
                  <a:gd name="connsiteY13" fmla="*/ 5336 h 10073"/>
                  <a:gd name="connsiteX14" fmla="*/ 9394 w 9602"/>
                  <a:gd name="connsiteY14" fmla="*/ 4284 h 10073"/>
                  <a:gd name="connsiteX15" fmla="*/ 9091 w 9602"/>
                  <a:gd name="connsiteY15" fmla="*/ 2178 h 10073"/>
                  <a:gd name="connsiteX0" fmla="*/ 9982 w 10126"/>
                  <a:gd name="connsiteY0" fmla="*/ 1208 h 10001"/>
                  <a:gd name="connsiteX1" fmla="*/ 9152 w 10126"/>
                  <a:gd name="connsiteY1" fmla="*/ 1641 h 10001"/>
                  <a:gd name="connsiteX2" fmla="*/ 7574 w 10126"/>
                  <a:gd name="connsiteY2" fmla="*/ 1641 h 10001"/>
                  <a:gd name="connsiteX3" fmla="*/ 6943 w 10126"/>
                  <a:gd name="connsiteY3" fmla="*/ 1641 h 10001"/>
                  <a:gd name="connsiteX4" fmla="*/ 7259 w 10126"/>
                  <a:gd name="connsiteY4" fmla="*/ 73 h 10001"/>
                  <a:gd name="connsiteX5" fmla="*/ 4418 w 10126"/>
                  <a:gd name="connsiteY5" fmla="*/ 2163 h 10001"/>
                  <a:gd name="connsiteX6" fmla="*/ 2524 w 10126"/>
                  <a:gd name="connsiteY6" fmla="*/ 3731 h 10001"/>
                  <a:gd name="connsiteX7" fmla="*/ 2524 w 10126"/>
                  <a:gd name="connsiteY7" fmla="*/ 3731 h 10001"/>
                  <a:gd name="connsiteX8" fmla="*/ 316 w 10126"/>
                  <a:gd name="connsiteY8" fmla="*/ 7911 h 10001"/>
                  <a:gd name="connsiteX9" fmla="*/ 0 w 10126"/>
                  <a:gd name="connsiteY9" fmla="*/ 10001 h 10001"/>
                  <a:gd name="connsiteX10" fmla="*/ 4418 w 10126"/>
                  <a:gd name="connsiteY10" fmla="*/ 8956 h 10001"/>
                  <a:gd name="connsiteX11" fmla="*/ 7574 w 10126"/>
                  <a:gd name="connsiteY11" fmla="*/ 8433 h 10001"/>
                  <a:gd name="connsiteX12" fmla="*/ 9152 w 10126"/>
                  <a:gd name="connsiteY12" fmla="*/ 6866 h 10001"/>
                  <a:gd name="connsiteX13" fmla="*/ 9468 w 10126"/>
                  <a:gd name="connsiteY13" fmla="*/ 5298 h 10001"/>
                  <a:gd name="connsiteX14" fmla="*/ 9783 w 10126"/>
                  <a:gd name="connsiteY14" fmla="*/ 4254 h 10001"/>
                  <a:gd name="connsiteX15" fmla="*/ 9982 w 10126"/>
                  <a:gd name="connsiteY15" fmla="*/ 1208 h 10001"/>
                  <a:gd name="connsiteX0" fmla="*/ 9982 w 10126"/>
                  <a:gd name="connsiteY0" fmla="*/ 1208 h 10001"/>
                  <a:gd name="connsiteX1" fmla="*/ 7574 w 10126"/>
                  <a:gd name="connsiteY1" fmla="*/ 1641 h 10001"/>
                  <a:gd name="connsiteX2" fmla="*/ 6943 w 10126"/>
                  <a:gd name="connsiteY2" fmla="*/ 1641 h 10001"/>
                  <a:gd name="connsiteX3" fmla="*/ 7259 w 10126"/>
                  <a:gd name="connsiteY3" fmla="*/ 73 h 10001"/>
                  <a:gd name="connsiteX4" fmla="*/ 4418 w 10126"/>
                  <a:gd name="connsiteY4" fmla="*/ 2163 h 10001"/>
                  <a:gd name="connsiteX5" fmla="*/ 2524 w 10126"/>
                  <a:gd name="connsiteY5" fmla="*/ 3731 h 10001"/>
                  <a:gd name="connsiteX6" fmla="*/ 2524 w 10126"/>
                  <a:gd name="connsiteY6" fmla="*/ 3731 h 10001"/>
                  <a:gd name="connsiteX7" fmla="*/ 316 w 10126"/>
                  <a:gd name="connsiteY7" fmla="*/ 7911 h 10001"/>
                  <a:gd name="connsiteX8" fmla="*/ 0 w 10126"/>
                  <a:gd name="connsiteY8" fmla="*/ 10001 h 10001"/>
                  <a:gd name="connsiteX9" fmla="*/ 4418 w 10126"/>
                  <a:gd name="connsiteY9" fmla="*/ 8956 h 10001"/>
                  <a:gd name="connsiteX10" fmla="*/ 7574 w 10126"/>
                  <a:gd name="connsiteY10" fmla="*/ 8433 h 10001"/>
                  <a:gd name="connsiteX11" fmla="*/ 9152 w 10126"/>
                  <a:gd name="connsiteY11" fmla="*/ 6866 h 10001"/>
                  <a:gd name="connsiteX12" fmla="*/ 9468 w 10126"/>
                  <a:gd name="connsiteY12" fmla="*/ 5298 h 10001"/>
                  <a:gd name="connsiteX13" fmla="*/ 9783 w 10126"/>
                  <a:gd name="connsiteY13" fmla="*/ 4254 h 10001"/>
                  <a:gd name="connsiteX14" fmla="*/ 9982 w 10126"/>
                  <a:gd name="connsiteY14" fmla="*/ 1208 h 10001"/>
                  <a:gd name="connsiteX0" fmla="*/ 9982 w 10126"/>
                  <a:gd name="connsiteY0" fmla="*/ 1208 h 10001"/>
                  <a:gd name="connsiteX1" fmla="*/ 6943 w 10126"/>
                  <a:gd name="connsiteY1" fmla="*/ 1641 h 10001"/>
                  <a:gd name="connsiteX2" fmla="*/ 7259 w 10126"/>
                  <a:gd name="connsiteY2" fmla="*/ 73 h 10001"/>
                  <a:gd name="connsiteX3" fmla="*/ 4418 w 10126"/>
                  <a:gd name="connsiteY3" fmla="*/ 2163 h 10001"/>
                  <a:gd name="connsiteX4" fmla="*/ 2524 w 10126"/>
                  <a:gd name="connsiteY4" fmla="*/ 3731 h 10001"/>
                  <a:gd name="connsiteX5" fmla="*/ 2524 w 10126"/>
                  <a:gd name="connsiteY5" fmla="*/ 3731 h 10001"/>
                  <a:gd name="connsiteX6" fmla="*/ 316 w 10126"/>
                  <a:gd name="connsiteY6" fmla="*/ 7911 h 10001"/>
                  <a:gd name="connsiteX7" fmla="*/ 0 w 10126"/>
                  <a:gd name="connsiteY7" fmla="*/ 10001 h 10001"/>
                  <a:gd name="connsiteX8" fmla="*/ 4418 w 10126"/>
                  <a:gd name="connsiteY8" fmla="*/ 8956 h 10001"/>
                  <a:gd name="connsiteX9" fmla="*/ 7574 w 10126"/>
                  <a:gd name="connsiteY9" fmla="*/ 8433 h 10001"/>
                  <a:gd name="connsiteX10" fmla="*/ 9152 w 10126"/>
                  <a:gd name="connsiteY10" fmla="*/ 6866 h 10001"/>
                  <a:gd name="connsiteX11" fmla="*/ 9468 w 10126"/>
                  <a:gd name="connsiteY11" fmla="*/ 5298 h 10001"/>
                  <a:gd name="connsiteX12" fmla="*/ 9783 w 10126"/>
                  <a:gd name="connsiteY12" fmla="*/ 4254 h 10001"/>
                  <a:gd name="connsiteX13" fmla="*/ 9982 w 10126"/>
                  <a:gd name="connsiteY13" fmla="*/ 1208 h 10001"/>
                  <a:gd name="connsiteX0" fmla="*/ 9982 w 10126"/>
                  <a:gd name="connsiteY0" fmla="*/ 1139 h 9932"/>
                  <a:gd name="connsiteX1" fmla="*/ 7778 w 10126"/>
                  <a:gd name="connsiteY1" fmla="*/ 1572 h 9932"/>
                  <a:gd name="connsiteX2" fmla="*/ 7259 w 10126"/>
                  <a:gd name="connsiteY2" fmla="*/ 4 h 9932"/>
                  <a:gd name="connsiteX3" fmla="*/ 4418 w 10126"/>
                  <a:gd name="connsiteY3" fmla="*/ 2094 h 9932"/>
                  <a:gd name="connsiteX4" fmla="*/ 2524 w 10126"/>
                  <a:gd name="connsiteY4" fmla="*/ 3662 h 9932"/>
                  <a:gd name="connsiteX5" fmla="*/ 2524 w 10126"/>
                  <a:gd name="connsiteY5" fmla="*/ 3662 h 9932"/>
                  <a:gd name="connsiteX6" fmla="*/ 316 w 10126"/>
                  <a:gd name="connsiteY6" fmla="*/ 7842 h 9932"/>
                  <a:gd name="connsiteX7" fmla="*/ 0 w 10126"/>
                  <a:gd name="connsiteY7" fmla="*/ 9932 h 9932"/>
                  <a:gd name="connsiteX8" fmla="*/ 4418 w 10126"/>
                  <a:gd name="connsiteY8" fmla="*/ 8887 h 9932"/>
                  <a:gd name="connsiteX9" fmla="*/ 7574 w 10126"/>
                  <a:gd name="connsiteY9" fmla="*/ 8364 h 9932"/>
                  <a:gd name="connsiteX10" fmla="*/ 9152 w 10126"/>
                  <a:gd name="connsiteY10" fmla="*/ 6797 h 9932"/>
                  <a:gd name="connsiteX11" fmla="*/ 9468 w 10126"/>
                  <a:gd name="connsiteY11" fmla="*/ 5229 h 9932"/>
                  <a:gd name="connsiteX12" fmla="*/ 9783 w 10126"/>
                  <a:gd name="connsiteY12" fmla="*/ 4185 h 9932"/>
                  <a:gd name="connsiteX13" fmla="*/ 9982 w 10126"/>
                  <a:gd name="connsiteY13" fmla="*/ 1139 h 9932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480 w 10000"/>
                  <a:gd name="connsiteY9" fmla="*/ 8421 h 10000"/>
                  <a:gd name="connsiteX10" fmla="*/ 9038 w 10000"/>
                  <a:gd name="connsiteY10" fmla="*/ 6844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480 w 10000"/>
                  <a:gd name="connsiteY9" fmla="*/ 8421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734 w 10000"/>
                  <a:gd name="connsiteY9" fmla="*/ 8848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734 w 10000"/>
                  <a:gd name="connsiteY9" fmla="*/ 8848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000" h="10000">
                    <a:moveTo>
                      <a:pt x="9858" y="1147"/>
                    </a:moveTo>
                    <a:cubicBezTo>
                      <a:pt x="9391" y="709"/>
                      <a:pt x="8130" y="1773"/>
                      <a:pt x="7681" y="1583"/>
                    </a:cubicBezTo>
                    <a:cubicBezTo>
                      <a:pt x="7233" y="1392"/>
                      <a:pt x="7722" y="-84"/>
                      <a:pt x="7169" y="4"/>
                    </a:cubicBezTo>
                    <a:cubicBezTo>
                      <a:pt x="6616" y="92"/>
                      <a:pt x="5922" y="531"/>
                      <a:pt x="4363" y="2108"/>
                    </a:cubicBezTo>
                    <a:cubicBezTo>
                      <a:pt x="3740" y="3161"/>
                      <a:pt x="2805" y="3161"/>
                      <a:pt x="2493" y="3687"/>
                    </a:cubicBezTo>
                    <a:lnTo>
                      <a:pt x="2493" y="3687"/>
                    </a:lnTo>
                    <a:cubicBezTo>
                      <a:pt x="2493" y="4214"/>
                      <a:pt x="935" y="6318"/>
                      <a:pt x="312" y="7896"/>
                    </a:cubicBezTo>
                    <a:cubicBezTo>
                      <a:pt x="0" y="8948"/>
                      <a:pt x="0" y="9474"/>
                      <a:pt x="0" y="10000"/>
                    </a:cubicBezTo>
                    <a:cubicBezTo>
                      <a:pt x="1558" y="9474"/>
                      <a:pt x="3074" y="9140"/>
                      <a:pt x="4363" y="8948"/>
                    </a:cubicBezTo>
                    <a:cubicBezTo>
                      <a:pt x="5652" y="8756"/>
                      <a:pt x="6800" y="9375"/>
                      <a:pt x="7734" y="8848"/>
                    </a:cubicBezTo>
                    <a:cubicBezTo>
                      <a:pt x="8358" y="8323"/>
                      <a:pt x="9171" y="8010"/>
                      <a:pt x="9482" y="7485"/>
                    </a:cubicBezTo>
                    <a:cubicBezTo>
                      <a:pt x="10105" y="7485"/>
                      <a:pt x="9477" y="6119"/>
                      <a:pt x="9477" y="6119"/>
                    </a:cubicBezTo>
                    <a:cubicBezTo>
                      <a:pt x="10100" y="5593"/>
                      <a:pt x="9661" y="4214"/>
                      <a:pt x="9661" y="4214"/>
                    </a:cubicBezTo>
                    <a:cubicBezTo>
                      <a:pt x="10284" y="2635"/>
                      <a:pt x="9858" y="1147"/>
                      <a:pt x="9858" y="114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63">
                <a:extLst>
                  <a:ext uri="{FF2B5EF4-FFF2-40B4-BE49-F238E27FC236}">
                    <a16:creationId xmlns:a16="http://schemas.microsoft.com/office/drawing/2014/main" id="{4CECCD49-5531-415B-972F-8441016E52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7576" y="2657623"/>
                <a:ext cx="98410" cy="200477"/>
              </a:xfrm>
              <a:custGeom>
                <a:avLst/>
                <a:gdLst>
                  <a:gd name="T0" fmla="*/ 25 w 27"/>
                  <a:gd name="T1" fmla="*/ 6 h 54"/>
                  <a:gd name="T2" fmla="*/ 16 w 27"/>
                  <a:gd name="T3" fmla="*/ 3 h 54"/>
                  <a:gd name="T4" fmla="*/ 19 w 27"/>
                  <a:gd name="T5" fmla="*/ 6 h 54"/>
                  <a:gd name="T6" fmla="*/ 9 w 27"/>
                  <a:gd name="T7" fmla="*/ 3 h 54"/>
                  <a:gd name="T8" fmla="*/ 4 w 27"/>
                  <a:gd name="T9" fmla="*/ 1 h 54"/>
                  <a:gd name="T10" fmla="*/ 3 w 27"/>
                  <a:gd name="T11" fmla="*/ 3 h 54"/>
                  <a:gd name="T12" fmla="*/ 3 w 27"/>
                  <a:gd name="T13" fmla="*/ 4 h 54"/>
                  <a:gd name="T14" fmla="*/ 3 w 27"/>
                  <a:gd name="T15" fmla="*/ 5 h 54"/>
                  <a:gd name="T16" fmla="*/ 1 w 27"/>
                  <a:gd name="T17" fmla="*/ 12 h 54"/>
                  <a:gd name="T18" fmla="*/ 2 w 27"/>
                  <a:gd name="T19" fmla="*/ 22 h 54"/>
                  <a:gd name="T20" fmla="*/ 1 w 27"/>
                  <a:gd name="T21" fmla="*/ 22 h 54"/>
                  <a:gd name="T22" fmla="*/ 1 w 27"/>
                  <a:gd name="T23" fmla="*/ 28 h 54"/>
                  <a:gd name="T24" fmla="*/ 1 w 27"/>
                  <a:gd name="T25" fmla="*/ 31 h 54"/>
                  <a:gd name="T26" fmla="*/ 1 w 27"/>
                  <a:gd name="T27" fmla="*/ 31 h 54"/>
                  <a:gd name="T28" fmla="*/ 0 w 27"/>
                  <a:gd name="T29" fmla="*/ 37 h 54"/>
                  <a:gd name="T30" fmla="*/ 10 w 27"/>
                  <a:gd name="T31" fmla="*/ 54 h 54"/>
                  <a:gd name="T32" fmla="*/ 14 w 27"/>
                  <a:gd name="T33" fmla="*/ 48 h 54"/>
                  <a:gd name="T34" fmla="*/ 20 w 27"/>
                  <a:gd name="T35" fmla="*/ 33 h 54"/>
                  <a:gd name="T36" fmla="*/ 20 w 27"/>
                  <a:gd name="T37" fmla="*/ 33 h 54"/>
                  <a:gd name="T38" fmla="*/ 20 w 27"/>
                  <a:gd name="T39" fmla="*/ 30 h 54"/>
                  <a:gd name="T40" fmla="*/ 26 w 27"/>
                  <a:gd name="T41" fmla="*/ 20 h 54"/>
                  <a:gd name="T42" fmla="*/ 25 w 27"/>
                  <a:gd name="T43" fmla="*/ 19 h 54"/>
                  <a:gd name="T44" fmla="*/ 25 w 27"/>
                  <a:gd name="T45" fmla="*/ 6 h 54"/>
                  <a:gd name="connsiteX0" fmla="*/ 9259 w 9686"/>
                  <a:gd name="connsiteY0" fmla="*/ 977 h 9866"/>
                  <a:gd name="connsiteX1" fmla="*/ 5926 w 9686"/>
                  <a:gd name="connsiteY1" fmla="*/ 422 h 9866"/>
                  <a:gd name="connsiteX2" fmla="*/ 7037 w 9686"/>
                  <a:gd name="connsiteY2" fmla="*/ 977 h 9866"/>
                  <a:gd name="connsiteX3" fmla="*/ 3333 w 9686"/>
                  <a:gd name="connsiteY3" fmla="*/ 422 h 9866"/>
                  <a:gd name="connsiteX4" fmla="*/ 1481 w 9686"/>
                  <a:gd name="connsiteY4" fmla="*/ 51 h 9866"/>
                  <a:gd name="connsiteX5" fmla="*/ 1111 w 9686"/>
                  <a:gd name="connsiteY5" fmla="*/ 422 h 9866"/>
                  <a:gd name="connsiteX6" fmla="*/ 1111 w 9686"/>
                  <a:gd name="connsiteY6" fmla="*/ 607 h 9866"/>
                  <a:gd name="connsiteX7" fmla="*/ 1111 w 9686"/>
                  <a:gd name="connsiteY7" fmla="*/ 792 h 9866"/>
                  <a:gd name="connsiteX8" fmla="*/ 370 w 9686"/>
                  <a:gd name="connsiteY8" fmla="*/ 2088 h 9866"/>
                  <a:gd name="connsiteX9" fmla="*/ 741 w 9686"/>
                  <a:gd name="connsiteY9" fmla="*/ 3940 h 9866"/>
                  <a:gd name="connsiteX10" fmla="*/ 370 w 9686"/>
                  <a:gd name="connsiteY10" fmla="*/ 3940 h 9866"/>
                  <a:gd name="connsiteX11" fmla="*/ 370 w 9686"/>
                  <a:gd name="connsiteY11" fmla="*/ 5051 h 9866"/>
                  <a:gd name="connsiteX12" fmla="*/ 370 w 9686"/>
                  <a:gd name="connsiteY12" fmla="*/ 5607 h 9866"/>
                  <a:gd name="connsiteX13" fmla="*/ 370 w 9686"/>
                  <a:gd name="connsiteY13" fmla="*/ 5607 h 9866"/>
                  <a:gd name="connsiteX14" fmla="*/ 0 w 9686"/>
                  <a:gd name="connsiteY14" fmla="*/ 6718 h 9866"/>
                  <a:gd name="connsiteX15" fmla="*/ 3704 w 9686"/>
                  <a:gd name="connsiteY15" fmla="*/ 9866 h 9866"/>
                  <a:gd name="connsiteX16" fmla="*/ 5185 w 9686"/>
                  <a:gd name="connsiteY16" fmla="*/ 8755 h 9866"/>
                  <a:gd name="connsiteX17" fmla="*/ 7407 w 9686"/>
                  <a:gd name="connsiteY17" fmla="*/ 5977 h 9866"/>
                  <a:gd name="connsiteX18" fmla="*/ 7407 w 9686"/>
                  <a:gd name="connsiteY18" fmla="*/ 5977 h 9866"/>
                  <a:gd name="connsiteX19" fmla="*/ 7407 w 9686"/>
                  <a:gd name="connsiteY19" fmla="*/ 5422 h 9866"/>
                  <a:gd name="connsiteX20" fmla="*/ 9630 w 9686"/>
                  <a:gd name="connsiteY20" fmla="*/ 3570 h 9866"/>
                  <a:gd name="connsiteX21" fmla="*/ 9259 w 9686"/>
                  <a:gd name="connsiteY21" fmla="*/ 3385 h 9866"/>
                  <a:gd name="connsiteX22" fmla="*/ 9259 w 9686"/>
                  <a:gd name="connsiteY22" fmla="*/ 977 h 9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686" h="9866">
                    <a:moveTo>
                      <a:pt x="9259" y="977"/>
                    </a:moveTo>
                    <a:cubicBezTo>
                      <a:pt x="8148" y="977"/>
                      <a:pt x="5556" y="236"/>
                      <a:pt x="5926" y="422"/>
                    </a:cubicBezTo>
                    <a:cubicBezTo>
                      <a:pt x="6296" y="792"/>
                      <a:pt x="7778" y="977"/>
                      <a:pt x="7037" y="977"/>
                    </a:cubicBezTo>
                    <a:cubicBezTo>
                      <a:pt x="6296" y="977"/>
                      <a:pt x="5185" y="792"/>
                      <a:pt x="3333" y="422"/>
                    </a:cubicBezTo>
                    <a:cubicBezTo>
                      <a:pt x="1481" y="236"/>
                      <a:pt x="1852" y="-134"/>
                      <a:pt x="1481" y="51"/>
                    </a:cubicBezTo>
                    <a:lnTo>
                      <a:pt x="1111" y="422"/>
                    </a:lnTo>
                    <a:lnTo>
                      <a:pt x="1111" y="607"/>
                    </a:lnTo>
                    <a:lnTo>
                      <a:pt x="1111" y="792"/>
                    </a:lnTo>
                    <a:cubicBezTo>
                      <a:pt x="741" y="1347"/>
                      <a:pt x="370" y="1903"/>
                      <a:pt x="370" y="2088"/>
                    </a:cubicBezTo>
                    <a:cubicBezTo>
                      <a:pt x="0" y="2459"/>
                      <a:pt x="741" y="3755"/>
                      <a:pt x="741" y="3940"/>
                    </a:cubicBezTo>
                    <a:lnTo>
                      <a:pt x="370" y="3940"/>
                    </a:lnTo>
                    <a:cubicBezTo>
                      <a:pt x="370" y="4310"/>
                      <a:pt x="320" y="4786"/>
                      <a:pt x="370" y="5051"/>
                    </a:cubicBezTo>
                    <a:cubicBezTo>
                      <a:pt x="420" y="5316"/>
                      <a:pt x="370" y="5422"/>
                      <a:pt x="370" y="5607"/>
                    </a:cubicBezTo>
                    <a:lnTo>
                      <a:pt x="370" y="5607"/>
                    </a:lnTo>
                    <a:cubicBezTo>
                      <a:pt x="370" y="5607"/>
                      <a:pt x="0" y="6533"/>
                      <a:pt x="0" y="6718"/>
                    </a:cubicBezTo>
                    <a:cubicBezTo>
                      <a:pt x="370" y="6903"/>
                      <a:pt x="1852" y="8940"/>
                      <a:pt x="3704" y="9866"/>
                    </a:cubicBezTo>
                    <a:cubicBezTo>
                      <a:pt x="3704" y="9866"/>
                      <a:pt x="4444" y="9496"/>
                      <a:pt x="5185" y="8755"/>
                    </a:cubicBezTo>
                    <a:cubicBezTo>
                      <a:pt x="5926" y="8199"/>
                      <a:pt x="7407" y="7088"/>
                      <a:pt x="7407" y="5977"/>
                    </a:cubicBezTo>
                    <a:lnTo>
                      <a:pt x="7407" y="5977"/>
                    </a:lnTo>
                    <a:lnTo>
                      <a:pt x="7407" y="5422"/>
                    </a:lnTo>
                    <a:cubicBezTo>
                      <a:pt x="8889" y="4681"/>
                      <a:pt x="9259" y="4125"/>
                      <a:pt x="9630" y="3570"/>
                    </a:cubicBezTo>
                    <a:cubicBezTo>
                      <a:pt x="9630" y="3385"/>
                      <a:pt x="9259" y="3385"/>
                      <a:pt x="9259" y="3385"/>
                    </a:cubicBezTo>
                    <a:cubicBezTo>
                      <a:pt x="9630" y="2459"/>
                      <a:pt x="10000" y="1162"/>
                      <a:pt x="9259" y="97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2">
                <a:extLst>
                  <a:ext uri="{FF2B5EF4-FFF2-40B4-BE49-F238E27FC236}">
                    <a16:creationId xmlns:a16="http://schemas.microsoft.com/office/drawing/2014/main" id="{95A182F1-4054-46A3-AEAA-E911DB6192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2963" y="3908425"/>
                <a:ext cx="66675" cy="44450"/>
              </a:xfrm>
              <a:custGeom>
                <a:avLst/>
                <a:gdLst>
                  <a:gd name="T0" fmla="*/ 2 w 18"/>
                  <a:gd name="T1" fmla="*/ 0 h 12"/>
                  <a:gd name="T2" fmla="*/ 0 w 18"/>
                  <a:gd name="T3" fmla="*/ 7 h 12"/>
                  <a:gd name="T4" fmla="*/ 8 w 18"/>
                  <a:gd name="T5" fmla="*/ 12 h 12"/>
                  <a:gd name="T6" fmla="*/ 17 w 18"/>
                  <a:gd name="T7" fmla="*/ 8 h 12"/>
                  <a:gd name="T8" fmla="*/ 16 w 18"/>
                  <a:gd name="T9" fmla="*/ 0 h 12"/>
                  <a:gd name="T10" fmla="*/ 16 w 18"/>
                  <a:gd name="T11" fmla="*/ 0 h 12"/>
                  <a:gd name="T12" fmla="*/ 2 w 18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2">
                    <a:moveTo>
                      <a:pt x="2" y="0"/>
                    </a:moveTo>
                    <a:cubicBezTo>
                      <a:pt x="1" y="3"/>
                      <a:pt x="0" y="6"/>
                      <a:pt x="0" y="7"/>
                    </a:cubicBezTo>
                    <a:cubicBezTo>
                      <a:pt x="1" y="9"/>
                      <a:pt x="8" y="12"/>
                      <a:pt x="8" y="12"/>
                    </a:cubicBezTo>
                    <a:cubicBezTo>
                      <a:pt x="16" y="12"/>
                      <a:pt x="17" y="8"/>
                      <a:pt x="17" y="8"/>
                    </a:cubicBezTo>
                    <a:cubicBezTo>
                      <a:pt x="18" y="6"/>
                      <a:pt x="17" y="3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2"/>
                      <a:pt x="5" y="1"/>
                      <a:pt x="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13">
                <a:extLst>
                  <a:ext uri="{FF2B5EF4-FFF2-40B4-BE49-F238E27FC236}">
                    <a16:creationId xmlns:a16="http://schemas.microsoft.com/office/drawing/2014/main" id="{CF6585C7-D42D-4EAF-B4B7-93A1AFEF9F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78263"/>
                <a:ext cx="60325" cy="49212"/>
              </a:xfrm>
              <a:custGeom>
                <a:avLst/>
                <a:gdLst>
                  <a:gd name="T0" fmla="*/ 6 w 16"/>
                  <a:gd name="T1" fmla="*/ 1 h 13"/>
                  <a:gd name="T2" fmla="*/ 0 w 16"/>
                  <a:gd name="T3" fmla="*/ 0 h 13"/>
                  <a:gd name="T4" fmla="*/ 0 w 16"/>
                  <a:gd name="T5" fmla="*/ 3 h 13"/>
                  <a:gd name="T6" fmla="*/ 0 w 16"/>
                  <a:gd name="T7" fmla="*/ 7 h 13"/>
                  <a:gd name="T8" fmla="*/ 2 w 16"/>
                  <a:gd name="T9" fmla="*/ 9 h 13"/>
                  <a:gd name="T10" fmla="*/ 13 w 16"/>
                  <a:gd name="T11" fmla="*/ 13 h 13"/>
                  <a:gd name="T12" fmla="*/ 16 w 16"/>
                  <a:gd name="T13" fmla="*/ 5 h 13"/>
                  <a:gd name="T14" fmla="*/ 15 w 16"/>
                  <a:gd name="T15" fmla="*/ 1 h 13"/>
                  <a:gd name="T16" fmla="*/ 6 w 16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3">
                    <a:moveTo>
                      <a:pt x="6" y="1"/>
                    </a:moveTo>
                    <a:cubicBezTo>
                      <a:pt x="4" y="1"/>
                      <a:pt x="2" y="0"/>
                      <a:pt x="0" y="0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4"/>
                      <a:pt x="1" y="5"/>
                      <a:pt x="0" y="7"/>
                    </a:cubicBezTo>
                    <a:cubicBezTo>
                      <a:pt x="1" y="9"/>
                      <a:pt x="2" y="9"/>
                      <a:pt x="2" y="9"/>
                    </a:cubicBezTo>
                    <a:cubicBezTo>
                      <a:pt x="2" y="11"/>
                      <a:pt x="10" y="13"/>
                      <a:pt x="13" y="13"/>
                    </a:cubicBezTo>
                    <a:cubicBezTo>
                      <a:pt x="15" y="13"/>
                      <a:pt x="16" y="5"/>
                      <a:pt x="16" y="5"/>
                    </a:cubicBezTo>
                    <a:cubicBezTo>
                      <a:pt x="16" y="5"/>
                      <a:pt x="16" y="3"/>
                      <a:pt x="15" y="1"/>
                    </a:cubicBezTo>
                    <a:cubicBezTo>
                      <a:pt x="12" y="1"/>
                      <a:pt x="9" y="1"/>
                      <a:pt x="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14">
                <a:extLst>
                  <a:ext uri="{FF2B5EF4-FFF2-40B4-BE49-F238E27FC236}">
                    <a16:creationId xmlns:a16="http://schemas.microsoft.com/office/drawing/2014/main" id="{6E296590-6655-4547-9C93-C311FB5C82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75088"/>
                <a:ext cx="4763" cy="3175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5">
                <a:extLst>
                  <a:ext uri="{FF2B5EF4-FFF2-40B4-BE49-F238E27FC236}">
                    <a16:creationId xmlns:a16="http://schemas.microsoft.com/office/drawing/2014/main" id="{2F998528-69CC-4327-8A63-33D5D93CCB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30638"/>
                <a:ext cx="4763" cy="47625"/>
              </a:xfrm>
              <a:custGeom>
                <a:avLst/>
                <a:gdLst>
                  <a:gd name="T0" fmla="*/ 1 w 1"/>
                  <a:gd name="T1" fmla="*/ 12 h 13"/>
                  <a:gd name="T2" fmla="*/ 0 w 1"/>
                  <a:gd name="T3" fmla="*/ 13 h 13"/>
                  <a:gd name="T4" fmla="*/ 0 w 1"/>
                  <a:gd name="T5" fmla="*/ 13 h 13"/>
                  <a:gd name="T6" fmla="*/ 1 w 1"/>
                  <a:gd name="T7" fmla="*/ 0 h 13"/>
                  <a:gd name="T8" fmla="*/ 1 w 1"/>
                  <a:gd name="T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3">
                    <a:moveTo>
                      <a:pt x="1" y="12"/>
                    </a:moveTo>
                    <a:cubicBezTo>
                      <a:pt x="1" y="12"/>
                      <a:pt x="0" y="12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0"/>
                      <a:pt x="1" y="5"/>
                      <a:pt x="1" y="0"/>
                    </a:cubicBezTo>
                    <a:cubicBezTo>
                      <a:pt x="1" y="4"/>
                      <a:pt x="1" y="9"/>
                      <a:pt x="1" y="12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6">
                <a:extLst>
                  <a:ext uri="{FF2B5EF4-FFF2-40B4-BE49-F238E27FC236}">
                    <a16:creationId xmlns:a16="http://schemas.microsoft.com/office/drawing/2014/main" id="{1B1EA729-ADBC-4BF4-B80C-8AC29EC1EB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690938"/>
                <a:ext cx="4763" cy="104775"/>
              </a:xfrm>
              <a:custGeom>
                <a:avLst/>
                <a:gdLst>
                  <a:gd name="T0" fmla="*/ 1 w 1"/>
                  <a:gd name="T1" fmla="*/ 22 h 28"/>
                  <a:gd name="T2" fmla="*/ 0 w 1"/>
                  <a:gd name="T3" fmla="*/ 0 h 28"/>
                  <a:gd name="T4" fmla="*/ 1 w 1"/>
                  <a:gd name="T5" fmla="*/ 25 h 28"/>
                  <a:gd name="T6" fmla="*/ 1 w 1"/>
                  <a:gd name="T7" fmla="*/ 28 h 28"/>
                  <a:gd name="T8" fmla="*/ 1 w 1"/>
                  <a:gd name="T9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8">
                    <a:moveTo>
                      <a:pt x="1" y="22"/>
                    </a:moveTo>
                    <a:cubicBezTo>
                      <a:pt x="1" y="13"/>
                      <a:pt x="0" y="4"/>
                      <a:pt x="0" y="0"/>
                    </a:cubicBezTo>
                    <a:cubicBezTo>
                      <a:pt x="0" y="9"/>
                      <a:pt x="1" y="21"/>
                      <a:pt x="1" y="25"/>
                    </a:cubicBezTo>
                    <a:cubicBezTo>
                      <a:pt x="1" y="26"/>
                      <a:pt x="1" y="27"/>
                      <a:pt x="1" y="28"/>
                    </a:cubicBezTo>
                    <a:cubicBezTo>
                      <a:pt x="1" y="26"/>
                      <a:pt x="1" y="24"/>
                      <a:pt x="1" y="22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17">
                <a:extLst>
                  <a:ext uri="{FF2B5EF4-FFF2-40B4-BE49-F238E27FC236}">
                    <a16:creationId xmlns:a16="http://schemas.microsoft.com/office/drawing/2014/main" id="{D1211743-1933-498E-ACB2-7851F59540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9151" y="3132138"/>
                <a:ext cx="253138" cy="781010"/>
              </a:xfrm>
              <a:custGeom>
                <a:avLst/>
                <a:gdLst>
                  <a:gd name="T0" fmla="*/ 66 w 69"/>
                  <a:gd name="T1" fmla="*/ 15 h 209"/>
                  <a:gd name="T2" fmla="*/ 62 w 69"/>
                  <a:gd name="T3" fmla="*/ 1 h 209"/>
                  <a:gd name="T4" fmla="*/ 62 w 69"/>
                  <a:gd name="T5" fmla="*/ 0 h 209"/>
                  <a:gd name="T6" fmla="*/ 38 w 69"/>
                  <a:gd name="T7" fmla="*/ 6 h 209"/>
                  <a:gd name="T8" fmla="*/ 6 w 69"/>
                  <a:gd name="T9" fmla="*/ 3 h 209"/>
                  <a:gd name="T10" fmla="*/ 5 w 69"/>
                  <a:gd name="T11" fmla="*/ 4 h 209"/>
                  <a:gd name="T12" fmla="*/ 4 w 69"/>
                  <a:gd name="T13" fmla="*/ 13 h 209"/>
                  <a:gd name="T14" fmla="*/ 0 w 69"/>
                  <a:gd name="T15" fmla="*/ 35 h 209"/>
                  <a:gd name="T16" fmla="*/ 3 w 69"/>
                  <a:gd name="T17" fmla="*/ 70 h 209"/>
                  <a:gd name="T18" fmla="*/ 7 w 69"/>
                  <a:gd name="T19" fmla="*/ 97 h 209"/>
                  <a:gd name="T20" fmla="*/ 5 w 69"/>
                  <a:gd name="T21" fmla="*/ 113 h 209"/>
                  <a:gd name="T22" fmla="*/ 4 w 69"/>
                  <a:gd name="T23" fmla="*/ 154 h 209"/>
                  <a:gd name="T24" fmla="*/ 7 w 69"/>
                  <a:gd name="T25" fmla="*/ 191 h 209"/>
                  <a:gd name="T26" fmla="*/ 5 w 69"/>
                  <a:gd name="T27" fmla="*/ 206 h 209"/>
                  <a:gd name="T28" fmla="*/ 8 w 69"/>
                  <a:gd name="T29" fmla="*/ 207 h 209"/>
                  <a:gd name="T30" fmla="*/ 22 w 69"/>
                  <a:gd name="T31" fmla="*/ 207 h 209"/>
                  <a:gd name="T32" fmla="*/ 22 w 69"/>
                  <a:gd name="T33" fmla="*/ 207 h 209"/>
                  <a:gd name="T34" fmla="*/ 25 w 69"/>
                  <a:gd name="T35" fmla="*/ 206 h 209"/>
                  <a:gd name="T36" fmla="*/ 25 w 69"/>
                  <a:gd name="T37" fmla="*/ 202 h 209"/>
                  <a:gd name="T38" fmla="*/ 25 w 69"/>
                  <a:gd name="T39" fmla="*/ 199 h 209"/>
                  <a:gd name="T40" fmla="*/ 25 w 69"/>
                  <a:gd name="T41" fmla="*/ 199 h 209"/>
                  <a:gd name="T42" fmla="*/ 26 w 69"/>
                  <a:gd name="T43" fmla="*/ 198 h 209"/>
                  <a:gd name="T44" fmla="*/ 26 w 69"/>
                  <a:gd name="T45" fmla="*/ 186 h 209"/>
                  <a:gd name="T46" fmla="*/ 26 w 69"/>
                  <a:gd name="T47" fmla="*/ 177 h 209"/>
                  <a:gd name="T48" fmla="*/ 26 w 69"/>
                  <a:gd name="T49" fmla="*/ 174 h 209"/>
                  <a:gd name="T50" fmla="*/ 25 w 69"/>
                  <a:gd name="T51" fmla="*/ 149 h 209"/>
                  <a:gd name="T52" fmla="*/ 25 w 69"/>
                  <a:gd name="T53" fmla="*/ 137 h 209"/>
                  <a:gd name="T54" fmla="*/ 27 w 69"/>
                  <a:gd name="T55" fmla="*/ 106 h 209"/>
                  <a:gd name="T56" fmla="*/ 28 w 69"/>
                  <a:gd name="T57" fmla="*/ 75 h 209"/>
                  <a:gd name="T58" fmla="*/ 31 w 69"/>
                  <a:gd name="T59" fmla="*/ 48 h 209"/>
                  <a:gd name="T60" fmla="*/ 35 w 69"/>
                  <a:gd name="T61" fmla="*/ 46 h 209"/>
                  <a:gd name="T62" fmla="*/ 34 w 69"/>
                  <a:gd name="T63" fmla="*/ 74 h 209"/>
                  <a:gd name="T64" fmla="*/ 32 w 69"/>
                  <a:gd name="T65" fmla="*/ 98 h 209"/>
                  <a:gd name="T66" fmla="*/ 31 w 69"/>
                  <a:gd name="T67" fmla="*/ 127 h 209"/>
                  <a:gd name="T68" fmla="*/ 28 w 69"/>
                  <a:gd name="T69" fmla="*/ 143 h 209"/>
                  <a:gd name="T70" fmla="*/ 25 w 69"/>
                  <a:gd name="T71" fmla="*/ 149 h 209"/>
                  <a:gd name="T72" fmla="*/ 26 w 69"/>
                  <a:gd name="T73" fmla="*/ 171 h 209"/>
                  <a:gd name="T74" fmla="*/ 26 w 69"/>
                  <a:gd name="T75" fmla="*/ 177 h 209"/>
                  <a:gd name="T76" fmla="*/ 26 w 69"/>
                  <a:gd name="T77" fmla="*/ 186 h 209"/>
                  <a:gd name="T78" fmla="*/ 25 w 69"/>
                  <a:gd name="T79" fmla="*/ 199 h 209"/>
                  <a:gd name="T80" fmla="*/ 31 w 69"/>
                  <a:gd name="T81" fmla="*/ 200 h 209"/>
                  <a:gd name="T82" fmla="*/ 40 w 69"/>
                  <a:gd name="T83" fmla="*/ 200 h 209"/>
                  <a:gd name="T84" fmla="*/ 47 w 69"/>
                  <a:gd name="T85" fmla="*/ 199 h 209"/>
                  <a:gd name="T86" fmla="*/ 47 w 69"/>
                  <a:gd name="T87" fmla="*/ 189 h 209"/>
                  <a:gd name="T88" fmla="*/ 53 w 69"/>
                  <a:gd name="T89" fmla="*/ 135 h 209"/>
                  <a:gd name="T90" fmla="*/ 56 w 69"/>
                  <a:gd name="T91" fmla="*/ 103 h 209"/>
                  <a:gd name="T92" fmla="*/ 64 w 69"/>
                  <a:gd name="T93" fmla="*/ 50 h 209"/>
                  <a:gd name="T94" fmla="*/ 66 w 69"/>
                  <a:gd name="T95" fmla="*/ 15 h 209"/>
                  <a:gd name="connsiteX0" fmla="*/ 9565 w 9723"/>
                  <a:gd name="connsiteY0" fmla="*/ 718 h 9959"/>
                  <a:gd name="connsiteX1" fmla="*/ 8986 w 9723"/>
                  <a:gd name="connsiteY1" fmla="*/ 48 h 9959"/>
                  <a:gd name="connsiteX2" fmla="*/ 8986 w 9723"/>
                  <a:gd name="connsiteY2" fmla="*/ 0 h 9959"/>
                  <a:gd name="connsiteX3" fmla="*/ 5507 w 9723"/>
                  <a:gd name="connsiteY3" fmla="*/ 287 h 9959"/>
                  <a:gd name="connsiteX4" fmla="*/ 870 w 9723"/>
                  <a:gd name="connsiteY4" fmla="*/ 144 h 9959"/>
                  <a:gd name="connsiteX5" fmla="*/ 725 w 9723"/>
                  <a:gd name="connsiteY5" fmla="*/ 191 h 9959"/>
                  <a:gd name="connsiteX6" fmla="*/ 580 w 9723"/>
                  <a:gd name="connsiteY6" fmla="*/ 622 h 9959"/>
                  <a:gd name="connsiteX7" fmla="*/ 0 w 9723"/>
                  <a:gd name="connsiteY7" fmla="*/ 1675 h 9959"/>
                  <a:gd name="connsiteX8" fmla="*/ 435 w 9723"/>
                  <a:gd name="connsiteY8" fmla="*/ 3349 h 9959"/>
                  <a:gd name="connsiteX9" fmla="*/ 1014 w 9723"/>
                  <a:gd name="connsiteY9" fmla="*/ 4641 h 9959"/>
                  <a:gd name="connsiteX10" fmla="*/ 725 w 9723"/>
                  <a:gd name="connsiteY10" fmla="*/ 5407 h 9959"/>
                  <a:gd name="connsiteX11" fmla="*/ 580 w 9723"/>
                  <a:gd name="connsiteY11" fmla="*/ 7368 h 9959"/>
                  <a:gd name="connsiteX12" fmla="*/ 1014 w 9723"/>
                  <a:gd name="connsiteY12" fmla="*/ 9139 h 9959"/>
                  <a:gd name="connsiteX13" fmla="*/ 725 w 9723"/>
                  <a:gd name="connsiteY13" fmla="*/ 9856 h 9959"/>
                  <a:gd name="connsiteX14" fmla="*/ 1159 w 9723"/>
                  <a:gd name="connsiteY14" fmla="*/ 9904 h 9959"/>
                  <a:gd name="connsiteX15" fmla="*/ 3188 w 9723"/>
                  <a:gd name="connsiteY15" fmla="*/ 9904 h 9959"/>
                  <a:gd name="connsiteX16" fmla="*/ 3188 w 9723"/>
                  <a:gd name="connsiteY16" fmla="*/ 9904 h 9959"/>
                  <a:gd name="connsiteX17" fmla="*/ 3623 w 9723"/>
                  <a:gd name="connsiteY17" fmla="*/ 9856 h 9959"/>
                  <a:gd name="connsiteX18" fmla="*/ 3623 w 9723"/>
                  <a:gd name="connsiteY18" fmla="*/ 9665 h 9959"/>
                  <a:gd name="connsiteX19" fmla="*/ 3623 w 9723"/>
                  <a:gd name="connsiteY19" fmla="*/ 9522 h 9959"/>
                  <a:gd name="connsiteX20" fmla="*/ 3623 w 9723"/>
                  <a:gd name="connsiteY20" fmla="*/ 9522 h 9959"/>
                  <a:gd name="connsiteX21" fmla="*/ 3768 w 9723"/>
                  <a:gd name="connsiteY21" fmla="*/ 9474 h 9959"/>
                  <a:gd name="connsiteX22" fmla="*/ 3768 w 9723"/>
                  <a:gd name="connsiteY22" fmla="*/ 8900 h 9959"/>
                  <a:gd name="connsiteX23" fmla="*/ 3768 w 9723"/>
                  <a:gd name="connsiteY23" fmla="*/ 8469 h 9959"/>
                  <a:gd name="connsiteX24" fmla="*/ 3768 w 9723"/>
                  <a:gd name="connsiteY24" fmla="*/ 8325 h 9959"/>
                  <a:gd name="connsiteX25" fmla="*/ 3623 w 9723"/>
                  <a:gd name="connsiteY25" fmla="*/ 7129 h 9959"/>
                  <a:gd name="connsiteX26" fmla="*/ 3623 w 9723"/>
                  <a:gd name="connsiteY26" fmla="*/ 6555 h 9959"/>
                  <a:gd name="connsiteX27" fmla="*/ 3913 w 9723"/>
                  <a:gd name="connsiteY27" fmla="*/ 5072 h 9959"/>
                  <a:gd name="connsiteX28" fmla="*/ 4058 w 9723"/>
                  <a:gd name="connsiteY28" fmla="*/ 3589 h 9959"/>
                  <a:gd name="connsiteX29" fmla="*/ 4493 w 9723"/>
                  <a:gd name="connsiteY29" fmla="*/ 2297 h 9959"/>
                  <a:gd name="connsiteX30" fmla="*/ 5072 w 9723"/>
                  <a:gd name="connsiteY30" fmla="*/ 2201 h 9959"/>
                  <a:gd name="connsiteX31" fmla="*/ 4928 w 9723"/>
                  <a:gd name="connsiteY31" fmla="*/ 3541 h 9959"/>
                  <a:gd name="connsiteX32" fmla="*/ 4638 w 9723"/>
                  <a:gd name="connsiteY32" fmla="*/ 4689 h 9959"/>
                  <a:gd name="connsiteX33" fmla="*/ 4493 w 9723"/>
                  <a:gd name="connsiteY33" fmla="*/ 6077 h 9959"/>
                  <a:gd name="connsiteX34" fmla="*/ 4058 w 9723"/>
                  <a:gd name="connsiteY34" fmla="*/ 6842 h 9959"/>
                  <a:gd name="connsiteX35" fmla="*/ 3623 w 9723"/>
                  <a:gd name="connsiteY35" fmla="*/ 7129 h 9959"/>
                  <a:gd name="connsiteX36" fmla="*/ 3768 w 9723"/>
                  <a:gd name="connsiteY36" fmla="*/ 8182 h 9959"/>
                  <a:gd name="connsiteX37" fmla="*/ 3768 w 9723"/>
                  <a:gd name="connsiteY37" fmla="*/ 8469 h 9959"/>
                  <a:gd name="connsiteX38" fmla="*/ 3768 w 9723"/>
                  <a:gd name="connsiteY38" fmla="*/ 8900 h 9959"/>
                  <a:gd name="connsiteX39" fmla="*/ 3623 w 9723"/>
                  <a:gd name="connsiteY39" fmla="*/ 9522 h 9959"/>
                  <a:gd name="connsiteX40" fmla="*/ 4493 w 9723"/>
                  <a:gd name="connsiteY40" fmla="*/ 9569 h 9959"/>
                  <a:gd name="connsiteX41" fmla="*/ 5797 w 9723"/>
                  <a:gd name="connsiteY41" fmla="*/ 9569 h 9959"/>
                  <a:gd name="connsiteX42" fmla="*/ 6812 w 9723"/>
                  <a:gd name="connsiteY42" fmla="*/ 9522 h 9959"/>
                  <a:gd name="connsiteX43" fmla="*/ 6812 w 9723"/>
                  <a:gd name="connsiteY43" fmla="*/ 9043 h 9959"/>
                  <a:gd name="connsiteX44" fmla="*/ 7681 w 9723"/>
                  <a:gd name="connsiteY44" fmla="*/ 6459 h 9959"/>
                  <a:gd name="connsiteX45" fmla="*/ 8116 w 9723"/>
                  <a:gd name="connsiteY45" fmla="*/ 4928 h 9959"/>
                  <a:gd name="connsiteX46" fmla="*/ 9275 w 9723"/>
                  <a:gd name="connsiteY46" fmla="*/ 2392 h 9959"/>
                  <a:gd name="connsiteX47" fmla="*/ 9565 w 9723"/>
                  <a:gd name="connsiteY47" fmla="*/ 718 h 9959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0000" h="10000">
                    <a:moveTo>
                      <a:pt x="9837" y="721"/>
                    </a:moveTo>
                    <a:cubicBezTo>
                      <a:pt x="9837" y="721"/>
                      <a:pt x="9390" y="288"/>
                      <a:pt x="9242" y="48"/>
                    </a:cubicBezTo>
                    <a:lnTo>
                      <a:pt x="9242" y="0"/>
                    </a:lnTo>
                    <a:cubicBezTo>
                      <a:pt x="9242" y="0"/>
                      <a:pt x="7452" y="288"/>
                      <a:pt x="5664" y="288"/>
                    </a:cubicBezTo>
                    <a:cubicBezTo>
                      <a:pt x="3875" y="240"/>
                      <a:pt x="1192" y="240"/>
                      <a:pt x="895" y="145"/>
                    </a:cubicBezTo>
                    <a:cubicBezTo>
                      <a:pt x="895" y="145"/>
                      <a:pt x="895" y="192"/>
                      <a:pt x="746" y="192"/>
                    </a:cubicBezTo>
                    <a:cubicBezTo>
                      <a:pt x="746" y="336"/>
                      <a:pt x="746" y="480"/>
                      <a:pt x="597" y="625"/>
                    </a:cubicBezTo>
                    <a:cubicBezTo>
                      <a:pt x="447" y="816"/>
                      <a:pt x="149" y="1249"/>
                      <a:pt x="0" y="1682"/>
                    </a:cubicBezTo>
                    <a:cubicBezTo>
                      <a:pt x="0" y="2162"/>
                      <a:pt x="447" y="3123"/>
                      <a:pt x="447" y="3363"/>
                    </a:cubicBezTo>
                    <a:cubicBezTo>
                      <a:pt x="447" y="3604"/>
                      <a:pt x="1043" y="4517"/>
                      <a:pt x="1043" y="4660"/>
                    </a:cubicBezTo>
                    <a:cubicBezTo>
                      <a:pt x="895" y="4805"/>
                      <a:pt x="746" y="5093"/>
                      <a:pt x="746" y="5429"/>
                    </a:cubicBezTo>
                    <a:cubicBezTo>
                      <a:pt x="597" y="5766"/>
                      <a:pt x="298" y="6149"/>
                      <a:pt x="597" y="7398"/>
                    </a:cubicBezTo>
                    <a:cubicBezTo>
                      <a:pt x="597" y="7398"/>
                      <a:pt x="1043" y="8407"/>
                      <a:pt x="1043" y="9177"/>
                    </a:cubicBezTo>
                    <a:cubicBezTo>
                      <a:pt x="1043" y="9177"/>
                      <a:pt x="895" y="9801"/>
                      <a:pt x="746" y="9897"/>
                    </a:cubicBezTo>
                    <a:cubicBezTo>
                      <a:pt x="746" y="9897"/>
                      <a:pt x="895" y="9945"/>
                      <a:pt x="1192" y="9945"/>
                    </a:cubicBezTo>
                    <a:cubicBezTo>
                      <a:pt x="1639" y="9993"/>
                      <a:pt x="2683" y="10041"/>
                      <a:pt x="3279" y="9945"/>
                    </a:cubicBezTo>
                    <a:lnTo>
                      <a:pt x="3279" y="9945"/>
                    </a:lnTo>
                    <a:cubicBezTo>
                      <a:pt x="3428" y="9945"/>
                      <a:pt x="3577" y="9897"/>
                      <a:pt x="3726" y="9897"/>
                    </a:cubicBezTo>
                    <a:cubicBezTo>
                      <a:pt x="3875" y="9801"/>
                      <a:pt x="3726" y="9753"/>
                      <a:pt x="3726" y="9705"/>
                    </a:cubicBezTo>
                    <a:lnTo>
                      <a:pt x="3726" y="9561"/>
                    </a:lnTo>
                    <a:lnTo>
                      <a:pt x="3726" y="9561"/>
                    </a:lnTo>
                    <a:cubicBezTo>
                      <a:pt x="3731" y="9549"/>
                      <a:pt x="3569" y="9744"/>
                      <a:pt x="3754" y="9490"/>
                    </a:cubicBezTo>
                    <a:cubicBezTo>
                      <a:pt x="3939" y="9236"/>
                      <a:pt x="3855" y="9218"/>
                      <a:pt x="3875" y="8937"/>
                    </a:cubicBezTo>
                    <a:cubicBezTo>
                      <a:pt x="3895" y="8656"/>
                      <a:pt x="3851" y="8804"/>
                      <a:pt x="3875" y="8504"/>
                    </a:cubicBezTo>
                    <a:cubicBezTo>
                      <a:pt x="3899" y="8204"/>
                      <a:pt x="3899" y="8712"/>
                      <a:pt x="3875" y="8359"/>
                    </a:cubicBezTo>
                    <a:cubicBezTo>
                      <a:pt x="3862" y="8167"/>
                      <a:pt x="3726" y="7591"/>
                      <a:pt x="3726" y="7158"/>
                    </a:cubicBezTo>
                    <a:lnTo>
                      <a:pt x="3726" y="6582"/>
                    </a:lnTo>
                    <a:cubicBezTo>
                      <a:pt x="3726" y="6437"/>
                      <a:pt x="4024" y="5285"/>
                      <a:pt x="4024" y="5093"/>
                    </a:cubicBezTo>
                    <a:cubicBezTo>
                      <a:pt x="4024" y="4900"/>
                      <a:pt x="4174" y="3747"/>
                      <a:pt x="4174" y="3604"/>
                    </a:cubicBezTo>
                    <a:cubicBezTo>
                      <a:pt x="4174" y="3459"/>
                      <a:pt x="4323" y="2595"/>
                      <a:pt x="4621" y="2306"/>
                    </a:cubicBezTo>
                    <a:cubicBezTo>
                      <a:pt x="4919" y="2018"/>
                      <a:pt x="5515" y="1586"/>
                      <a:pt x="5216" y="2210"/>
                    </a:cubicBezTo>
                    <a:cubicBezTo>
                      <a:pt x="5068" y="2883"/>
                      <a:pt x="5068" y="3363"/>
                      <a:pt x="5068" y="3556"/>
                    </a:cubicBezTo>
                    <a:cubicBezTo>
                      <a:pt x="4919" y="3747"/>
                      <a:pt x="4770" y="4517"/>
                      <a:pt x="4770" y="4708"/>
                    </a:cubicBezTo>
                    <a:cubicBezTo>
                      <a:pt x="4770" y="4900"/>
                      <a:pt x="4770" y="5909"/>
                      <a:pt x="4621" y="6102"/>
                    </a:cubicBezTo>
                    <a:cubicBezTo>
                      <a:pt x="4621" y="6342"/>
                      <a:pt x="4323" y="6727"/>
                      <a:pt x="4174" y="6870"/>
                    </a:cubicBezTo>
                    <a:cubicBezTo>
                      <a:pt x="4024" y="6918"/>
                      <a:pt x="3726" y="7158"/>
                      <a:pt x="3726" y="7158"/>
                    </a:cubicBezTo>
                    <a:cubicBezTo>
                      <a:pt x="3726" y="7351"/>
                      <a:pt x="3755" y="7650"/>
                      <a:pt x="3875" y="8216"/>
                    </a:cubicBezTo>
                    <a:cubicBezTo>
                      <a:pt x="3895" y="8312"/>
                      <a:pt x="3875" y="8407"/>
                      <a:pt x="3875" y="8504"/>
                    </a:cubicBezTo>
                    <a:lnTo>
                      <a:pt x="3875" y="8937"/>
                    </a:lnTo>
                    <a:cubicBezTo>
                      <a:pt x="3875" y="9177"/>
                      <a:pt x="3875" y="9417"/>
                      <a:pt x="3726" y="9561"/>
                    </a:cubicBezTo>
                    <a:cubicBezTo>
                      <a:pt x="4024" y="9561"/>
                      <a:pt x="4323" y="9608"/>
                      <a:pt x="4621" y="9608"/>
                    </a:cubicBezTo>
                    <a:lnTo>
                      <a:pt x="5962" y="9608"/>
                    </a:lnTo>
                    <a:cubicBezTo>
                      <a:pt x="6559" y="9561"/>
                      <a:pt x="7006" y="9561"/>
                      <a:pt x="7006" y="9561"/>
                    </a:cubicBezTo>
                    <a:cubicBezTo>
                      <a:pt x="7303" y="9465"/>
                      <a:pt x="7155" y="9465"/>
                      <a:pt x="7006" y="9080"/>
                    </a:cubicBezTo>
                    <a:cubicBezTo>
                      <a:pt x="7006" y="8696"/>
                      <a:pt x="7751" y="6774"/>
                      <a:pt x="7900" y="6486"/>
                    </a:cubicBezTo>
                    <a:cubicBezTo>
                      <a:pt x="8049" y="6197"/>
                      <a:pt x="8347" y="5141"/>
                      <a:pt x="8347" y="4948"/>
                    </a:cubicBezTo>
                    <a:cubicBezTo>
                      <a:pt x="8496" y="4757"/>
                      <a:pt x="9390" y="2546"/>
                      <a:pt x="9539" y="2402"/>
                    </a:cubicBezTo>
                    <a:cubicBezTo>
                      <a:pt x="9688" y="2210"/>
                      <a:pt x="10285" y="1394"/>
                      <a:pt x="9837" y="721"/>
                    </a:cubicBezTo>
                    <a:close/>
                  </a:path>
                </a:pathLst>
              </a:custGeom>
              <a:solidFill>
                <a:srgbClr val="3A3A3A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8">
                <a:extLst>
                  <a:ext uri="{FF2B5EF4-FFF2-40B4-BE49-F238E27FC236}">
                    <a16:creationId xmlns:a16="http://schemas.microsoft.com/office/drawing/2014/main" id="{0140865B-7445-4F7C-86F2-D4F94BADEF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9313" y="3027363"/>
                <a:ext cx="68263" cy="90487"/>
              </a:xfrm>
              <a:custGeom>
                <a:avLst/>
                <a:gdLst>
                  <a:gd name="T0" fmla="*/ 13 w 18"/>
                  <a:gd name="T1" fmla="*/ 17 h 24"/>
                  <a:gd name="T2" fmla="*/ 10 w 18"/>
                  <a:gd name="T3" fmla="*/ 16 h 24"/>
                  <a:gd name="T4" fmla="*/ 11 w 18"/>
                  <a:gd name="T5" fmla="*/ 12 h 24"/>
                  <a:gd name="T6" fmla="*/ 18 w 18"/>
                  <a:gd name="T7" fmla="*/ 4 h 24"/>
                  <a:gd name="T8" fmla="*/ 18 w 18"/>
                  <a:gd name="T9" fmla="*/ 4 h 24"/>
                  <a:gd name="T10" fmla="*/ 11 w 18"/>
                  <a:gd name="T11" fmla="*/ 1 h 24"/>
                  <a:gd name="T12" fmla="*/ 2 w 18"/>
                  <a:gd name="T13" fmla="*/ 18 h 24"/>
                  <a:gd name="T14" fmla="*/ 9 w 18"/>
                  <a:gd name="T15" fmla="*/ 24 h 24"/>
                  <a:gd name="T16" fmla="*/ 16 w 18"/>
                  <a:gd name="T17" fmla="*/ 20 h 24"/>
                  <a:gd name="T18" fmla="*/ 13 w 18"/>
                  <a:gd name="T19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4">
                    <a:moveTo>
                      <a:pt x="13" y="17"/>
                    </a:moveTo>
                    <a:cubicBezTo>
                      <a:pt x="12" y="16"/>
                      <a:pt x="11" y="16"/>
                      <a:pt x="10" y="16"/>
                    </a:cubicBezTo>
                    <a:cubicBezTo>
                      <a:pt x="10" y="15"/>
                      <a:pt x="10" y="14"/>
                      <a:pt x="11" y="12"/>
                    </a:cubicBezTo>
                    <a:cubicBezTo>
                      <a:pt x="13" y="9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2"/>
                      <a:pt x="15" y="0"/>
                      <a:pt x="11" y="1"/>
                    </a:cubicBezTo>
                    <a:cubicBezTo>
                      <a:pt x="11" y="1"/>
                      <a:pt x="0" y="6"/>
                      <a:pt x="2" y="18"/>
                    </a:cubicBezTo>
                    <a:cubicBezTo>
                      <a:pt x="2" y="18"/>
                      <a:pt x="1" y="22"/>
                      <a:pt x="9" y="24"/>
                    </a:cubicBezTo>
                    <a:cubicBezTo>
                      <a:pt x="9" y="24"/>
                      <a:pt x="15" y="24"/>
                      <a:pt x="16" y="20"/>
                    </a:cubicBezTo>
                    <a:cubicBezTo>
                      <a:pt x="16" y="16"/>
                      <a:pt x="16" y="18"/>
                      <a:pt x="13" y="17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20">
                <a:extLst>
                  <a:ext uri="{FF2B5EF4-FFF2-40B4-BE49-F238E27FC236}">
                    <a16:creationId xmlns:a16="http://schemas.microsoft.com/office/drawing/2014/main" id="{2F4A3C8C-CA0F-46DA-9DA5-C1DB12922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53301" y="2806700"/>
                <a:ext cx="79375" cy="41275"/>
              </a:xfrm>
              <a:custGeom>
                <a:avLst/>
                <a:gdLst>
                  <a:gd name="T0" fmla="*/ 21 w 21"/>
                  <a:gd name="T1" fmla="*/ 11 h 11"/>
                  <a:gd name="T2" fmla="*/ 19 w 21"/>
                  <a:gd name="T3" fmla="*/ 8 h 11"/>
                  <a:gd name="T4" fmla="*/ 7 w 21"/>
                  <a:gd name="T5" fmla="*/ 2 h 11"/>
                  <a:gd name="T6" fmla="*/ 16 w 21"/>
                  <a:gd name="T7" fmla="*/ 9 h 11"/>
                  <a:gd name="T8" fmla="*/ 5 w 21"/>
                  <a:gd name="T9" fmla="*/ 6 h 11"/>
                  <a:gd name="T10" fmla="*/ 0 w 21"/>
                  <a:gd name="T11" fmla="*/ 8 h 11"/>
                  <a:gd name="T12" fmla="*/ 0 w 21"/>
                  <a:gd name="T13" fmla="*/ 9 h 11"/>
                  <a:gd name="T14" fmla="*/ 19 w 21"/>
                  <a:gd name="T15" fmla="*/ 11 h 11"/>
                  <a:gd name="T16" fmla="*/ 21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21" y="11"/>
                    </a:moveTo>
                    <a:cubicBezTo>
                      <a:pt x="20" y="9"/>
                      <a:pt x="19" y="8"/>
                      <a:pt x="19" y="8"/>
                    </a:cubicBezTo>
                    <a:cubicBezTo>
                      <a:pt x="17" y="6"/>
                      <a:pt x="6" y="0"/>
                      <a:pt x="7" y="2"/>
                    </a:cubicBezTo>
                    <a:cubicBezTo>
                      <a:pt x="9" y="4"/>
                      <a:pt x="16" y="9"/>
                      <a:pt x="16" y="9"/>
                    </a:cubicBezTo>
                    <a:cubicBezTo>
                      <a:pt x="15" y="9"/>
                      <a:pt x="9" y="8"/>
                      <a:pt x="5" y="6"/>
                    </a:cubicBezTo>
                    <a:cubicBezTo>
                      <a:pt x="1" y="5"/>
                      <a:pt x="0" y="5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0" y="11"/>
                      <a:pt x="21" y="11"/>
                      <a:pt x="21" y="1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22">
                <a:extLst>
                  <a:ext uri="{FF2B5EF4-FFF2-40B4-BE49-F238E27FC236}">
                    <a16:creationId xmlns:a16="http://schemas.microsoft.com/office/drawing/2014/main" id="{17D1D8D4-01A2-4CF6-82B6-D3A4E6442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6704" y="2937380"/>
                <a:ext cx="77873" cy="102695"/>
              </a:xfrm>
              <a:custGeom>
                <a:avLst/>
                <a:gdLst>
                  <a:gd name="T0" fmla="*/ 20 w 23"/>
                  <a:gd name="T1" fmla="*/ 11 h 28"/>
                  <a:gd name="T2" fmla="*/ 17 w 23"/>
                  <a:gd name="T3" fmla="*/ 5 h 28"/>
                  <a:gd name="T4" fmla="*/ 10 w 23"/>
                  <a:gd name="T5" fmla="*/ 1 h 28"/>
                  <a:gd name="T6" fmla="*/ 9 w 23"/>
                  <a:gd name="T7" fmla="*/ 4 h 28"/>
                  <a:gd name="T8" fmla="*/ 15 w 23"/>
                  <a:gd name="T9" fmla="*/ 7 h 28"/>
                  <a:gd name="T10" fmla="*/ 10 w 23"/>
                  <a:gd name="T11" fmla="*/ 7 h 28"/>
                  <a:gd name="T12" fmla="*/ 7 w 23"/>
                  <a:gd name="T13" fmla="*/ 6 h 28"/>
                  <a:gd name="T14" fmla="*/ 5 w 23"/>
                  <a:gd name="T15" fmla="*/ 5 h 28"/>
                  <a:gd name="T16" fmla="*/ 5 w 23"/>
                  <a:gd name="T17" fmla="*/ 8 h 28"/>
                  <a:gd name="T18" fmla="*/ 4 w 23"/>
                  <a:gd name="T19" fmla="*/ 13 h 28"/>
                  <a:gd name="T20" fmla="*/ 3 w 23"/>
                  <a:gd name="T21" fmla="*/ 16 h 28"/>
                  <a:gd name="T22" fmla="*/ 5 w 23"/>
                  <a:gd name="T23" fmla="*/ 20 h 28"/>
                  <a:gd name="T24" fmla="*/ 5 w 23"/>
                  <a:gd name="T25" fmla="*/ 20 h 28"/>
                  <a:gd name="T26" fmla="*/ 17 w 23"/>
                  <a:gd name="T27" fmla="*/ 22 h 28"/>
                  <a:gd name="T28" fmla="*/ 19 w 23"/>
                  <a:gd name="T29" fmla="*/ 26 h 28"/>
                  <a:gd name="T30" fmla="*/ 23 w 23"/>
                  <a:gd name="T31" fmla="*/ 26 h 28"/>
                  <a:gd name="T32" fmla="*/ 23 w 23"/>
                  <a:gd name="T33" fmla="*/ 15 h 28"/>
                  <a:gd name="T34" fmla="*/ 23 w 23"/>
                  <a:gd name="T35" fmla="*/ 14 h 28"/>
                  <a:gd name="T36" fmla="*/ 20 w 23"/>
                  <a:gd name="T37" fmla="*/ 11 h 28"/>
                  <a:gd name="connsiteX0" fmla="*/ 7780 w 9084"/>
                  <a:gd name="connsiteY0" fmla="*/ 3706 h 9475"/>
                  <a:gd name="connsiteX1" fmla="*/ 6475 w 9084"/>
                  <a:gd name="connsiteY1" fmla="*/ 1563 h 9475"/>
                  <a:gd name="connsiteX2" fmla="*/ 3432 w 9084"/>
                  <a:gd name="connsiteY2" fmla="*/ 134 h 9475"/>
                  <a:gd name="connsiteX3" fmla="*/ 2997 w 9084"/>
                  <a:gd name="connsiteY3" fmla="*/ 1206 h 9475"/>
                  <a:gd name="connsiteX4" fmla="*/ 5606 w 9084"/>
                  <a:gd name="connsiteY4" fmla="*/ 2277 h 9475"/>
                  <a:gd name="connsiteX5" fmla="*/ 3432 w 9084"/>
                  <a:gd name="connsiteY5" fmla="*/ 2277 h 9475"/>
                  <a:gd name="connsiteX6" fmla="*/ 2127 w 9084"/>
                  <a:gd name="connsiteY6" fmla="*/ 1920 h 9475"/>
                  <a:gd name="connsiteX7" fmla="*/ 1353 w 9084"/>
                  <a:gd name="connsiteY7" fmla="*/ 1718 h 9475"/>
                  <a:gd name="connsiteX8" fmla="*/ 1258 w 9084"/>
                  <a:gd name="connsiteY8" fmla="*/ 2634 h 9475"/>
                  <a:gd name="connsiteX9" fmla="*/ 823 w 9084"/>
                  <a:gd name="connsiteY9" fmla="*/ 4420 h 9475"/>
                  <a:gd name="connsiteX10" fmla="*/ 388 w 9084"/>
                  <a:gd name="connsiteY10" fmla="*/ 5491 h 9475"/>
                  <a:gd name="connsiteX11" fmla="*/ 1258 w 9084"/>
                  <a:gd name="connsiteY11" fmla="*/ 6920 h 9475"/>
                  <a:gd name="connsiteX12" fmla="*/ 1258 w 9084"/>
                  <a:gd name="connsiteY12" fmla="*/ 6920 h 9475"/>
                  <a:gd name="connsiteX13" fmla="*/ 6475 w 9084"/>
                  <a:gd name="connsiteY13" fmla="*/ 7634 h 9475"/>
                  <a:gd name="connsiteX14" fmla="*/ 7345 w 9084"/>
                  <a:gd name="connsiteY14" fmla="*/ 9063 h 9475"/>
                  <a:gd name="connsiteX15" fmla="*/ 9084 w 9084"/>
                  <a:gd name="connsiteY15" fmla="*/ 9063 h 9475"/>
                  <a:gd name="connsiteX16" fmla="*/ 9084 w 9084"/>
                  <a:gd name="connsiteY16" fmla="*/ 5134 h 9475"/>
                  <a:gd name="connsiteX17" fmla="*/ 9084 w 9084"/>
                  <a:gd name="connsiteY17" fmla="*/ 4777 h 9475"/>
                  <a:gd name="connsiteX18" fmla="*/ 7780 w 9084"/>
                  <a:gd name="connsiteY18" fmla="*/ 3706 h 9475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975 w 10000"/>
                  <a:gd name="connsiteY8" fmla="*/ 2142 h 10000"/>
                  <a:gd name="connsiteX9" fmla="*/ 1385 w 10000"/>
                  <a:gd name="connsiteY9" fmla="*/ 2780 h 10000"/>
                  <a:gd name="connsiteX10" fmla="*/ 906 w 10000"/>
                  <a:gd name="connsiteY10" fmla="*/ 4665 h 10000"/>
                  <a:gd name="connsiteX11" fmla="*/ 427 w 10000"/>
                  <a:gd name="connsiteY11" fmla="*/ 5795 h 10000"/>
                  <a:gd name="connsiteX12" fmla="*/ 1385 w 10000"/>
                  <a:gd name="connsiteY12" fmla="*/ 7303 h 10000"/>
                  <a:gd name="connsiteX13" fmla="*/ 1385 w 10000"/>
                  <a:gd name="connsiteY13" fmla="*/ 7303 h 10000"/>
                  <a:gd name="connsiteX14" fmla="*/ 7128 w 10000"/>
                  <a:gd name="connsiteY14" fmla="*/ 8057 h 10000"/>
                  <a:gd name="connsiteX15" fmla="*/ 8086 w 10000"/>
                  <a:gd name="connsiteY15" fmla="*/ 9565 h 10000"/>
                  <a:gd name="connsiteX16" fmla="*/ 10000 w 10000"/>
                  <a:gd name="connsiteY16" fmla="*/ 9565 h 10000"/>
                  <a:gd name="connsiteX17" fmla="*/ 10000 w 10000"/>
                  <a:gd name="connsiteY17" fmla="*/ 5418 h 10000"/>
                  <a:gd name="connsiteX18" fmla="*/ 10000 w 10000"/>
                  <a:gd name="connsiteY18" fmla="*/ 5042 h 10000"/>
                  <a:gd name="connsiteX19" fmla="*/ 8565 w 10000"/>
                  <a:gd name="connsiteY19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818 w 10000"/>
                  <a:gd name="connsiteY8" fmla="*/ 2450 h 10000"/>
                  <a:gd name="connsiteX9" fmla="*/ 1385 w 10000"/>
                  <a:gd name="connsiteY9" fmla="*/ 2780 h 10000"/>
                  <a:gd name="connsiteX10" fmla="*/ 906 w 10000"/>
                  <a:gd name="connsiteY10" fmla="*/ 4665 h 10000"/>
                  <a:gd name="connsiteX11" fmla="*/ 427 w 10000"/>
                  <a:gd name="connsiteY11" fmla="*/ 5795 h 10000"/>
                  <a:gd name="connsiteX12" fmla="*/ 1385 w 10000"/>
                  <a:gd name="connsiteY12" fmla="*/ 7303 h 10000"/>
                  <a:gd name="connsiteX13" fmla="*/ 1385 w 10000"/>
                  <a:gd name="connsiteY13" fmla="*/ 7303 h 10000"/>
                  <a:gd name="connsiteX14" fmla="*/ 7128 w 10000"/>
                  <a:gd name="connsiteY14" fmla="*/ 8057 h 10000"/>
                  <a:gd name="connsiteX15" fmla="*/ 8086 w 10000"/>
                  <a:gd name="connsiteY15" fmla="*/ 9565 h 10000"/>
                  <a:gd name="connsiteX16" fmla="*/ 10000 w 10000"/>
                  <a:gd name="connsiteY16" fmla="*/ 9565 h 10000"/>
                  <a:gd name="connsiteX17" fmla="*/ 10000 w 10000"/>
                  <a:gd name="connsiteY17" fmla="*/ 5418 h 10000"/>
                  <a:gd name="connsiteX18" fmla="*/ 10000 w 10000"/>
                  <a:gd name="connsiteY18" fmla="*/ 5042 h 10000"/>
                  <a:gd name="connsiteX19" fmla="*/ 8565 w 10000"/>
                  <a:gd name="connsiteY19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861 w 10000"/>
                  <a:gd name="connsiteY7" fmla="*/ 1875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861 w 10000"/>
                  <a:gd name="connsiteY7" fmla="*/ 1875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795 h 9884"/>
                  <a:gd name="connsiteX1" fmla="*/ 8010 w 10000"/>
                  <a:gd name="connsiteY1" fmla="*/ 534 h 9884"/>
                  <a:gd name="connsiteX2" fmla="*/ 3778 w 10000"/>
                  <a:gd name="connsiteY2" fmla="*/ 25 h 9884"/>
                  <a:gd name="connsiteX3" fmla="*/ 3299 w 10000"/>
                  <a:gd name="connsiteY3" fmla="*/ 1157 h 9884"/>
                  <a:gd name="connsiteX4" fmla="*/ 6171 w 10000"/>
                  <a:gd name="connsiteY4" fmla="*/ 2287 h 9884"/>
                  <a:gd name="connsiteX5" fmla="*/ 3778 w 10000"/>
                  <a:gd name="connsiteY5" fmla="*/ 2287 h 9884"/>
                  <a:gd name="connsiteX6" fmla="*/ 2341 w 10000"/>
                  <a:gd name="connsiteY6" fmla="*/ 1746 h 9884"/>
                  <a:gd name="connsiteX7" fmla="*/ 626 w 10000"/>
                  <a:gd name="connsiteY7" fmla="*/ 1944 h 9884"/>
                  <a:gd name="connsiteX8" fmla="*/ 1150 w 10000"/>
                  <a:gd name="connsiteY8" fmla="*/ 2664 h 9884"/>
                  <a:gd name="connsiteX9" fmla="*/ 906 w 10000"/>
                  <a:gd name="connsiteY9" fmla="*/ 4549 h 9884"/>
                  <a:gd name="connsiteX10" fmla="*/ 427 w 10000"/>
                  <a:gd name="connsiteY10" fmla="*/ 5679 h 9884"/>
                  <a:gd name="connsiteX11" fmla="*/ 1385 w 10000"/>
                  <a:gd name="connsiteY11" fmla="*/ 7187 h 9884"/>
                  <a:gd name="connsiteX12" fmla="*/ 1385 w 10000"/>
                  <a:gd name="connsiteY12" fmla="*/ 7187 h 9884"/>
                  <a:gd name="connsiteX13" fmla="*/ 7128 w 10000"/>
                  <a:gd name="connsiteY13" fmla="*/ 7941 h 9884"/>
                  <a:gd name="connsiteX14" fmla="*/ 8086 w 10000"/>
                  <a:gd name="connsiteY14" fmla="*/ 9449 h 9884"/>
                  <a:gd name="connsiteX15" fmla="*/ 10000 w 10000"/>
                  <a:gd name="connsiteY15" fmla="*/ 9449 h 9884"/>
                  <a:gd name="connsiteX16" fmla="*/ 10000 w 10000"/>
                  <a:gd name="connsiteY16" fmla="*/ 5302 h 9884"/>
                  <a:gd name="connsiteX17" fmla="*/ 10000 w 10000"/>
                  <a:gd name="connsiteY17" fmla="*/ 4926 h 9884"/>
                  <a:gd name="connsiteX18" fmla="*/ 8565 w 10000"/>
                  <a:gd name="connsiteY18" fmla="*/ 3795 h 9884"/>
                  <a:gd name="connsiteX0" fmla="*/ 9741 w 10000"/>
                  <a:gd name="connsiteY0" fmla="*/ 3918 h 10000"/>
                  <a:gd name="connsiteX1" fmla="*/ 8010 w 10000"/>
                  <a:gd name="connsiteY1" fmla="*/ 540 h 10000"/>
                  <a:gd name="connsiteX2" fmla="*/ 3778 w 10000"/>
                  <a:gd name="connsiteY2" fmla="*/ 25 h 10000"/>
                  <a:gd name="connsiteX3" fmla="*/ 3299 w 10000"/>
                  <a:gd name="connsiteY3" fmla="*/ 1171 h 10000"/>
                  <a:gd name="connsiteX4" fmla="*/ 6171 w 10000"/>
                  <a:gd name="connsiteY4" fmla="*/ 2314 h 10000"/>
                  <a:gd name="connsiteX5" fmla="*/ 3778 w 10000"/>
                  <a:gd name="connsiteY5" fmla="*/ 2314 h 10000"/>
                  <a:gd name="connsiteX6" fmla="*/ 2341 w 10000"/>
                  <a:gd name="connsiteY6" fmla="*/ 1766 h 10000"/>
                  <a:gd name="connsiteX7" fmla="*/ 626 w 10000"/>
                  <a:gd name="connsiteY7" fmla="*/ 1967 h 10000"/>
                  <a:gd name="connsiteX8" fmla="*/ 1150 w 10000"/>
                  <a:gd name="connsiteY8" fmla="*/ 2695 h 10000"/>
                  <a:gd name="connsiteX9" fmla="*/ 906 w 10000"/>
                  <a:gd name="connsiteY9" fmla="*/ 4602 h 10000"/>
                  <a:gd name="connsiteX10" fmla="*/ 427 w 10000"/>
                  <a:gd name="connsiteY10" fmla="*/ 5746 h 10000"/>
                  <a:gd name="connsiteX11" fmla="*/ 1385 w 10000"/>
                  <a:gd name="connsiteY11" fmla="*/ 7271 h 10000"/>
                  <a:gd name="connsiteX12" fmla="*/ 1385 w 10000"/>
                  <a:gd name="connsiteY12" fmla="*/ 7271 h 10000"/>
                  <a:gd name="connsiteX13" fmla="*/ 7128 w 10000"/>
                  <a:gd name="connsiteY13" fmla="*/ 8034 h 10000"/>
                  <a:gd name="connsiteX14" fmla="*/ 8086 w 10000"/>
                  <a:gd name="connsiteY14" fmla="*/ 9560 h 10000"/>
                  <a:gd name="connsiteX15" fmla="*/ 10000 w 10000"/>
                  <a:gd name="connsiteY15" fmla="*/ 9560 h 10000"/>
                  <a:gd name="connsiteX16" fmla="*/ 10000 w 10000"/>
                  <a:gd name="connsiteY16" fmla="*/ 5364 h 10000"/>
                  <a:gd name="connsiteX17" fmla="*/ 10000 w 10000"/>
                  <a:gd name="connsiteY17" fmla="*/ 4984 h 10000"/>
                  <a:gd name="connsiteX18" fmla="*/ 9741 w 10000"/>
                  <a:gd name="connsiteY18" fmla="*/ 3918 h 10000"/>
                  <a:gd name="connsiteX0" fmla="*/ 9741 w 10000"/>
                  <a:gd name="connsiteY0" fmla="*/ 3918 h 10000"/>
                  <a:gd name="connsiteX1" fmla="*/ 8010 w 10000"/>
                  <a:gd name="connsiteY1" fmla="*/ 540 h 10000"/>
                  <a:gd name="connsiteX2" fmla="*/ 3778 w 10000"/>
                  <a:gd name="connsiteY2" fmla="*/ 25 h 10000"/>
                  <a:gd name="connsiteX3" fmla="*/ 3299 w 10000"/>
                  <a:gd name="connsiteY3" fmla="*/ 1171 h 10000"/>
                  <a:gd name="connsiteX4" fmla="*/ 3778 w 10000"/>
                  <a:gd name="connsiteY4" fmla="*/ 2314 h 10000"/>
                  <a:gd name="connsiteX5" fmla="*/ 2341 w 10000"/>
                  <a:gd name="connsiteY5" fmla="*/ 1766 h 10000"/>
                  <a:gd name="connsiteX6" fmla="*/ 626 w 10000"/>
                  <a:gd name="connsiteY6" fmla="*/ 1967 h 10000"/>
                  <a:gd name="connsiteX7" fmla="*/ 1150 w 10000"/>
                  <a:gd name="connsiteY7" fmla="*/ 2695 h 10000"/>
                  <a:gd name="connsiteX8" fmla="*/ 906 w 10000"/>
                  <a:gd name="connsiteY8" fmla="*/ 4602 h 10000"/>
                  <a:gd name="connsiteX9" fmla="*/ 427 w 10000"/>
                  <a:gd name="connsiteY9" fmla="*/ 5746 h 10000"/>
                  <a:gd name="connsiteX10" fmla="*/ 1385 w 10000"/>
                  <a:gd name="connsiteY10" fmla="*/ 7271 h 10000"/>
                  <a:gd name="connsiteX11" fmla="*/ 1385 w 10000"/>
                  <a:gd name="connsiteY11" fmla="*/ 7271 h 10000"/>
                  <a:gd name="connsiteX12" fmla="*/ 7128 w 10000"/>
                  <a:gd name="connsiteY12" fmla="*/ 8034 h 10000"/>
                  <a:gd name="connsiteX13" fmla="*/ 8086 w 10000"/>
                  <a:gd name="connsiteY13" fmla="*/ 9560 h 10000"/>
                  <a:gd name="connsiteX14" fmla="*/ 10000 w 10000"/>
                  <a:gd name="connsiteY14" fmla="*/ 9560 h 10000"/>
                  <a:gd name="connsiteX15" fmla="*/ 10000 w 10000"/>
                  <a:gd name="connsiteY15" fmla="*/ 5364 h 10000"/>
                  <a:gd name="connsiteX16" fmla="*/ 10000 w 10000"/>
                  <a:gd name="connsiteY16" fmla="*/ 4984 h 10000"/>
                  <a:gd name="connsiteX17" fmla="*/ 9741 w 10000"/>
                  <a:gd name="connsiteY17" fmla="*/ 3918 h 10000"/>
                  <a:gd name="connsiteX0" fmla="*/ 9741 w 10000"/>
                  <a:gd name="connsiteY0" fmla="*/ 3991 h 10073"/>
                  <a:gd name="connsiteX1" fmla="*/ 8010 w 10000"/>
                  <a:gd name="connsiteY1" fmla="*/ 613 h 10073"/>
                  <a:gd name="connsiteX2" fmla="*/ 3778 w 10000"/>
                  <a:gd name="connsiteY2" fmla="*/ 98 h 10073"/>
                  <a:gd name="connsiteX3" fmla="*/ 3778 w 10000"/>
                  <a:gd name="connsiteY3" fmla="*/ 2387 h 10073"/>
                  <a:gd name="connsiteX4" fmla="*/ 2341 w 10000"/>
                  <a:gd name="connsiteY4" fmla="*/ 1839 h 10073"/>
                  <a:gd name="connsiteX5" fmla="*/ 626 w 10000"/>
                  <a:gd name="connsiteY5" fmla="*/ 2040 h 10073"/>
                  <a:gd name="connsiteX6" fmla="*/ 1150 w 10000"/>
                  <a:gd name="connsiteY6" fmla="*/ 2768 h 10073"/>
                  <a:gd name="connsiteX7" fmla="*/ 906 w 10000"/>
                  <a:gd name="connsiteY7" fmla="*/ 4675 h 10073"/>
                  <a:gd name="connsiteX8" fmla="*/ 427 w 10000"/>
                  <a:gd name="connsiteY8" fmla="*/ 5819 h 10073"/>
                  <a:gd name="connsiteX9" fmla="*/ 1385 w 10000"/>
                  <a:gd name="connsiteY9" fmla="*/ 7344 h 10073"/>
                  <a:gd name="connsiteX10" fmla="*/ 1385 w 10000"/>
                  <a:gd name="connsiteY10" fmla="*/ 7344 h 10073"/>
                  <a:gd name="connsiteX11" fmla="*/ 7128 w 10000"/>
                  <a:gd name="connsiteY11" fmla="*/ 8107 h 10073"/>
                  <a:gd name="connsiteX12" fmla="*/ 8086 w 10000"/>
                  <a:gd name="connsiteY12" fmla="*/ 9633 h 10073"/>
                  <a:gd name="connsiteX13" fmla="*/ 10000 w 10000"/>
                  <a:gd name="connsiteY13" fmla="*/ 9633 h 10073"/>
                  <a:gd name="connsiteX14" fmla="*/ 10000 w 10000"/>
                  <a:gd name="connsiteY14" fmla="*/ 5437 h 10073"/>
                  <a:gd name="connsiteX15" fmla="*/ 10000 w 10000"/>
                  <a:gd name="connsiteY15" fmla="*/ 5057 h 10073"/>
                  <a:gd name="connsiteX16" fmla="*/ 9741 w 10000"/>
                  <a:gd name="connsiteY16" fmla="*/ 3991 h 10073"/>
                  <a:gd name="connsiteX0" fmla="*/ 9741 w 10000"/>
                  <a:gd name="connsiteY0" fmla="*/ 4418 h 10500"/>
                  <a:gd name="connsiteX1" fmla="*/ 8010 w 10000"/>
                  <a:gd name="connsiteY1" fmla="*/ 1040 h 10500"/>
                  <a:gd name="connsiteX2" fmla="*/ 2896 w 10000"/>
                  <a:gd name="connsiteY2" fmla="*/ 58 h 10500"/>
                  <a:gd name="connsiteX3" fmla="*/ 3778 w 10000"/>
                  <a:gd name="connsiteY3" fmla="*/ 2814 h 10500"/>
                  <a:gd name="connsiteX4" fmla="*/ 2341 w 10000"/>
                  <a:gd name="connsiteY4" fmla="*/ 2266 h 10500"/>
                  <a:gd name="connsiteX5" fmla="*/ 626 w 10000"/>
                  <a:gd name="connsiteY5" fmla="*/ 2467 h 10500"/>
                  <a:gd name="connsiteX6" fmla="*/ 1150 w 10000"/>
                  <a:gd name="connsiteY6" fmla="*/ 3195 h 10500"/>
                  <a:gd name="connsiteX7" fmla="*/ 906 w 10000"/>
                  <a:gd name="connsiteY7" fmla="*/ 5102 h 10500"/>
                  <a:gd name="connsiteX8" fmla="*/ 427 w 10000"/>
                  <a:gd name="connsiteY8" fmla="*/ 6246 h 10500"/>
                  <a:gd name="connsiteX9" fmla="*/ 1385 w 10000"/>
                  <a:gd name="connsiteY9" fmla="*/ 7771 h 10500"/>
                  <a:gd name="connsiteX10" fmla="*/ 1385 w 10000"/>
                  <a:gd name="connsiteY10" fmla="*/ 7771 h 10500"/>
                  <a:gd name="connsiteX11" fmla="*/ 7128 w 10000"/>
                  <a:gd name="connsiteY11" fmla="*/ 8534 h 10500"/>
                  <a:gd name="connsiteX12" fmla="*/ 8086 w 10000"/>
                  <a:gd name="connsiteY12" fmla="*/ 10060 h 10500"/>
                  <a:gd name="connsiteX13" fmla="*/ 10000 w 10000"/>
                  <a:gd name="connsiteY13" fmla="*/ 10060 h 10500"/>
                  <a:gd name="connsiteX14" fmla="*/ 10000 w 10000"/>
                  <a:gd name="connsiteY14" fmla="*/ 5864 h 10500"/>
                  <a:gd name="connsiteX15" fmla="*/ 10000 w 10000"/>
                  <a:gd name="connsiteY15" fmla="*/ 5484 h 10500"/>
                  <a:gd name="connsiteX16" fmla="*/ 9741 w 10000"/>
                  <a:gd name="connsiteY16" fmla="*/ 4418 h 10500"/>
                  <a:gd name="connsiteX0" fmla="*/ 9741 w 10000"/>
                  <a:gd name="connsiteY0" fmla="*/ 4384 h 10466"/>
                  <a:gd name="connsiteX1" fmla="*/ 8010 w 10000"/>
                  <a:gd name="connsiteY1" fmla="*/ 1006 h 10466"/>
                  <a:gd name="connsiteX2" fmla="*/ 2896 w 10000"/>
                  <a:gd name="connsiteY2" fmla="*/ 24 h 10466"/>
                  <a:gd name="connsiteX3" fmla="*/ 2798 w 10000"/>
                  <a:gd name="connsiteY3" fmla="*/ 2002 h 10466"/>
                  <a:gd name="connsiteX4" fmla="*/ 2341 w 10000"/>
                  <a:gd name="connsiteY4" fmla="*/ 2232 h 10466"/>
                  <a:gd name="connsiteX5" fmla="*/ 626 w 10000"/>
                  <a:gd name="connsiteY5" fmla="*/ 2433 h 10466"/>
                  <a:gd name="connsiteX6" fmla="*/ 1150 w 10000"/>
                  <a:gd name="connsiteY6" fmla="*/ 3161 h 10466"/>
                  <a:gd name="connsiteX7" fmla="*/ 906 w 10000"/>
                  <a:gd name="connsiteY7" fmla="*/ 5068 h 10466"/>
                  <a:gd name="connsiteX8" fmla="*/ 427 w 10000"/>
                  <a:gd name="connsiteY8" fmla="*/ 6212 h 10466"/>
                  <a:gd name="connsiteX9" fmla="*/ 1385 w 10000"/>
                  <a:gd name="connsiteY9" fmla="*/ 7737 h 10466"/>
                  <a:gd name="connsiteX10" fmla="*/ 1385 w 10000"/>
                  <a:gd name="connsiteY10" fmla="*/ 7737 h 10466"/>
                  <a:gd name="connsiteX11" fmla="*/ 7128 w 10000"/>
                  <a:gd name="connsiteY11" fmla="*/ 8500 h 10466"/>
                  <a:gd name="connsiteX12" fmla="*/ 8086 w 10000"/>
                  <a:gd name="connsiteY12" fmla="*/ 10026 h 10466"/>
                  <a:gd name="connsiteX13" fmla="*/ 10000 w 10000"/>
                  <a:gd name="connsiteY13" fmla="*/ 10026 h 10466"/>
                  <a:gd name="connsiteX14" fmla="*/ 10000 w 10000"/>
                  <a:gd name="connsiteY14" fmla="*/ 5830 h 10466"/>
                  <a:gd name="connsiteX15" fmla="*/ 10000 w 10000"/>
                  <a:gd name="connsiteY15" fmla="*/ 5450 h 10466"/>
                  <a:gd name="connsiteX16" fmla="*/ 9741 w 10000"/>
                  <a:gd name="connsiteY16" fmla="*/ 4384 h 10466"/>
                  <a:gd name="connsiteX0" fmla="*/ 9741 w 10000"/>
                  <a:gd name="connsiteY0" fmla="*/ 4384 h 10466"/>
                  <a:gd name="connsiteX1" fmla="*/ 8010 w 10000"/>
                  <a:gd name="connsiteY1" fmla="*/ 1006 h 10466"/>
                  <a:gd name="connsiteX2" fmla="*/ 2896 w 10000"/>
                  <a:gd name="connsiteY2" fmla="*/ 24 h 10466"/>
                  <a:gd name="connsiteX3" fmla="*/ 2798 w 10000"/>
                  <a:gd name="connsiteY3" fmla="*/ 2002 h 10466"/>
                  <a:gd name="connsiteX4" fmla="*/ 2341 w 10000"/>
                  <a:gd name="connsiteY4" fmla="*/ 2232 h 10466"/>
                  <a:gd name="connsiteX5" fmla="*/ 626 w 10000"/>
                  <a:gd name="connsiteY5" fmla="*/ 2433 h 10466"/>
                  <a:gd name="connsiteX6" fmla="*/ 1150 w 10000"/>
                  <a:gd name="connsiteY6" fmla="*/ 3161 h 10466"/>
                  <a:gd name="connsiteX7" fmla="*/ 906 w 10000"/>
                  <a:gd name="connsiteY7" fmla="*/ 5068 h 10466"/>
                  <a:gd name="connsiteX8" fmla="*/ 427 w 10000"/>
                  <a:gd name="connsiteY8" fmla="*/ 6212 h 10466"/>
                  <a:gd name="connsiteX9" fmla="*/ 1385 w 10000"/>
                  <a:gd name="connsiteY9" fmla="*/ 7737 h 10466"/>
                  <a:gd name="connsiteX10" fmla="*/ 1385 w 10000"/>
                  <a:gd name="connsiteY10" fmla="*/ 7737 h 10466"/>
                  <a:gd name="connsiteX11" fmla="*/ 6050 w 10000"/>
                  <a:gd name="connsiteY11" fmla="*/ 8967 h 10466"/>
                  <a:gd name="connsiteX12" fmla="*/ 8086 w 10000"/>
                  <a:gd name="connsiteY12" fmla="*/ 10026 h 10466"/>
                  <a:gd name="connsiteX13" fmla="*/ 10000 w 10000"/>
                  <a:gd name="connsiteY13" fmla="*/ 10026 h 10466"/>
                  <a:gd name="connsiteX14" fmla="*/ 10000 w 10000"/>
                  <a:gd name="connsiteY14" fmla="*/ 5830 h 10466"/>
                  <a:gd name="connsiteX15" fmla="*/ 10000 w 10000"/>
                  <a:gd name="connsiteY15" fmla="*/ 5450 h 10466"/>
                  <a:gd name="connsiteX16" fmla="*/ 9741 w 10000"/>
                  <a:gd name="connsiteY16" fmla="*/ 4384 h 10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00" h="10466">
                    <a:moveTo>
                      <a:pt x="9741" y="4384"/>
                    </a:moveTo>
                    <a:cubicBezTo>
                      <a:pt x="9741" y="3621"/>
                      <a:pt x="8968" y="1768"/>
                      <a:pt x="8010" y="1006"/>
                    </a:cubicBezTo>
                    <a:cubicBezTo>
                      <a:pt x="7053" y="625"/>
                      <a:pt x="3765" y="-142"/>
                      <a:pt x="2896" y="24"/>
                    </a:cubicBezTo>
                    <a:cubicBezTo>
                      <a:pt x="2027" y="190"/>
                      <a:pt x="3037" y="1712"/>
                      <a:pt x="2798" y="2002"/>
                    </a:cubicBezTo>
                    <a:cubicBezTo>
                      <a:pt x="2319" y="1620"/>
                      <a:pt x="3212" y="2170"/>
                      <a:pt x="2341" y="2232"/>
                    </a:cubicBezTo>
                    <a:cubicBezTo>
                      <a:pt x="1385" y="1852"/>
                      <a:pt x="1296" y="2029"/>
                      <a:pt x="626" y="2433"/>
                    </a:cubicBezTo>
                    <a:cubicBezTo>
                      <a:pt x="-44" y="2836"/>
                      <a:pt x="1573" y="3221"/>
                      <a:pt x="1150" y="3161"/>
                    </a:cubicBezTo>
                    <a:cubicBezTo>
                      <a:pt x="727" y="3102"/>
                      <a:pt x="-455" y="4503"/>
                      <a:pt x="906" y="5068"/>
                    </a:cubicBezTo>
                    <a:cubicBezTo>
                      <a:pt x="1101" y="5149"/>
                      <a:pt x="-530" y="5830"/>
                      <a:pt x="427" y="6212"/>
                    </a:cubicBezTo>
                    <a:cubicBezTo>
                      <a:pt x="427" y="6212"/>
                      <a:pt x="-1008" y="6976"/>
                      <a:pt x="1385" y="7737"/>
                    </a:cubicBezTo>
                    <a:lnTo>
                      <a:pt x="1385" y="7737"/>
                    </a:lnTo>
                    <a:cubicBezTo>
                      <a:pt x="3778" y="8500"/>
                      <a:pt x="5093" y="8967"/>
                      <a:pt x="6050" y="8967"/>
                    </a:cubicBezTo>
                    <a:cubicBezTo>
                      <a:pt x="6050" y="8967"/>
                      <a:pt x="7607" y="8882"/>
                      <a:pt x="8086" y="10026"/>
                    </a:cubicBezTo>
                    <a:cubicBezTo>
                      <a:pt x="9042" y="10407"/>
                      <a:pt x="10000" y="10789"/>
                      <a:pt x="10000" y="10026"/>
                    </a:cubicBezTo>
                    <a:lnTo>
                      <a:pt x="10000" y="5830"/>
                    </a:lnTo>
                    <a:lnTo>
                      <a:pt x="10000" y="5450"/>
                    </a:lnTo>
                    <a:cubicBezTo>
                      <a:pt x="9521" y="5068"/>
                      <a:pt x="9741" y="4765"/>
                      <a:pt x="9741" y="438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23">
                <a:extLst>
                  <a:ext uri="{FF2B5EF4-FFF2-40B4-BE49-F238E27FC236}">
                    <a16:creationId xmlns:a16="http://schemas.microsoft.com/office/drawing/2014/main" id="{5E52F48C-CB67-4A8F-8836-53E0429CCD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50126" y="2986088"/>
                <a:ext cx="79375" cy="82550"/>
              </a:xfrm>
              <a:custGeom>
                <a:avLst/>
                <a:gdLst>
                  <a:gd name="T0" fmla="*/ 12 w 21"/>
                  <a:gd name="T1" fmla="*/ 2 h 22"/>
                  <a:gd name="T2" fmla="*/ 12 w 21"/>
                  <a:gd name="T3" fmla="*/ 13 h 22"/>
                  <a:gd name="T4" fmla="*/ 8 w 21"/>
                  <a:gd name="T5" fmla="*/ 13 h 22"/>
                  <a:gd name="T6" fmla="*/ 7 w 21"/>
                  <a:gd name="T7" fmla="*/ 12 h 22"/>
                  <a:gd name="T8" fmla="*/ 2 w 21"/>
                  <a:gd name="T9" fmla="*/ 16 h 22"/>
                  <a:gd name="T10" fmla="*/ 2 w 21"/>
                  <a:gd name="T11" fmla="*/ 21 h 22"/>
                  <a:gd name="T12" fmla="*/ 15 w 21"/>
                  <a:gd name="T13" fmla="*/ 22 h 22"/>
                  <a:gd name="T14" fmla="*/ 20 w 21"/>
                  <a:gd name="T15" fmla="*/ 5 h 22"/>
                  <a:gd name="T16" fmla="*/ 14 w 21"/>
                  <a:gd name="T17" fmla="*/ 1 h 22"/>
                  <a:gd name="T18" fmla="*/ 12 w 21"/>
                  <a:gd name="T19" fmla="*/ 1 h 22"/>
                  <a:gd name="T20" fmla="*/ 12 w 21"/>
                  <a:gd name="T2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22">
                    <a:moveTo>
                      <a:pt x="12" y="2"/>
                    </a:moveTo>
                    <a:cubicBezTo>
                      <a:pt x="12" y="2"/>
                      <a:pt x="12" y="11"/>
                      <a:pt x="12" y="13"/>
                    </a:cubicBezTo>
                    <a:cubicBezTo>
                      <a:pt x="12" y="15"/>
                      <a:pt x="10" y="14"/>
                      <a:pt x="8" y="13"/>
                    </a:cubicBezTo>
                    <a:cubicBezTo>
                      <a:pt x="8" y="12"/>
                      <a:pt x="7" y="12"/>
                      <a:pt x="7" y="12"/>
                    </a:cubicBezTo>
                    <a:cubicBezTo>
                      <a:pt x="5" y="10"/>
                      <a:pt x="4" y="12"/>
                      <a:pt x="2" y="16"/>
                    </a:cubicBezTo>
                    <a:cubicBezTo>
                      <a:pt x="0" y="19"/>
                      <a:pt x="2" y="21"/>
                      <a:pt x="2" y="21"/>
                    </a:cubicBezTo>
                    <a:cubicBezTo>
                      <a:pt x="5" y="22"/>
                      <a:pt x="15" y="22"/>
                      <a:pt x="15" y="22"/>
                    </a:cubicBezTo>
                    <a:cubicBezTo>
                      <a:pt x="21" y="18"/>
                      <a:pt x="20" y="8"/>
                      <a:pt x="20" y="5"/>
                    </a:cubicBezTo>
                    <a:cubicBezTo>
                      <a:pt x="21" y="2"/>
                      <a:pt x="14" y="1"/>
                      <a:pt x="14" y="1"/>
                    </a:cubicBezTo>
                    <a:cubicBezTo>
                      <a:pt x="13" y="0"/>
                      <a:pt x="13" y="1"/>
                      <a:pt x="12" y="1"/>
                    </a:cubicBezTo>
                    <a:cubicBezTo>
                      <a:pt x="12" y="1"/>
                      <a:pt x="12" y="2"/>
                      <a:pt x="12" y="2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24">
                <a:extLst>
                  <a:ext uri="{FF2B5EF4-FFF2-40B4-BE49-F238E27FC236}">
                    <a16:creationId xmlns:a16="http://schemas.microsoft.com/office/drawing/2014/main" id="{5A34BECE-8B23-4374-B6B1-FEB19924E7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9013" y="2862263"/>
                <a:ext cx="7938" cy="71437"/>
              </a:xfrm>
              <a:custGeom>
                <a:avLst/>
                <a:gdLst>
                  <a:gd name="T0" fmla="*/ 0 w 5"/>
                  <a:gd name="T1" fmla="*/ 45 h 45"/>
                  <a:gd name="T2" fmla="*/ 0 w 5"/>
                  <a:gd name="T3" fmla="*/ 45 h 45"/>
                  <a:gd name="T4" fmla="*/ 5 w 5"/>
                  <a:gd name="T5" fmla="*/ 0 h 45"/>
                  <a:gd name="T6" fmla="*/ 0 w 5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5">
                    <a:moveTo>
                      <a:pt x="0" y="45"/>
                    </a:moveTo>
                    <a:lnTo>
                      <a:pt x="0" y="45"/>
                    </a:lnTo>
                    <a:lnTo>
                      <a:pt x="5" y="0"/>
                    </a:lnTo>
                    <a:lnTo>
                      <a:pt x="0" y="45"/>
                    </a:ln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27">
                <a:extLst>
                  <a:ext uri="{FF2B5EF4-FFF2-40B4-BE49-F238E27FC236}">
                    <a16:creationId xmlns:a16="http://schemas.microsoft.com/office/drawing/2014/main" id="{2DE898CB-95C1-4C17-8969-3B1BD942FB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637" y="2767612"/>
                <a:ext cx="229316" cy="168275"/>
              </a:xfrm>
              <a:custGeom>
                <a:avLst/>
                <a:gdLst>
                  <a:gd name="T0" fmla="*/ 57 w 59"/>
                  <a:gd name="T1" fmla="*/ 17 h 43"/>
                  <a:gd name="T2" fmla="*/ 44 w 59"/>
                  <a:gd name="T3" fmla="*/ 6 h 43"/>
                  <a:gd name="T4" fmla="*/ 40 w 59"/>
                  <a:gd name="T5" fmla="*/ 2 h 43"/>
                  <a:gd name="T6" fmla="*/ 40 w 59"/>
                  <a:gd name="T7" fmla="*/ 2 h 43"/>
                  <a:gd name="T8" fmla="*/ 34 w 59"/>
                  <a:gd name="T9" fmla="*/ 17 h 43"/>
                  <a:gd name="T10" fmla="*/ 30 w 59"/>
                  <a:gd name="T11" fmla="*/ 23 h 43"/>
                  <a:gd name="T12" fmla="*/ 20 w 59"/>
                  <a:gd name="T13" fmla="*/ 6 h 43"/>
                  <a:gd name="T14" fmla="*/ 21 w 59"/>
                  <a:gd name="T15" fmla="*/ 0 h 43"/>
                  <a:gd name="T16" fmla="*/ 21 w 59"/>
                  <a:gd name="T17" fmla="*/ 0 h 43"/>
                  <a:gd name="T18" fmla="*/ 17 w 59"/>
                  <a:gd name="T19" fmla="*/ 1 h 43"/>
                  <a:gd name="T20" fmla="*/ 5 w 59"/>
                  <a:gd name="T21" fmla="*/ 8 h 43"/>
                  <a:gd name="T22" fmla="*/ 8 w 59"/>
                  <a:gd name="T23" fmla="*/ 7 h 43"/>
                  <a:gd name="T24" fmla="*/ 0 w 59"/>
                  <a:gd name="T25" fmla="*/ 14 h 43"/>
                  <a:gd name="T26" fmla="*/ 12 w 59"/>
                  <a:gd name="T27" fmla="*/ 13 h 43"/>
                  <a:gd name="T28" fmla="*/ 18 w 59"/>
                  <a:gd name="T29" fmla="*/ 14 h 43"/>
                  <a:gd name="T30" fmla="*/ 22 w 59"/>
                  <a:gd name="T31" fmla="*/ 16 h 43"/>
                  <a:gd name="T32" fmla="*/ 24 w 59"/>
                  <a:gd name="T33" fmla="*/ 22 h 43"/>
                  <a:gd name="T34" fmla="*/ 28 w 59"/>
                  <a:gd name="T35" fmla="*/ 29 h 43"/>
                  <a:gd name="T36" fmla="*/ 31 w 59"/>
                  <a:gd name="T37" fmla="*/ 43 h 43"/>
                  <a:gd name="T38" fmla="*/ 35 w 59"/>
                  <a:gd name="T39" fmla="*/ 36 h 43"/>
                  <a:gd name="T40" fmla="*/ 39 w 59"/>
                  <a:gd name="T41" fmla="*/ 25 h 43"/>
                  <a:gd name="T42" fmla="*/ 39 w 59"/>
                  <a:gd name="T43" fmla="*/ 20 h 43"/>
                  <a:gd name="T44" fmla="*/ 42 w 59"/>
                  <a:gd name="T45" fmla="*/ 20 h 43"/>
                  <a:gd name="T46" fmla="*/ 42 w 59"/>
                  <a:gd name="T47" fmla="*/ 19 h 43"/>
                  <a:gd name="T48" fmla="*/ 44 w 59"/>
                  <a:gd name="T49" fmla="*/ 16 h 43"/>
                  <a:gd name="T50" fmla="*/ 59 w 59"/>
                  <a:gd name="T51" fmla="*/ 19 h 43"/>
                  <a:gd name="T52" fmla="*/ 57 w 59"/>
                  <a:gd name="T53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" h="43">
                    <a:moveTo>
                      <a:pt x="57" y="17"/>
                    </a:moveTo>
                    <a:cubicBezTo>
                      <a:pt x="47" y="11"/>
                      <a:pt x="44" y="6"/>
                      <a:pt x="44" y="6"/>
                    </a:cubicBezTo>
                    <a:cubicBezTo>
                      <a:pt x="42" y="2"/>
                      <a:pt x="40" y="2"/>
                      <a:pt x="40" y="2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8"/>
                      <a:pt x="36" y="14"/>
                      <a:pt x="34" y="17"/>
                    </a:cubicBezTo>
                    <a:cubicBezTo>
                      <a:pt x="32" y="21"/>
                      <a:pt x="30" y="23"/>
                      <a:pt x="30" y="23"/>
                    </a:cubicBezTo>
                    <a:cubicBezTo>
                      <a:pt x="25" y="18"/>
                      <a:pt x="21" y="7"/>
                      <a:pt x="20" y="6"/>
                    </a:cubicBezTo>
                    <a:cubicBezTo>
                      <a:pt x="20" y="5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9" y="0"/>
                      <a:pt x="17" y="1"/>
                      <a:pt x="17" y="1"/>
                    </a:cubicBezTo>
                    <a:cubicBezTo>
                      <a:pt x="16" y="1"/>
                      <a:pt x="11" y="5"/>
                      <a:pt x="5" y="8"/>
                    </a:cubicBezTo>
                    <a:cubicBezTo>
                      <a:pt x="6" y="8"/>
                      <a:pt x="7" y="7"/>
                      <a:pt x="8" y="7"/>
                    </a:cubicBezTo>
                    <a:cubicBezTo>
                      <a:pt x="9" y="6"/>
                      <a:pt x="0" y="14"/>
                      <a:pt x="0" y="14"/>
                    </a:cubicBezTo>
                    <a:cubicBezTo>
                      <a:pt x="0" y="14"/>
                      <a:pt x="7" y="13"/>
                      <a:pt x="12" y="13"/>
                    </a:cubicBezTo>
                    <a:cubicBezTo>
                      <a:pt x="12" y="13"/>
                      <a:pt x="17" y="12"/>
                      <a:pt x="18" y="14"/>
                    </a:cubicBezTo>
                    <a:cubicBezTo>
                      <a:pt x="18" y="14"/>
                      <a:pt x="18" y="16"/>
                      <a:pt x="22" y="16"/>
                    </a:cubicBezTo>
                    <a:cubicBezTo>
                      <a:pt x="22" y="16"/>
                      <a:pt x="23" y="18"/>
                      <a:pt x="24" y="22"/>
                    </a:cubicBezTo>
                    <a:cubicBezTo>
                      <a:pt x="24" y="26"/>
                      <a:pt x="27" y="26"/>
                      <a:pt x="28" y="29"/>
                    </a:cubicBezTo>
                    <a:cubicBezTo>
                      <a:pt x="29" y="32"/>
                      <a:pt x="31" y="43"/>
                      <a:pt x="31" y="43"/>
                    </a:cubicBezTo>
                    <a:cubicBezTo>
                      <a:pt x="31" y="43"/>
                      <a:pt x="33" y="42"/>
                      <a:pt x="35" y="36"/>
                    </a:cubicBezTo>
                    <a:cubicBezTo>
                      <a:pt x="35" y="36"/>
                      <a:pt x="37" y="28"/>
                      <a:pt x="39" y="25"/>
                    </a:cubicBezTo>
                    <a:cubicBezTo>
                      <a:pt x="39" y="25"/>
                      <a:pt x="38" y="21"/>
                      <a:pt x="39" y="20"/>
                    </a:cubicBezTo>
                    <a:cubicBezTo>
                      <a:pt x="40" y="20"/>
                      <a:pt x="41" y="20"/>
                      <a:pt x="42" y="20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9" y="18"/>
                      <a:pt x="57" y="17"/>
                      <a:pt x="57" y="17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28">
                <a:extLst>
                  <a:ext uri="{FF2B5EF4-FFF2-40B4-BE49-F238E27FC236}">
                    <a16:creationId xmlns:a16="http://schemas.microsoft.com/office/drawing/2014/main" id="{B9D74505-4083-4CDC-B2F6-1F5710EA58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32638" y="2994025"/>
                <a:ext cx="41275" cy="30162"/>
              </a:xfrm>
              <a:custGeom>
                <a:avLst/>
                <a:gdLst>
                  <a:gd name="T0" fmla="*/ 10 w 11"/>
                  <a:gd name="T1" fmla="*/ 8 h 8"/>
                  <a:gd name="T2" fmla="*/ 3 w 11"/>
                  <a:gd name="T3" fmla="*/ 4 h 8"/>
                  <a:gd name="T4" fmla="*/ 0 w 11"/>
                  <a:gd name="T5" fmla="*/ 5 h 8"/>
                  <a:gd name="T6" fmla="*/ 9 w 11"/>
                  <a:gd name="T7" fmla="*/ 4 h 8"/>
                  <a:gd name="T8" fmla="*/ 1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0" y="8"/>
                    </a:moveTo>
                    <a:cubicBezTo>
                      <a:pt x="10" y="8"/>
                      <a:pt x="6" y="3"/>
                      <a:pt x="3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2" y="0"/>
                      <a:pt x="9" y="4"/>
                    </a:cubicBezTo>
                    <a:cubicBezTo>
                      <a:pt x="9" y="4"/>
                      <a:pt x="11" y="5"/>
                      <a:pt x="10" y="8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29">
                <a:extLst>
                  <a:ext uri="{FF2B5EF4-FFF2-40B4-BE49-F238E27FC236}">
                    <a16:creationId xmlns:a16="http://schemas.microsoft.com/office/drawing/2014/main" id="{8571DB4E-F15F-428D-BC67-2055DB578A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8363" y="3068638"/>
                <a:ext cx="41275" cy="38100"/>
              </a:xfrm>
              <a:custGeom>
                <a:avLst/>
                <a:gdLst>
                  <a:gd name="T0" fmla="*/ 7 w 11"/>
                  <a:gd name="T1" fmla="*/ 0 h 10"/>
                  <a:gd name="T2" fmla="*/ 3 w 11"/>
                  <a:gd name="T3" fmla="*/ 6 h 10"/>
                  <a:gd name="T4" fmla="*/ 1 w 11"/>
                  <a:gd name="T5" fmla="*/ 8 h 10"/>
                  <a:gd name="T6" fmla="*/ 6 w 11"/>
                  <a:gd name="T7" fmla="*/ 8 h 10"/>
                  <a:gd name="T8" fmla="*/ 11 w 11"/>
                  <a:gd name="T9" fmla="*/ 8 h 10"/>
                  <a:gd name="T10" fmla="*/ 7 w 11"/>
                  <a:gd name="T11" fmla="*/ 5 h 10"/>
                  <a:gd name="T12" fmla="*/ 7 w 11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0">
                    <a:moveTo>
                      <a:pt x="7" y="0"/>
                    </a:moveTo>
                    <a:cubicBezTo>
                      <a:pt x="7" y="0"/>
                      <a:pt x="4" y="1"/>
                      <a:pt x="3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0" y="8"/>
                      <a:pt x="3" y="8"/>
                      <a:pt x="6" y="8"/>
                    </a:cubicBezTo>
                    <a:cubicBezTo>
                      <a:pt x="9" y="8"/>
                      <a:pt x="11" y="10"/>
                      <a:pt x="11" y="8"/>
                    </a:cubicBezTo>
                    <a:cubicBezTo>
                      <a:pt x="11" y="7"/>
                      <a:pt x="11" y="7"/>
                      <a:pt x="7" y="5"/>
                    </a:cubicBezTo>
                    <a:cubicBezTo>
                      <a:pt x="7" y="5"/>
                      <a:pt x="3" y="5"/>
                      <a:pt x="7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30">
                <a:extLst>
                  <a:ext uri="{FF2B5EF4-FFF2-40B4-BE49-F238E27FC236}">
                    <a16:creationId xmlns:a16="http://schemas.microsoft.com/office/drawing/2014/main" id="{A1D3E347-8FBA-45C9-B39B-F9D9D76CA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5976" y="2844800"/>
                <a:ext cx="44450" cy="107950"/>
              </a:xfrm>
              <a:custGeom>
                <a:avLst/>
                <a:gdLst>
                  <a:gd name="T0" fmla="*/ 8 w 12"/>
                  <a:gd name="T1" fmla="*/ 29 h 29"/>
                  <a:gd name="T2" fmla="*/ 11 w 12"/>
                  <a:gd name="T3" fmla="*/ 22 h 29"/>
                  <a:gd name="T4" fmla="*/ 12 w 12"/>
                  <a:gd name="T5" fmla="*/ 17 h 29"/>
                  <a:gd name="T6" fmla="*/ 9 w 12"/>
                  <a:gd name="T7" fmla="*/ 14 h 29"/>
                  <a:gd name="T8" fmla="*/ 7 w 12"/>
                  <a:gd name="T9" fmla="*/ 8 h 29"/>
                  <a:gd name="T10" fmla="*/ 4 w 12"/>
                  <a:gd name="T11" fmla="*/ 3 h 29"/>
                  <a:gd name="T12" fmla="*/ 5 w 12"/>
                  <a:gd name="T13" fmla="*/ 9 h 29"/>
                  <a:gd name="T14" fmla="*/ 2 w 12"/>
                  <a:gd name="T15" fmla="*/ 3 h 29"/>
                  <a:gd name="T16" fmla="*/ 3 w 12"/>
                  <a:gd name="T17" fmla="*/ 15 h 29"/>
                  <a:gd name="T18" fmla="*/ 6 w 12"/>
                  <a:gd name="T19" fmla="*/ 28 h 29"/>
                  <a:gd name="T20" fmla="*/ 8 w 12"/>
                  <a:gd name="T2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9">
                    <a:moveTo>
                      <a:pt x="8" y="29"/>
                    </a:moveTo>
                    <a:cubicBezTo>
                      <a:pt x="8" y="29"/>
                      <a:pt x="11" y="24"/>
                      <a:pt x="11" y="22"/>
                    </a:cubicBezTo>
                    <a:cubicBezTo>
                      <a:pt x="11" y="19"/>
                      <a:pt x="12" y="19"/>
                      <a:pt x="12" y="17"/>
                    </a:cubicBezTo>
                    <a:cubicBezTo>
                      <a:pt x="12" y="15"/>
                      <a:pt x="11" y="16"/>
                      <a:pt x="9" y="14"/>
                    </a:cubicBezTo>
                    <a:cubicBezTo>
                      <a:pt x="7" y="13"/>
                      <a:pt x="8" y="11"/>
                      <a:pt x="7" y="8"/>
                    </a:cubicBezTo>
                    <a:cubicBezTo>
                      <a:pt x="6" y="5"/>
                      <a:pt x="6" y="4"/>
                      <a:pt x="4" y="3"/>
                    </a:cubicBezTo>
                    <a:cubicBezTo>
                      <a:pt x="3" y="1"/>
                      <a:pt x="5" y="6"/>
                      <a:pt x="5" y="9"/>
                    </a:cubicBezTo>
                    <a:cubicBezTo>
                      <a:pt x="5" y="12"/>
                      <a:pt x="4" y="6"/>
                      <a:pt x="2" y="3"/>
                    </a:cubicBezTo>
                    <a:cubicBezTo>
                      <a:pt x="0" y="0"/>
                      <a:pt x="3" y="12"/>
                      <a:pt x="3" y="15"/>
                    </a:cubicBezTo>
                    <a:cubicBezTo>
                      <a:pt x="3" y="17"/>
                      <a:pt x="6" y="28"/>
                      <a:pt x="6" y="28"/>
                    </a:cubicBezTo>
                    <a:cubicBezTo>
                      <a:pt x="6" y="28"/>
                      <a:pt x="7" y="28"/>
                      <a:pt x="8" y="29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31">
                <a:extLst>
                  <a:ext uri="{FF2B5EF4-FFF2-40B4-BE49-F238E27FC236}">
                    <a16:creationId xmlns:a16="http://schemas.microsoft.com/office/drawing/2014/main" id="{1605851C-1928-4FF3-A62F-FD876EA410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2405" y="3055692"/>
                <a:ext cx="44450" cy="30162"/>
              </a:xfrm>
              <a:custGeom>
                <a:avLst/>
                <a:gdLst>
                  <a:gd name="T0" fmla="*/ 6 w 12"/>
                  <a:gd name="T1" fmla="*/ 0 h 8"/>
                  <a:gd name="T2" fmla="*/ 5 w 12"/>
                  <a:gd name="T3" fmla="*/ 3 h 8"/>
                  <a:gd name="T4" fmla="*/ 7 w 12"/>
                  <a:gd name="T5" fmla="*/ 5 h 8"/>
                  <a:gd name="T6" fmla="*/ 11 w 12"/>
                  <a:gd name="T7" fmla="*/ 7 h 8"/>
                  <a:gd name="T8" fmla="*/ 1 w 12"/>
                  <a:gd name="T9" fmla="*/ 8 h 8"/>
                  <a:gd name="T10" fmla="*/ 6 w 12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">
                    <a:moveTo>
                      <a:pt x="6" y="0"/>
                    </a:moveTo>
                    <a:cubicBezTo>
                      <a:pt x="6" y="0"/>
                      <a:pt x="6" y="2"/>
                      <a:pt x="5" y="3"/>
                    </a:cubicBezTo>
                    <a:cubicBezTo>
                      <a:pt x="5" y="5"/>
                      <a:pt x="5" y="5"/>
                      <a:pt x="7" y="5"/>
                    </a:cubicBezTo>
                    <a:cubicBezTo>
                      <a:pt x="9" y="5"/>
                      <a:pt x="11" y="6"/>
                      <a:pt x="11" y="7"/>
                    </a:cubicBezTo>
                    <a:cubicBezTo>
                      <a:pt x="12" y="7"/>
                      <a:pt x="1" y="8"/>
                      <a:pt x="1" y="8"/>
                    </a:cubicBezTo>
                    <a:cubicBezTo>
                      <a:pt x="1" y="8"/>
                      <a:pt x="0" y="7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32">
                <a:extLst>
                  <a:ext uri="{FF2B5EF4-FFF2-40B4-BE49-F238E27FC236}">
                    <a16:creationId xmlns:a16="http://schemas.microsoft.com/office/drawing/2014/main" id="{D57783BE-2A21-4C4B-94FB-7A71DBA7A2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7251" y="2828925"/>
                <a:ext cx="101600" cy="120650"/>
              </a:xfrm>
              <a:custGeom>
                <a:avLst/>
                <a:gdLst>
                  <a:gd name="T0" fmla="*/ 27 w 27"/>
                  <a:gd name="T1" fmla="*/ 32 h 32"/>
                  <a:gd name="T2" fmla="*/ 4 w 27"/>
                  <a:gd name="T3" fmla="*/ 6 h 32"/>
                  <a:gd name="T4" fmla="*/ 1 w 27"/>
                  <a:gd name="T5" fmla="*/ 2 h 32"/>
                  <a:gd name="T6" fmla="*/ 10 w 27"/>
                  <a:gd name="T7" fmla="*/ 10 h 32"/>
                  <a:gd name="T8" fmla="*/ 23 w 27"/>
                  <a:gd name="T9" fmla="*/ 23 h 32"/>
                  <a:gd name="T10" fmla="*/ 27 w 2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32">
                    <a:moveTo>
                      <a:pt x="27" y="32"/>
                    </a:moveTo>
                    <a:cubicBezTo>
                      <a:pt x="27" y="32"/>
                      <a:pt x="17" y="18"/>
                      <a:pt x="4" y="6"/>
                    </a:cubicBezTo>
                    <a:cubicBezTo>
                      <a:pt x="4" y="6"/>
                      <a:pt x="3" y="5"/>
                      <a:pt x="1" y="2"/>
                    </a:cubicBezTo>
                    <a:cubicBezTo>
                      <a:pt x="0" y="0"/>
                      <a:pt x="8" y="8"/>
                      <a:pt x="10" y="10"/>
                    </a:cubicBezTo>
                    <a:cubicBezTo>
                      <a:pt x="13" y="12"/>
                      <a:pt x="22" y="22"/>
                      <a:pt x="23" y="23"/>
                    </a:cubicBezTo>
                    <a:cubicBezTo>
                      <a:pt x="24" y="25"/>
                      <a:pt x="27" y="30"/>
                      <a:pt x="27" y="32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33">
                <a:extLst>
                  <a:ext uri="{FF2B5EF4-FFF2-40B4-BE49-F238E27FC236}">
                    <a16:creationId xmlns:a16="http://schemas.microsoft.com/office/drawing/2014/main" id="{B816E038-F19F-4F78-A12A-60EDE64227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7413" y="2903538"/>
                <a:ext cx="74613" cy="87312"/>
              </a:xfrm>
              <a:custGeom>
                <a:avLst/>
                <a:gdLst>
                  <a:gd name="T0" fmla="*/ 16 w 20"/>
                  <a:gd name="T1" fmla="*/ 20 h 23"/>
                  <a:gd name="T2" fmla="*/ 9 w 20"/>
                  <a:gd name="T3" fmla="*/ 17 h 23"/>
                  <a:gd name="T4" fmla="*/ 4 w 20"/>
                  <a:gd name="T5" fmla="*/ 13 h 23"/>
                  <a:gd name="T6" fmla="*/ 1 w 20"/>
                  <a:gd name="T7" fmla="*/ 9 h 23"/>
                  <a:gd name="T8" fmla="*/ 2 w 20"/>
                  <a:gd name="T9" fmla="*/ 14 h 23"/>
                  <a:gd name="T10" fmla="*/ 6 w 20"/>
                  <a:gd name="T11" fmla="*/ 18 h 23"/>
                  <a:gd name="T12" fmla="*/ 14 w 20"/>
                  <a:gd name="T13" fmla="*/ 22 h 23"/>
                  <a:gd name="T14" fmla="*/ 20 w 20"/>
                  <a:gd name="T15" fmla="*/ 21 h 23"/>
                  <a:gd name="T16" fmla="*/ 16 w 20"/>
                  <a:gd name="T17" fmla="*/ 15 h 23"/>
                  <a:gd name="T18" fmla="*/ 10 w 20"/>
                  <a:gd name="T19" fmla="*/ 9 h 23"/>
                  <a:gd name="T20" fmla="*/ 6 w 20"/>
                  <a:gd name="T21" fmla="*/ 3 h 23"/>
                  <a:gd name="T22" fmla="*/ 3 w 20"/>
                  <a:gd name="T23" fmla="*/ 1 h 23"/>
                  <a:gd name="T24" fmla="*/ 7 w 20"/>
                  <a:gd name="T25" fmla="*/ 8 h 23"/>
                  <a:gd name="T26" fmla="*/ 14 w 20"/>
                  <a:gd name="T27" fmla="*/ 16 h 23"/>
                  <a:gd name="T28" fmla="*/ 16 w 20"/>
                  <a:gd name="T29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3">
                    <a:moveTo>
                      <a:pt x="16" y="20"/>
                    </a:moveTo>
                    <a:cubicBezTo>
                      <a:pt x="16" y="20"/>
                      <a:pt x="11" y="18"/>
                      <a:pt x="9" y="17"/>
                    </a:cubicBezTo>
                    <a:cubicBezTo>
                      <a:pt x="7" y="16"/>
                      <a:pt x="5" y="14"/>
                      <a:pt x="4" y="13"/>
                    </a:cubicBezTo>
                    <a:cubicBezTo>
                      <a:pt x="3" y="12"/>
                      <a:pt x="2" y="10"/>
                      <a:pt x="1" y="9"/>
                    </a:cubicBezTo>
                    <a:cubicBezTo>
                      <a:pt x="0" y="8"/>
                      <a:pt x="1" y="13"/>
                      <a:pt x="2" y="14"/>
                    </a:cubicBezTo>
                    <a:cubicBezTo>
                      <a:pt x="2" y="16"/>
                      <a:pt x="3" y="16"/>
                      <a:pt x="6" y="18"/>
                    </a:cubicBezTo>
                    <a:cubicBezTo>
                      <a:pt x="9" y="20"/>
                      <a:pt x="10" y="21"/>
                      <a:pt x="14" y="22"/>
                    </a:cubicBezTo>
                    <a:cubicBezTo>
                      <a:pt x="17" y="23"/>
                      <a:pt x="20" y="21"/>
                      <a:pt x="20" y="21"/>
                    </a:cubicBezTo>
                    <a:cubicBezTo>
                      <a:pt x="20" y="20"/>
                      <a:pt x="18" y="17"/>
                      <a:pt x="16" y="15"/>
                    </a:cubicBezTo>
                    <a:cubicBezTo>
                      <a:pt x="14" y="13"/>
                      <a:pt x="12" y="11"/>
                      <a:pt x="10" y="9"/>
                    </a:cubicBezTo>
                    <a:cubicBezTo>
                      <a:pt x="8" y="7"/>
                      <a:pt x="7" y="5"/>
                      <a:pt x="6" y="3"/>
                    </a:cubicBezTo>
                    <a:cubicBezTo>
                      <a:pt x="5" y="2"/>
                      <a:pt x="4" y="2"/>
                      <a:pt x="3" y="1"/>
                    </a:cubicBezTo>
                    <a:cubicBezTo>
                      <a:pt x="1" y="0"/>
                      <a:pt x="4" y="5"/>
                      <a:pt x="7" y="8"/>
                    </a:cubicBezTo>
                    <a:cubicBezTo>
                      <a:pt x="9" y="11"/>
                      <a:pt x="13" y="14"/>
                      <a:pt x="14" y="16"/>
                    </a:cubicBezTo>
                    <a:cubicBezTo>
                      <a:pt x="16" y="18"/>
                      <a:pt x="17" y="19"/>
                      <a:pt x="16" y="2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34">
                <a:extLst>
                  <a:ext uri="{FF2B5EF4-FFF2-40B4-BE49-F238E27FC236}">
                    <a16:creationId xmlns:a16="http://schemas.microsoft.com/office/drawing/2014/main" id="{0D3789BC-61B5-42A5-8B45-05F36C2EE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3733" y="2843093"/>
                <a:ext cx="33338" cy="19050"/>
              </a:xfrm>
              <a:custGeom>
                <a:avLst/>
                <a:gdLst>
                  <a:gd name="T0" fmla="*/ 9 w 9"/>
                  <a:gd name="T1" fmla="*/ 0 h 5"/>
                  <a:gd name="T2" fmla="*/ 0 w 9"/>
                  <a:gd name="T3" fmla="*/ 5 h 5"/>
                  <a:gd name="T4" fmla="*/ 6 w 9"/>
                  <a:gd name="T5" fmla="*/ 3 h 5"/>
                  <a:gd name="T6" fmla="*/ 9 w 9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9" y="0"/>
                    </a:moveTo>
                    <a:cubicBezTo>
                      <a:pt x="9" y="0"/>
                      <a:pt x="4" y="0"/>
                      <a:pt x="0" y="5"/>
                    </a:cubicBezTo>
                    <a:cubicBezTo>
                      <a:pt x="0" y="5"/>
                      <a:pt x="5" y="3"/>
                      <a:pt x="6" y="3"/>
                    </a:cubicBezTo>
                    <a:cubicBezTo>
                      <a:pt x="6" y="3"/>
                      <a:pt x="6" y="1"/>
                      <a:pt x="9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35">
                <a:extLst>
                  <a:ext uri="{FF2B5EF4-FFF2-40B4-BE49-F238E27FC236}">
                    <a16:creationId xmlns:a16="http://schemas.microsoft.com/office/drawing/2014/main" id="{DDB70C66-6592-47E3-8F55-822A607398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0521" y="2841140"/>
                <a:ext cx="19050" cy="30162"/>
              </a:xfrm>
              <a:custGeom>
                <a:avLst/>
                <a:gdLst>
                  <a:gd name="T0" fmla="*/ 0 w 5"/>
                  <a:gd name="T1" fmla="*/ 0 h 8"/>
                  <a:gd name="T2" fmla="*/ 4 w 5"/>
                  <a:gd name="T3" fmla="*/ 5 h 8"/>
                  <a:gd name="T4" fmla="*/ 3 w 5"/>
                  <a:gd name="T5" fmla="*/ 8 h 8"/>
                  <a:gd name="T6" fmla="*/ 0 w 5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0" y="0"/>
                    </a:moveTo>
                    <a:cubicBezTo>
                      <a:pt x="0" y="0"/>
                      <a:pt x="3" y="2"/>
                      <a:pt x="4" y="5"/>
                    </a:cubicBezTo>
                    <a:cubicBezTo>
                      <a:pt x="5" y="8"/>
                      <a:pt x="3" y="8"/>
                      <a:pt x="3" y="8"/>
                    </a:cubicBezTo>
                    <a:cubicBezTo>
                      <a:pt x="3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36">
                <a:extLst>
                  <a:ext uri="{FF2B5EF4-FFF2-40B4-BE49-F238E27FC236}">
                    <a16:creationId xmlns:a16="http://schemas.microsoft.com/office/drawing/2014/main" id="{8C74B95C-9BA8-4D4E-A57C-4459DD1BD7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3138" y="2776538"/>
                <a:ext cx="30163" cy="52387"/>
              </a:xfrm>
              <a:custGeom>
                <a:avLst/>
                <a:gdLst>
                  <a:gd name="T0" fmla="*/ 7 w 8"/>
                  <a:gd name="T1" fmla="*/ 2 h 14"/>
                  <a:gd name="T2" fmla="*/ 0 w 8"/>
                  <a:gd name="T3" fmla="*/ 14 h 14"/>
                  <a:gd name="T4" fmla="*/ 5 w 8"/>
                  <a:gd name="T5" fmla="*/ 0 h 14"/>
                  <a:gd name="T6" fmla="*/ 7 w 8"/>
                  <a:gd name="T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4">
                    <a:moveTo>
                      <a:pt x="7" y="2"/>
                    </a:moveTo>
                    <a:cubicBezTo>
                      <a:pt x="7" y="2"/>
                      <a:pt x="5" y="13"/>
                      <a:pt x="0" y="14"/>
                    </a:cubicBezTo>
                    <a:cubicBezTo>
                      <a:pt x="0" y="14"/>
                      <a:pt x="6" y="4"/>
                      <a:pt x="5" y="0"/>
                    </a:cubicBezTo>
                    <a:cubicBezTo>
                      <a:pt x="5" y="0"/>
                      <a:pt x="8" y="1"/>
                      <a:pt x="7" y="2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37">
                <a:extLst>
                  <a:ext uri="{FF2B5EF4-FFF2-40B4-BE49-F238E27FC236}">
                    <a16:creationId xmlns:a16="http://schemas.microsoft.com/office/drawing/2014/main" id="{D8DA4ECF-3594-4D1D-B95F-AC03C22BAC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1471" y="2765425"/>
                <a:ext cx="11113" cy="30162"/>
              </a:xfrm>
              <a:custGeom>
                <a:avLst/>
                <a:gdLst>
                  <a:gd name="T0" fmla="*/ 1 w 3"/>
                  <a:gd name="T1" fmla="*/ 1 h 8"/>
                  <a:gd name="T2" fmla="*/ 2 w 3"/>
                  <a:gd name="T3" fmla="*/ 7 h 8"/>
                  <a:gd name="T4" fmla="*/ 2 w 3"/>
                  <a:gd name="T5" fmla="*/ 7 h 8"/>
                  <a:gd name="T6" fmla="*/ 3 w 3"/>
                  <a:gd name="T7" fmla="*/ 1 h 8"/>
                  <a:gd name="T8" fmla="*/ 1 w 3"/>
                  <a:gd name="T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1" y="1"/>
                    </a:moveTo>
                    <a:cubicBezTo>
                      <a:pt x="1" y="1"/>
                      <a:pt x="0" y="6"/>
                      <a:pt x="2" y="7"/>
                    </a:cubicBezTo>
                    <a:cubicBezTo>
                      <a:pt x="3" y="8"/>
                      <a:pt x="2" y="7"/>
                      <a:pt x="2" y="7"/>
                    </a:cubicBezTo>
                    <a:cubicBezTo>
                      <a:pt x="2" y="7"/>
                      <a:pt x="3" y="1"/>
                      <a:pt x="3" y="1"/>
                    </a:cubicBezTo>
                    <a:cubicBezTo>
                      <a:pt x="3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38">
                <a:extLst>
                  <a:ext uri="{FF2B5EF4-FFF2-40B4-BE49-F238E27FC236}">
                    <a16:creationId xmlns:a16="http://schemas.microsoft.com/office/drawing/2014/main" id="{CBF29B93-42A3-45D8-9ACC-0B76975069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9177" y="2995572"/>
                <a:ext cx="25400" cy="46037"/>
              </a:xfrm>
              <a:custGeom>
                <a:avLst/>
                <a:gdLst>
                  <a:gd name="T0" fmla="*/ 1 w 7"/>
                  <a:gd name="T1" fmla="*/ 6 h 12"/>
                  <a:gd name="T2" fmla="*/ 5 w 7"/>
                  <a:gd name="T3" fmla="*/ 4 h 12"/>
                  <a:gd name="T4" fmla="*/ 7 w 7"/>
                  <a:gd name="T5" fmla="*/ 1 h 12"/>
                  <a:gd name="T6" fmla="*/ 7 w 7"/>
                  <a:gd name="T7" fmla="*/ 11 h 12"/>
                  <a:gd name="T8" fmla="*/ 2 w 7"/>
                  <a:gd name="T9" fmla="*/ 8 h 12"/>
                  <a:gd name="T10" fmla="*/ 1 w 7"/>
                  <a:gd name="T1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2">
                    <a:moveTo>
                      <a:pt x="1" y="6"/>
                    </a:moveTo>
                    <a:cubicBezTo>
                      <a:pt x="1" y="6"/>
                      <a:pt x="3" y="6"/>
                      <a:pt x="5" y="4"/>
                    </a:cubicBezTo>
                    <a:cubicBezTo>
                      <a:pt x="7" y="3"/>
                      <a:pt x="7" y="1"/>
                      <a:pt x="7" y="1"/>
                    </a:cubicBezTo>
                    <a:cubicBezTo>
                      <a:pt x="7" y="0"/>
                      <a:pt x="7" y="11"/>
                      <a:pt x="7" y="11"/>
                    </a:cubicBezTo>
                    <a:cubicBezTo>
                      <a:pt x="7" y="11"/>
                      <a:pt x="4" y="12"/>
                      <a:pt x="2" y="8"/>
                    </a:cubicBezTo>
                    <a:cubicBezTo>
                      <a:pt x="0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39">
                <a:extLst>
                  <a:ext uri="{FF2B5EF4-FFF2-40B4-BE49-F238E27FC236}">
                    <a16:creationId xmlns:a16="http://schemas.microsoft.com/office/drawing/2014/main" id="{C9A234A7-0D36-4E10-BC52-AB30B3C466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8973" y="3033466"/>
                <a:ext cx="25400" cy="30162"/>
              </a:xfrm>
              <a:custGeom>
                <a:avLst/>
                <a:gdLst>
                  <a:gd name="T0" fmla="*/ 3 w 7"/>
                  <a:gd name="T1" fmla="*/ 0 h 8"/>
                  <a:gd name="T2" fmla="*/ 3 w 7"/>
                  <a:gd name="T3" fmla="*/ 6 h 8"/>
                  <a:gd name="T4" fmla="*/ 7 w 7"/>
                  <a:gd name="T5" fmla="*/ 6 h 8"/>
                  <a:gd name="T6" fmla="*/ 5 w 7"/>
                  <a:gd name="T7" fmla="*/ 4 h 8"/>
                  <a:gd name="T8" fmla="*/ 6 w 7"/>
                  <a:gd name="T9" fmla="*/ 3 h 8"/>
                  <a:gd name="T10" fmla="*/ 7 w 7"/>
                  <a:gd name="T11" fmla="*/ 1 h 8"/>
                  <a:gd name="T12" fmla="*/ 3 w 7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3" y="0"/>
                    </a:moveTo>
                    <a:cubicBezTo>
                      <a:pt x="3" y="0"/>
                      <a:pt x="0" y="5"/>
                      <a:pt x="3" y="6"/>
                    </a:cubicBezTo>
                    <a:cubicBezTo>
                      <a:pt x="7" y="7"/>
                      <a:pt x="7" y="8"/>
                      <a:pt x="7" y="6"/>
                    </a:cubicBezTo>
                    <a:cubicBezTo>
                      <a:pt x="6" y="4"/>
                      <a:pt x="5" y="5"/>
                      <a:pt x="5" y="4"/>
                    </a:cubicBezTo>
                    <a:cubicBezTo>
                      <a:pt x="4" y="2"/>
                      <a:pt x="6" y="4"/>
                      <a:pt x="6" y="3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1"/>
                      <a:pt x="7" y="2"/>
                      <a:pt x="3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41">
                <a:extLst>
                  <a:ext uri="{FF2B5EF4-FFF2-40B4-BE49-F238E27FC236}">
                    <a16:creationId xmlns:a16="http://schemas.microsoft.com/office/drawing/2014/main" id="{BB2E613C-87CA-4CAE-975B-89C0CFD072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8919" y="3031922"/>
                <a:ext cx="22225" cy="11112"/>
              </a:xfrm>
              <a:custGeom>
                <a:avLst/>
                <a:gdLst>
                  <a:gd name="T0" fmla="*/ 6 w 6"/>
                  <a:gd name="T1" fmla="*/ 0 h 3"/>
                  <a:gd name="T2" fmla="*/ 1 w 6"/>
                  <a:gd name="T3" fmla="*/ 1 h 3"/>
                  <a:gd name="T4" fmla="*/ 6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0"/>
                      <a:pt x="2" y="1"/>
                      <a:pt x="1" y="1"/>
                    </a:cubicBezTo>
                    <a:cubicBezTo>
                      <a:pt x="0" y="2"/>
                      <a:pt x="5" y="3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42">
                <a:extLst>
                  <a:ext uri="{FF2B5EF4-FFF2-40B4-BE49-F238E27FC236}">
                    <a16:creationId xmlns:a16="http://schemas.microsoft.com/office/drawing/2014/main" id="{5E02768D-C787-4799-A523-DE9500BDEF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3561" y="3044218"/>
                <a:ext cx="21777" cy="5258"/>
              </a:xfrm>
              <a:custGeom>
                <a:avLst/>
                <a:gdLst>
                  <a:gd name="T0" fmla="*/ 6 w 6"/>
                  <a:gd name="T1" fmla="*/ 2 h 4"/>
                  <a:gd name="T2" fmla="*/ 1 w 6"/>
                  <a:gd name="T3" fmla="*/ 3 h 4"/>
                  <a:gd name="T4" fmla="*/ 6 w 6"/>
                  <a:gd name="T5" fmla="*/ 2 h 4"/>
                  <a:gd name="connsiteX0" fmla="*/ 9965 w 9965"/>
                  <a:gd name="connsiteY0" fmla="*/ 0 h 3200"/>
                  <a:gd name="connsiteX1" fmla="*/ 166 w 9965"/>
                  <a:gd name="connsiteY1" fmla="*/ 2500 h 3200"/>
                  <a:gd name="connsiteX2" fmla="*/ 9965 w 9965"/>
                  <a:gd name="connsiteY2" fmla="*/ 0 h 3200"/>
                  <a:gd name="connsiteX0" fmla="*/ 10000 w 10000"/>
                  <a:gd name="connsiteY0" fmla="*/ 1514 h 11514"/>
                  <a:gd name="connsiteX1" fmla="*/ 167 w 10000"/>
                  <a:gd name="connsiteY1" fmla="*/ 9327 h 11514"/>
                  <a:gd name="connsiteX2" fmla="*/ 10000 w 10000"/>
                  <a:gd name="connsiteY2" fmla="*/ 1514 h 11514"/>
                  <a:gd name="connsiteX0" fmla="*/ 9833 w 9833"/>
                  <a:gd name="connsiteY0" fmla="*/ 1514 h 10351"/>
                  <a:gd name="connsiteX1" fmla="*/ 0 w 9833"/>
                  <a:gd name="connsiteY1" fmla="*/ 9327 h 10351"/>
                  <a:gd name="connsiteX2" fmla="*/ 9833 w 9833"/>
                  <a:gd name="connsiteY2" fmla="*/ 1514 h 1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3" h="10351">
                    <a:moveTo>
                      <a:pt x="9833" y="1514"/>
                    </a:moveTo>
                    <a:cubicBezTo>
                      <a:pt x="9833" y="1514"/>
                      <a:pt x="2774" y="-5104"/>
                      <a:pt x="0" y="9327"/>
                    </a:cubicBezTo>
                    <a:cubicBezTo>
                      <a:pt x="6418" y="13932"/>
                      <a:pt x="9833" y="1514"/>
                      <a:pt x="9833" y="1514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43">
                <a:extLst>
                  <a:ext uri="{FF2B5EF4-FFF2-40B4-BE49-F238E27FC236}">
                    <a16:creationId xmlns:a16="http://schemas.microsoft.com/office/drawing/2014/main" id="{6A51F099-0F38-41E2-8071-A33E9A779E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2422" y="3054348"/>
                <a:ext cx="18520" cy="11112"/>
              </a:xfrm>
              <a:custGeom>
                <a:avLst/>
                <a:gdLst>
                  <a:gd name="T0" fmla="*/ 6 w 6"/>
                  <a:gd name="T1" fmla="*/ 0 h 3"/>
                  <a:gd name="T2" fmla="*/ 1 w 6"/>
                  <a:gd name="T3" fmla="*/ 3 h 3"/>
                  <a:gd name="T4" fmla="*/ 6 w 6"/>
                  <a:gd name="T5" fmla="*/ 0 h 3"/>
                  <a:gd name="connsiteX0" fmla="*/ 8333 w 8333"/>
                  <a:gd name="connsiteY0" fmla="*/ 0 h 10000"/>
                  <a:gd name="connsiteX1" fmla="*/ 0 w 8333"/>
                  <a:gd name="connsiteY1" fmla="*/ 10000 h 10000"/>
                  <a:gd name="connsiteX2" fmla="*/ 8333 w 8333"/>
                  <a:gd name="connsiteY2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33" h="10000">
                    <a:moveTo>
                      <a:pt x="8333" y="0"/>
                    </a:moveTo>
                    <a:cubicBezTo>
                      <a:pt x="8333" y="0"/>
                      <a:pt x="0" y="6667"/>
                      <a:pt x="0" y="10000"/>
                    </a:cubicBezTo>
                    <a:cubicBezTo>
                      <a:pt x="1998" y="10000"/>
                      <a:pt x="6666" y="10000"/>
                      <a:pt x="8333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44">
                <a:extLst>
                  <a:ext uri="{FF2B5EF4-FFF2-40B4-BE49-F238E27FC236}">
                    <a16:creationId xmlns:a16="http://schemas.microsoft.com/office/drawing/2014/main" id="{F4040473-F992-4713-80BF-2164F460F0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7900" y="2967853"/>
                <a:ext cx="19050" cy="15875"/>
              </a:xfrm>
              <a:custGeom>
                <a:avLst/>
                <a:gdLst>
                  <a:gd name="T0" fmla="*/ 0 w 5"/>
                  <a:gd name="T1" fmla="*/ 0 h 4"/>
                  <a:gd name="T2" fmla="*/ 5 w 5"/>
                  <a:gd name="T3" fmla="*/ 2 h 4"/>
                  <a:gd name="T4" fmla="*/ 0 w 5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5" y="1"/>
                      <a:pt x="5" y="2"/>
                    </a:cubicBezTo>
                    <a:cubicBezTo>
                      <a:pt x="5" y="4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45">
                <a:extLst>
                  <a:ext uri="{FF2B5EF4-FFF2-40B4-BE49-F238E27FC236}">
                    <a16:creationId xmlns:a16="http://schemas.microsoft.com/office/drawing/2014/main" id="{439B361C-06F5-4515-951A-598466D3C9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2325" y="2984543"/>
                <a:ext cx="23813" cy="11112"/>
              </a:xfrm>
              <a:custGeom>
                <a:avLst/>
                <a:gdLst>
                  <a:gd name="T0" fmla="*/ 0 w 6"/>
                  <a:gd name="T1" fmla="*/ 0 h 3"/>
                  <a:gd name="T2" fmla="*/ 6 w 6"/>
                  <a:gd name="T3" fmla="*/ 3 h 3"/>
                  <a:gd name="T4" fmla="*/ 0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4" y="0"/>
                      <a:pt x="6" y="3"/>
                    </a:cubicBezTo>
                    <a:cubicBezTo>
                      <a:pt x="6" y="3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46">
                <a:extLst>
                  <a:ext uri="{FF2B5EF4-FFF2-40B4-BE49-F238E27FC236}">
                    <a16:creationId xmlns:a16="http://schemas.microsoft.com/office/drawing/2014/main" id="{9217C142-D9FF-46A4-B9F5-FA01EF52F3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9066" y="2998015"/>
                <a:ext cx="23813" cy="11112"/>
              </a:xfrm>
              <a:custGeom>
                <a:avLst/>
                <a:gdLst>
                  <a:gd name="T0" fmla="*/ 0 w 6"/>
                  <a:gd name="T1" fmla="*/ 0 h 3"/>
                  <a:gd name="T2" fmla="*/ 6 w 6"/>
                  <a:gd name="T3" fmla="*/ 3 h 3"/>
                  <a:gd name="T4" fmla="*/ 0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4" y="1"/>
                      <a:pt x="6" y="3"/>
                    </a:cubicBezTo>
                    <a:cubicBezTo>
                      <a:pt x="6" y="3"/>
                      <a:pt x="1" y="3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47">
                <a:extLst>
                  <a:ext uri="{FF2B5EF4-FFF2-40B4-BE49-F238E27FC236}">
                    <a16:creationId xmlns:a16="http://schemas.microsoft.com/office/drawing/2014/main" id="{B5A0B757-EEFF-4EC1-ADFE-1D8C037335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5976" y="2941638"/>
                <a:ext cx="41275" cy="90487"/>
              </a:xfrm>
              <a:custGeom>
                <a:avLst/>
                <a:gdLst>
                  <a:gd name="T0" fmla="*/ 7 w 11"/>
                  <a:gd name="T1" fmla="*/ 3 h 24"/>
                  <a:gd name="T2" fmla="*/ 11 w 11"/>
                  <a:gd name="T3" fmla="*/ 23 h 24"/>
                  <a:gd name="T4" fmla="*/ 5 w 11"/>
                  <a:gd name="T5" fmla="*/ 23 h 24"/>
                  <a:gd name="T6" fmla="*/ 3 w 11"/>
                  <a:gd name="T7" fmla="*/ 14 h 24"/>
                  <a:gd name="T8" fmla="*/ 7 w 11"/>
                  <a:gd name="T9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4">
                    <a:moveTo>
                      <a:pt x="7" y="3"/>
                    </a:moveTo>
                    <a:cubicBezTo>
                      <a:pt x="7" y="3"/>
                      <a:pt x="11" y="22"/>
                      <a:pt x="11" y="23"/>
                    </a:cubicBezTo>
                    <a:cubicBezTo>
                      <a:pt x="11" y="24"/>
                      <a:pt x="10" y="24"/>
                      <a:pt x="5" y="23"/>
                    </a:cubicBezTo>
                    <a:cubicBezTo>
                      <a:pt x="0" y="22"/>
                      <a:pt x="1" y="20"/>
                      <a:pt x="3" y="14"/>
                    </a:cubicBezTo>
                    <a:cubicBezTo>
                      <a:pt x="4" y="9"/>
                      <a:pt x="6" y="0"/>
                      <a:pt x="7" y="3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48">
                <a:extLst>
                  <a:ext uri="{FF2B5EF4-FFF2-40B4-BE49-F238E27FC236}">
                    <a16:creationId xmlns:a16="http://schemas.microsoft.com/office/drawing/2014/main" id="{096E3ADC-B7B8-48B2-83E9-865CD88CF7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8688" y="2752480"/>
                <a:ext cx="63500" cy="38100"/>
              </a:xfrm>
              <a:custGeom>
                <a:avLst/>
                <a:gdLst>
                  <a:gd name="T0" fmla="*/ 0 w 17"/>
                  <a:gd name="T1" fmla="*/ 0 h 10"/>
                  <a:gd name="T2" fmla="*/ 8 w 17"/>
                  <a:gd name="T3" fmla="*/ 7 h 10"/>
                  <a:gd name="T4" fmla="*/ 15 w 17"/>
                  <a:gd name="T5" fmla="*/ 5 h 10"/>
                  <a:gd name="T6" fmla="*/ 17 w 17"/>
                  <a:gd name="T7" fmla="*/ 3 h 10"/>
                  <a:gd name="T8" fmla="*/ 10 w 17"/>
                  <a:gd name="T9" fmla="*/ 8 h 10"/>
                  <a:gd name="T10" fmla="*/ 0 w 1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0">
                    <a:moveTo>
                      <a:pt x="0" y="0"/>
                    </a:moveTo>
                    <a:cubicBezTo>
                      <a:pt x="0" y="0"/>
                      <a:pt x="6" y="7"/>
                      <a:pt x="8" y="7"/>
                    </a:cubicBezTo>
                    <a:cubicBezTo>
                      <a:pt x="10" y="6"/>
                      <a:pt x="13" y="7"/>
                      <a:pt x="15" y="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6" y="9"/>
                      <a:pt x="10" y="8"/>
                    </a:cubicBezTo>
                    <a:cubicBezTo>
                      <a:pt x="10" y="8"/>
                      <a:pt x="6" y="10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49">
                <a:extLst>
                  <a:ext uri="{FF2B5EF4-FFF2-40B4-BE49-F238E27FC236}">
                    <a16:creationId xmlns:a16="http://schemas.microsoft.com/office/drawing/2014/main" id="{AC710AA3-D2AF-4266-81B8-6A43A54042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4746" y="3183190"/>
                <a:ext cx="201298" cy="96565"/>
              </a:xfrm>
              <a:custGeom>
                <a:avLst/>
                <a:gdLst>
                  <a:gd name="T0" fmla="*/ 31 w 56"/>
                  <a:gd name="T1" fmla="*/ 31 h 33"/>
                  <a:gd name="T2" fmla="*/ 46 w 56"/>
                  <a:gd name="T3" fmla="*/ 17 h 33"/>
                  <a:gd name="T4" fmla="*/ 55 w 56"/>
                  <a:gd name="T5" fmla="*/ 12 h 33"/>
                  <a:gd name="T6" fmla="*/ 45 w 56"/>
                  <a:gd name="T7" fmla="*/ 14 h 33"/>
                  <a:gd name="T8" fmla="*/ 36 w 56"/>
                  <a:gd name="T9" fmla="*/ 20 h 33"/>
                  <a:gd name="T10" fmla="*/ 38 w 56"/>
                  <a:gd name="T11" fmla="*/ 14 h 33"/>
                  <a:gd name="T12" fmla="*/ 52 w 56"/>
                  <a:gd name="T13" fmla="*/ 6 h 33"/>
                  <a:gd name="T14" fmla="*/ 43 w 56"/>
                  <a:gd name="T15" fmla="*/ 4 h 33"/>
                  <a:gd name="T16" fmla="*/ 31 w 56"/>
                  <a:gd name="T17" fmla="*/ 7 h 33"/>
                  <a:gd name="T18" fmla="*/ 16 w 56"/>
                  <a:gd name="T19" fmla="*/ 9 h 33"/>
                  <a:gd name="T20" fmla="*/ 2 w 56"/>
                  <a:gd name="T21" fmla="*/ 13 h 33"/>
                  <a:gd name="T22" fmla="*/ 15 w 56"/>
                  <a:gd name="T23" fmla="*/ 12 h 33"/>
                  <a:gd name="T24" fmla="*/ 27 w 56"/>
                  <a:gd name="T25" fmla="*/ 16 h 33"/>
                  <a:gd name="T26" fmla="*/ 24 w 56"/>
                  <a:gd name="T27" fmla="*/ 19 h 33"/>
                  <a:gd name="T28" fmla="*/ 6 w 56"/>
                  <a:gd name="T29" fmla="*/ 23 h 33"/>
                  <a:gd name="T30" fmla="*/ 24 w 56"/>
                  <a:gd name="T31" fmla="*/ 21 h 33"/>
                  <a:gd name="T32" fmla="*/ 28 w 56"/>
                  <a:gd name="T33" fmla="*/ 23 h 33"/>
                  <a:gd name="T34" fmla="*/ 24 w 56"/>
                  <a:gd name="T35" fmla="*/ 25 h 33"/>
                  <a:gd name="T36" fmla="*/ 15 w 56"/>
                  <a:gd name="T37" fmla="*/ 27 h 33"/>
                  <a:gd name="T38" fmla="*/ 28 w 56"/>
                  <a:gd name="T39" fmla="*/ 29 h 33"/>
                  <a:gd name="T40" fmla="*/ 31 w 56"/>
                  <a:gd name="T41" fmla="*/ 31 h 33"/>
                  <a:gd name="connsiteX0" fmla="*/ 5226 w 9533"/>
                  <a:gd name="connsiteY0" fmla="*/ 8343 h 8494"/>
                  <a:gd name="connsiteX1" fmla="*/ 7904 w 9533"/>
                  <a:gd name="connsiteY1" fmla="*/ 4101 h 8494"/>
                  <a:gd name="connsiteX2" fmla="*/ 9511 w 9533"/>
                  <a:gd name="connsiteY2" fmla="*/ 2585 h 8494"/>
                  <a:gd name="connsiteX3" fmla="*/ 7726 w 9533"/>
                  <a:gd name="connsiteY3" fmla="*/ 3191 h 8494"/>
                  <a:gd name="connsiteX4" fmla="*/ 6119 w 9533"/>
                  <a:gd name="connsiteY4" fmla="*/ 5010 h 8494"/>
                  <a:gd name="connsiteX5" fmla="*/ 6476 w 9533"/>
                  <a:gd name="connsiteY5" fmla="*/ 3191 h 8494"/>
                  <a:gd name="connsiteX6" fmla="*/ 8976 w 9533"/>
                  <a:gd name="connsiteY6" fmla="*/ 767 h 8494"/>
                  <a:gd name="connsiteX7" fmla="*/ 7369 w 9533"/>
                  <a:gd name="connsiteY7" fmla="*/ 161 h 8494"/>
                  <a:gd name="connsiteX8" fmla="*/ 5457 w 9533"/>
                  <a:gd name="connsiteY8" fmla="*/ 2303 h 8494"/>
                  <a:gd name="connsiteX9" fmla="*/ 2547 w 9533"/>
                  <a:gd name="connsiteY9" fmla="*/ 1676 h 8494"/>
                  <a:gd name="connsiteX10" fmla="*/ 47 w 9533"/>
                  <a:gd name="connsiteY10" fmla="*/ 2888 h 8494"/>
                  <a:gd name="connsiteX11" fmla="*/ 2369 w 9533"/>
                  <a:gd name="connsiteY11" fmla="*/ 2585 h 8494"/>
                  <a:gd name="connsiteX12" fmla="*/ 4511 w 9533"/>
                  <a:gd name="connsiteY12" fmla="*/ 3797 h 8494"/>
                  <a:gd name="connsiteX13" fmla="*/ 3976 w 9533"/>
                  <a:gd name="connsiteY13" fmla="*/ 4707 h 8494"/>
                  <a:gd name="connsiteX14" fmla="*/ 761 w 9533"/>
                  <a:gd name="connsiteY14" fmla="*/ 5919 h 8494"/>
                  <a:gd name="connsiteX15" fmla="*/ 3976 w 9533"/>
                  <a:gd name="connsiteY15" fmla="*/ 5313 h 8494"/>
                  <a:gd name="connsiteX16" fmla="*/ 4690 w 9533"/>
                  <a:gd name="connsiteY16" fmla="*/ 5919 h 8494"/>
                  <a:gd name="connsiteX17" fmla="*/ 3976 w 9533"/>
                  <a:gd name="connsiteY17" fmla="*/ 6525 h 8494"/>
                  <a:gd name="connsiteX18" fmla="*/ 2369 w 9533"/>
                  <a:gd name="connsiteY18" fmla="*/ 7131 h 8494"/>
                  <a:gd name="connsiteX19" fmla="*/ 4690 w 9533"/>
                  <a:gd name="connsiteY19" fmla="*/ 7737 h 8494"/>
                  <a:gd name="connsiteX20" fmla="*/ 5226 w 9533"/>
                  <a:gd name="connsiteY20" fmla="*/ 8343 h 8494"/>
                  <a:gd name="connsiteX0" fmla="*/ 5482 w 10001"/>
                  <a:gd name="connsiteY0" fmla="*/ 9253 h 9431"/>
                  <a:gd name="connsiteX1" fmla="*/ 8291 w 10001"/>
                  <a:gd name="connsiteY1" fmla="*/ 4259 h 9431"/>
                  <a:gd name="connsiteX2" fmla="*/ 9977 w 10001"/>
                  <a:gd name="connsiteY2" fmla="*/ 2474 h 9431"/>
                  <a:gd name="connsiteX3" fmla="*/ 8104 w 10001"/>
                  <a:gd name="connsiteY3" fmla="*/ 3188 h 9431"/>
                  <a:gd name="connsiteX4" fmla="*/ 6419 w 10001"/>
                  <a:gd name="connsiteY4" fmla="*/ 5329 h 9431"/>
                  <a:gd name="connsiteX5" fmla="*/ 6793 w 10001"/>
                  <a:gd name="connsiteY5" fmla="*/ 3188 h 9431"/>
                  <a:gd name="connsiteX6" fmla="*/ 9416 w 10001"/>
                  <a:gd name="connsiteY6" fmla="*/ 334 h 9431"/>
                  <a:gd name="connsiteX7" fmla="*/ 8428 w 10001"/>
                  <a:gd name="connsiteY7" fmla="*/ 260 h 9431"/>
                  <a:gd name="connsiteX8" fmla="*/ 5724 w 10001"/>
                  <a:gd name="connsiteY8" fmla="*/ 2142 h 9431"/>
                  <a:gd name="connsiteX9" fmla="*/ 2672 w 10001"/>
                  <a:gd name="connsiteY9" fmla="*/ 1404 h 9431"/>
                  <a:gd name="connsiteX10" fmla="*/ 49 w 10001"/>
                  <a:gd name="connsiteY10" fmla="*/ 2831 h 9431"/>
                  <a:gd name="connsiteX11" fmla="*/ 2485 w 10001"/>
                  <a:gd name="connsiteY11" fmla="*/ 2474 h 9431"/>
                  <a:gd name="connsiteX12" fmla="*/ 4732 w 10001"/>
                  <a:gd name="connsiteY12" fmla="*/ 3901 h 9431"/>
                  <a:gd name="connsiteX13" fmla="*/ 4171 w 10001"/>
                  <a:gd name="connsiteY13" fmla="*/ 4973 h 9431"/>
                  <a:gd name="connsiteX14" fmla="*/ 798 w 10001"/>
                  <a:gd name="connsiteY14" fmla="*/ 6399 h 9431"/>
                  <a:gd name="connsiteX15" fmla="*/ 4171 w 10001"/>
                  <a:gd name="connsiteY15" fmla="*/ 5686 h 9431"/>
                  <a:gd name="connsiteX16" fmla="*/ 4920 w 10001"/>
                  <a:gd name="connsiteY16" fmla="*/ 6399 h 9431"/>
                  <a:gd name="connsiteX17" fmla="*/ 4171 w 10001"/>
                  <a:gd name="connsiteY17" fmla="*/ 7113 h 9431"/>
                  <a:gd name="connsiteX18" fmla="*/ 2485 w 10001"/>
                  <a:gd name="connsiteY18" fmla="*/ 7826 h 9431"/>
                  <a:gd name="connsiteX19" fmla="*/ 4920 w 10001"/>
                  <a:gd name="connsiteY19" fmla="*/ 8540 h 9431"/>
                  <a:gd name="connsiteX20" fmla="*/ 5482 w 10001"/>
                  <a:gd name="connsiteY20" fmla="*/ 9253 h 9431"/>
                  <a:gd name="connsiteX0" fmla="*/ 5481 w 10000"/>
                  <a:gd name="connsiteY0" fmla="*/ 9811 h 10000"/>
                  <a:gd name="connsiteX1" fmla="*/ 8290 w 10000"/>
                  <a:gd name="connsiteY1" fmla="*/ 4516 h 10000"/>
                  <a:gd name="connsiteX2" fmla="*/ 9976 w 10000"/>
                  <a:gd name="connsiteY2" fmla="*/ 2623 h 10000"/>
                  <a:gd name="connsiteX3" fmla="*/ 8103 w 10000"/>
                  <a:gd name="connsiteY3" fmla="*/ 3380 h 10000"/>
                  <a:gd name="connsiteX4" fmla="*/ 6418 w 10000"/>
                  <a:gd name="connsiteY4" fmla="*/ 5651 h 10000"/>
                  <a:gd name="connsiteX5" fmla="*/ 6792 w 10000"/>
                  <a:gd name="connsiteY5" fmla="*/ 3380 h 10000"/>
                  <a:gd name="connsiteX6" fmla="*/ 9415 w 10000"/>
                  <a:gd name="connsiteY6" fmla="*/ 354 h 10000"/>
                  <a:gd name="connsiteX7" fmla="*/ 8427 w 10000"/>
                  <a:gd name="connsiteY7" fmla="*/ 276 h 10000"/>
                  <a:gd name="connsiteX8" fmla="*/ 5723 w 10000"/>
                  <a:gd name="connsiteY8" fmla="*/ 2271 h 10000"/>
                  <a:gd name="connsiteX9" fmla="*/ 4190 w 10000"/>
                  <a:gd name="connsiteY9" fmla="*/ 2074 h 10000"/>
                  <a:gd name="connsiteX10" fmla="*/ 2672 w 10000"/>
                  <a:gd name="connsiteY10" fmla="*/ 1489 h 10000"/>
                  <a:gd name="connsiteX11" fmla="*/ 49 w 10000"/>
                  <a:gd name="connsiteY11" fmla="*/ 3002 h 10000"/>
                  <a:gd name="connsiteX12" fmla="*/ 2485 w 10000"/>
                  <a:gd name="connsiteY12" fmla="*/ 2623 h 10000"/>
                  <a:gd name="connsiteX13" fmla="*/ 4732 w 10000"/>
                  <a:gd name="connsiteY13" fmla="*/ 4136 h 10000"/>
                  <a:gd name="connsiteX14" fmla="*/ 4171 w 10000"/>
                  <a:gd name="connsiteY14" fmla="*/ 5273 h 10000"/>
                  <a:gd name="connsiteX15" fmla="*/ 798 w 10000"/>
                  <a:gd name="connsiteY15" fmla="*/ 6785 h 10000"/>
                  <a:gd name="connsiteX16" fmla="*/ 4171 w 10000"/>
                  <a:gd name="connsiteY16" fmla="*/ 6029 h 10000"/>
                  <a:gd name="connsiteX17" fmla="*/ 4920 w 10000"/>
                  <a:gd name="connsiteY17" fmla="*/ 6785 h 10000"/>
                  <a:gd name="connsiteX18" fmla="*/ 4171 w 10000"/>
                  <a:gd name="connsiteY18" fmla="*/ 7542 h 10000"/>
                  <a:gd name="connsiteX19" fmla="*/ 2485 w 10000"/>
                  <a:gd name="connsiteY19" fmla="*/ 8298 h 10000"/>
                  <a:gd name="connsiteX20" fmla="*/ 4920 w 10000"/>
                  <a:gd name="connsiteY20" fmla="*/ 9055 h 10000"/>
                  <a:gd name="connsiteX21" fmla="*/ 5481 w 10000"/>
                  <a:gd name="connsiteY21" fmla="*/ 9811 h 10000"/>
                  <a:gd name="connsiteX0" fmla="*/ 5481 w 10000"/>
                  <a:gd name="connsiteY0" fmla="*/ 9840 h 10029"/>
                  <a:gd name="connsiteX1" fmla="*/ 8290 w 10000"/>
                  <a:gd name="connsiteY1" fmla="*/ 4545 h 10029"/>
                  <a:gd name="connsiteX2" fmla="*/ 9976 w 10000"/>
                  <a:gd name="connsiteY2" fmla="*/ 2652 h 10029"/>
                  <a:gd name="connsiteX3" fmla="*/ 8103 w 10000"/>
                  <a:gd name="connsiteY3" fmla="*/ 3409 h 10029"/>
                  <a:gd name="connsiteX4" fmla="*/ 6418 w 10000"/>
                  <a:gd name="connsiteY4" fmla="*/ 5680 h 10029"/>
                  <a:gd name="connsiteX5" fmla="*/ 6792 w 10000"/>
                  <a:gd name="connsiteY5" fmla="*/ 3409 h 10029"/>
                  <a:gd name="connsiteX6" fmla="*/ 9415 w 10000"/>
                  <a:gd name="connsiteY6" fmla="*/ 383 h 10029"/>
                  <a:gd name="connsiteX7" fmla="*/ 8427 w 10000"/>
                  <a:gd name="connsiteY7" fmla="*/ 305 h 10029"/>
                  <a:gd name="connsiteX8" fmla="*/ 5511 w 10000"/>
                  <a:gd name="connsiteY8" fmla="*/ 2793 h 10029"/>
                  <a:gd name="connsiteX9" fmla="*/ 4190 w 10000"/>
                  <a:gd name="connsiteY9" fmla="*/ 2103 h 10029"/>
                  <a:gd name="connsiteX10" fmla="*/ 2672 w 10000"/>
                  <a:gd name="connsiteY10" fmla="*/ 1518 h 10029"/>
                  <a:gd name="connsiteX11" fmla="*/ 49 w 10000"/>
                  <a:gd name="connsiteY11" fmla="*/ 3031 h 10029"/>
                  <a:gd name="connsiteX12" fmla="*/ 2485 w 10000"/>
                  <a:gd name="connsiteY12" fmla="*/ 2652 h 10029"/>
                  <a:gd name="connsiteX13" fmla="*/ 4732 w 10000"/>
                  <a:gd name="connsiteY13" fmla="*/ 4165 h 10029"/>
                  <a:gd name="connsiteX14" fmla="*/ 4171 w 10000"/>
                  <a:gd name="connsiteY14" fmla="*/ 5302 h 10029"/>
                  <a:gd name="connsiteX15" fmla="*/ 798 w 10000"/>
                  <a:gd name="connsiteY15" fmla="*/ 6814 h 10029"/>
                  <a:gd name="connsiteX16" fmla="*/ 4171 w 10000"/>
                  <a:gd name="connsiteY16" fmla="*/ 6058 h 10029"/>
                  <a:gd name="connsiteX17" fmla="*/ 4920 w 10000"/>
                  <a:gd name="connsiteY17" fmla="*/ 6814 h 10029"/>
                  <a:gd name="connsiteX18" fmla="*/ 4171 w 10000"/>
                  <a:gd name="connsiteY18" fmla="*/ 7571 h 10029"/>
                  <a:gd name="connsiteX19" fmla="*/ 2485 w 10000"/>
                  <a:gd name="connsiteY19" fmla="*/ 8327 h 10029"/>
                  <a:gd name="connsiteX20" fmla="*/ 4920 w 10000"/>
                  <a:gd name="connsiteY20" fmla="*/ 9084 h 10029"/>
                  <a:gd name="connsiteX21" fmla="*/ 5481 w 10000"/>
                  <a:gd name="connsiteY21" fmla="*/ 9840 h 10029"/>
                  <a:gd name="connsiteX0" fmla="*/ 5481 w 10000"/>
                  <a:gd name="connsiteY0" fmla="*/ 9840 h 10029"/>
                  <a:gd name="connsiteX1" fmla="*/ 8290 w 10000"/>
                  <a:gd name="connsiteY1" fmla="*/ 4545 h 10029"/>
                  <a:gd name="connsiteX2" fmla="*/ 9976 w 10000"/>
                  <a:gd name="connsiteY2" fmla="*/ 2652 h 10029"/>
                  <a:gd name="connsiteX3" fmla="*/ 8103 w 10000"/>
                  <a:gd name="connsiteY3" fmla="*/ 3409 h 10029"/>
                  <a:gd name="connsiteX4" fmla="*/ 6418 w 10000"/>
                  <a:gd name="connsiteY4" fmla="*/ 5680 h 10029"/>
                  <a:gd name="connsiteX5" fmla="*/ 6792 w 10000"/>
                  <a:gd name="connsiteY5" fmla="*/ 3409 h 10029"/>
                  <a:gd name="connsiteX6" fmla="*/ 9415 w 10000"/>
                  <a:gd name="connsiteY6" fmla="*/ 383 h 10029"/>
                  <a:gd name="connsiteX7" fmla="*/ 8427 w 10000"/>
                  <a:gd name="connsiteY7" fmla="*/ 305 h 10029"/>
                  <a:gd name="connsiteX8" fmla="*/ 5511 w 10000"/>
                  <a:gd name="connsiteY8" fmla="*/ 2793 h 10029"/>
                  <a:gd name="connsiteX9" fmla="*/ 4190 w 10000"/>
                  <a:gd name="connsiteY9" fmla="*/ 2103 h 10029"/>
                  <a:gd name="connsiteX10" fmla="*/ 2156 w 10000"/>
                  <a:gd name="connsiteY10" fmla="*/ 1764 h 10029"/>
                  <a:gd name="connsiteX11" fmla="*/ 49 w 10000"/>
                  <a:gd name="connsiteY11" fmla="*/ 3031 h 10029"/>
                  <a:gd name="connsiteX12" fmla="*/ 2485 w 10000"/>
                  <a:gd name="connsiteY12" fmla="*/ 2652 h 10029"/>
                  <a:gd name="connsiteX13" fmla="*/ 4732 w 10000"/>
                  <a:gd name="connsiteY13" fmla="*/ 4165 h 10029"/>
                  <a:gd name="connsiteX14" fmla="*/ 4171 w 10000"/>
                  <a:gd name="connsiteY14" fmla="*/ 5302 h 10029"/>
                  <a:gd name="connsiteX15" fmla="*/ 798 w 10000"/>
                  <a:gd name="connsiteY15" fmla="*/ 6814 h 10029"/>
                  <a:gd name="connsiteX16" fmla="*/ 4171 w 10000"/>
                  <a:gd name="connsiteY16" fmla="*/ 6058 h 10029"/>
                  <a:gd name="connsiteX17" fmla="*/ 4920 w 10000"/>
                  <a:gd name="connsiteY17" fmla="*/ 6814 h 10029"/>
                  <a:gd name="connsiteX18" fmla="*/ 4171 w 10000"/>
                  <a:gd name="connsiteY18" fmla="*/ 7571 h 10029"/>
                  <a:gd name="connsiteX19" fmla="*/ 2485 w 10000"/>
                  <a:gd name="connsiteY19" fmla="*/ 8327 h 10029"/>
                  <a:gd name="connsiteX20" fmla="*/ 4920 w 10000"/>
                  <a:gd name="connsiteY20" fmla="*/ 9084 h 10029"/>
                  <a:gd name="connsiteX21" fmla="*/ 5481 w 10000"/>
                  <a:gd name="connsiteY21" fmla="*/ 9840 h 10029"/>
                  <a:gd name="connsiteX0" fmla="*/ 5481 w 10000"/>
                  <a:gd name="connsiteY0" fmla="*/ 9549 h 9738"/>
                  <a:gd name="connsiteX1" fmla="*/ 8290 w 10000"/>
                  <a:gd name="connsiteY1" fmla="*/ 4254 h 9738"/>
                  <a:gd name="connsiteX2" fmla="*/ 9976 w 10000"/>
                  <a:gd name="connsiteY2" fmla="*/ 2361 h 9738"/>
                  <a:gd name="connsiteX3" fmla="*/ 8103 w 10000"/>
                  <a:gd name="connsiteY3" fmla="*/ 3118 h 9738"/>
                  <a:gd name="connsiteX4" fmla="*/ 6418 w 10000"/>
                  <a:gd name="connsiteY4" fmla="*/ 5389 h 9738"/>
                  <a:gd name="connsiteX5" fmla="*/ 6792 w 10000"/>
                  <a:gd name="connsiteY5" fmla="*/ 3118 h 9738"/>
                  <a:gd name="connsiteX6" fmla="*/ 9415 w 10000"/>
                  <a:gd name="connsiteY6" fmla="*/ 92 h 9738"/>
                  <a:gd name="connsiteX7" fmla="*/ 7638 w 10000"/>
                  <a:gd name="connsiteY7" fmla="*/ 938 h 9738"/>
                  <a:gd name="connsiteX8" fmla="*/ 5511 w 10000"/>
                  <a:gd name="connsiteY8" fmla="*/ 2502 h 9738"/>
                  <a:gd name="connsiteX9" fmla="*/ 4190 w 10000"/>
                  <a:gd name="connsiteY9" fmla="*/ 1812 h 9738"/>
                  <a:gd name="connsiteX10" fmla="*/ 2156 w 10000"/>
                  <a:gd name="connsiteY10" fmla="*/ 1473 h 9738"/>
                  <a:gd name="connsiteX11" fmla="*/ 49 w 10000"/>
                  <a:gd name="connsiteY11" fmla="*/ 2740 h 9738"/>
                  <a:gd name="connsiteX12" fmla="*/ 2485 w 10000"/>
                  <a:gd name="connsiteY12" fmla="*/ 2361 h 9738"/>
                  <a:gd name="connsiteX13" fmla="*/ 4732 w 10000"/>
                  <a:gd name="connsiteY13" fmla="*/ 3874 h 9738"/>
                  <a:gd name="connsiteX14" fmla="*/ 4171 w 10000"/>
                  <a:gd name="connsiteY14" fmla="*/ 5011 h 9738"/>
                  <a:gd name="connsiteX15" fmla="*/ 798 w 10000"/>
                  <a:gd name="connsiteY15" fmla="*/ 6523 h 9738"/>
                  <a:gd name="connsiteX16" fmla="*/ 4171 w 10000"/>
                  <a:gd name="connsiteY16" fmla="*/ 5767 h 9738"/>
                  <a:gd name="connsiteX17" fmla="*/ 4920 w 10000"/>
                  <a:gd name="connsiteY17" fmla="*/ 6523 h 9738"/>
                  <a:gd name="connsiteX18" fmla="*/ 4171 w 10000"/>
                  <a:gd name="connsiteY18" fmla="*/ 7280 h 9738"/>
                  <a:gd name="connsiteX19" fmla="*/ 2485 w 10000"/>
                  <a:gd name="connsiteY19" fmla="*/ 8036 h 9738"/>
                  <a:gd name="connsiteX20" fmla="*/ 4920 w 10000"/>
                  <a:gd name="connsiteY20" fmla="*/ 8793 h 9738"/>
                  <a:gd name="connsiteX21" fmla="*/ 5481 w 10000"/>
                  <a:gd name="connsiteY21" fmla="*/ 9549 h 9738"/>
                  <a:gd name="connsiteX0" fmla="*/ 5481 w 10000"/>
                  <a:gd name="connsiteY0" fmla="*/ 9810 h 10004"/>
                  <a:gd name="connsiteX1" fmla="*/ 8290 w 10000"/>
                  <a:gd name="connsiteY1" fmla="*/ 4372 h 10004"/>
                  <a:gd name="connsiteX2" fmla="*/ 9976 w 10000"/>
                  <a:gd name="connsiteY2" fmla="*/ 2429 h 10004"/>
                  <a:gd name="connsiteX3" fmla="*/ 8103 w 10000"/>
                  <a:gd name="connsiteY3" fmla="*/ 3206 h 10004"/>
                  <a:gd name="connsiteX4" fmla="*/ 6418 w 10000"/>
                  <a:gd name="connsiteY4" fmla="*/ 5538 h 10004"/>
                  <a:gd name="connsiteX5" fmla="*/ 6792 w 10000"/>
                  <a:gd name="connsiteY5" fmla="*/ 3206 h 10004"/>
                  <a:gd name="connsiteX6" fmla="*/ 9415 w 10000"/>
                  <a:gd name="connsiteY6" fmla="*/ 98 h 10004"/>
                  <a:gd name="connsiteX7" fmla="*/ 7638 w 10000"/>
                  <a:gd name="connsiteY7" fmla="*/ 967 h 10004"/>
                  <a:gd name="connsiteX8" fmla="*/ 5511 w 10000"/>
                  <a:gd name="connsiteY8" fmla="*/ 2952 h 10004"/>
                  <a:gd name="connsiteX9" fmla="*/ 4190 w 10000"/>
                  <a:gd name="connsiteY9" fmla="*/ 1865 h 10004"/>
                  <a:gd name="connsiteX10" fmla="*/ 2156 w 10000"/>
                  <a:gd name="connsiteY10" fmla="*/ 1517 h 10004"/>
                  <a:gd name="connsiteX11" fmla="*/ 49 w 10000"/>
                  <a:gd name="connsiteY11" fmla="*/ 2818 h 10004"/>
                  <a:gd name="connsiteX12" fmla="*/ 2485 w 10000"/>
                  <a:gd name="connsiteY12" fmla="*/ 2429 h 10004"/>
                  <a:gd name="connsiteX13" fmla="*/ 4732 w 10000"/>
                  <a:gd name="connsiteY13" fmla="*/ 3982 h 10004"/>
                  <a:gd name="connsiteX14" fmla="*/ 4171 w 10000"/>
                  <a:gd name="connsiteY14" fmla="*/ 5150 h 10004"/>
                  <a:gd name="connsiteX15" fmla="*/ 798 w 10000"/>
                  <a:gd name="connsiteY15" fmla="*/ 6703 h 10004"/>
                  <a:gd name="connsiteX16" fmla="*/ 4171 w 10000"/>
                  <a:gd name="connsiteY16" fmla="*/ 5926 h 10004"/>
                  <a:gd name="connsiteX17" fmla="*/ 4920 w 10000"/>
                  <a:gd name="connsiteY17" fmla="*/ 6703 h 10004"/>
                  <a:gd name="connsiteX18" fmla="*/ 4171 w 10000"/>
                  <a:gd name="connsiteY18" fmla="*/ 7480 h 10004"/>
                  <a:gd name="connsiteX19" fmla="*/ 2485 w 10000"/>
                  <a:gd name="connsiteY19" fmla="*/ 8256 h 10004"/>
                  <a:gd name="connsiteX20" fmla="*/ 4920 w 10000"/>
                  <a:gd name="connsiteY20" fmla="*/ 9034 h 10004"/>
                  <a:gd name="connsiteX21" fmla="*/ 5481 w 10000"/>
                  <a:gd name="connsiteY21" fmla="*/ 9810 h 10004"/>
                  <a:gd name="connsiteX0" fmla="*/ 5481 w 10000"/>
                  <a:gd name="connsiteY0" fmla="*/ 9810 h 10004"/>
                  <a:gd name="connsiteX1" fmla="*/ 8290 w 10000"/>
                  <a:gd name="connsiteY1" fmla="*/ 4372 h 10004"/>
                  <a:gd name="connsiteX2" fmla="*/ 9976 w 10000"/>
                  <a:gd name="connsiteY2" fmla="*/ 2429 h 10004"/>
                  <a:gd name="connsiteX3" fmla="*/ 8103 w 10000"/>
                  <a:gd name="connsiteY3" fmla="*/ 3206 h 10004"/>
                  <a:gd name="connsiteX4" fmla="*/ 6418 w 10000"/>
                  <a:gd name="connsiteY4" fmla="*/ 5538 h 10004"/>
                  <a:gd name="connsiteX5" fmla="*/ 6792 w 10000"/>
                  <a:gd name="connsiteY5" fmla="*/ 3206 h 10004"/>
                  <a:gd name="connsiteX6" fmla="*/ 9415 w 10000"/>
                  <a:gd name="connsiteY6" fmla="*/ 98 h 10004"/>
                  <a:gd name="connsiteX7" fmla="*/ 7638 w 10000"/>
                  <a:gd name="connsiteY7" fmla="*/ 967 h 10004"/>
                  <a:gd name="connsiteX8" fmla="*/ 5511 w 10000"/>
                  <a:gd name="connsiteY8" fmla="*/ 2952 h 10004"/>
                  <a:gd name="connsiteX9" fmla="*/ 3826 w 10000"/>
                  <a:gd name="connsiteY9" fmla="*/ 1928 h 10004"/>
                  <a:gd name="connsiteX10" fmla="*/ 2156 w 10000"/>
                  <a:gd name="connsiteY10" fmla="*/ 1517 h 10004"/>
                  <a:gd name="connsiteX11" fmla="*/ 49 w 10000"/>
                  <a:gd name="connsiteY11" fmla="*/ 2818 h 10004"/>
                  <a:gd name="connsiteX12" fmla="*/ 2485 w 10000"/>
                  <a:gd name="connsiteY12" fmla="*/ 2429 h 10004"/>
                  <a:gd name="connsiteX13" fmla="*/ 4732 w 10000"/>
                  <a:gd name="connsiteY13" fmla="*/ 3982 h 10004"/>
                  <a:gd name="connsiteX14" fmla="*/ 4171 w 10000"/>
                  <a:gd name="connsiteY14" fmla="*/ 5150 h 10004"/>
                  <a:gd name="connsiteX15" fmla="*/ 798 w 10000"/>
                  <a:gd name="connsiteY15" fmla="*/ 6703 h 10004"/>
                  <a:gd name="connsiteX16" fmla="*/ 4171 w 10000"/>
                  <a:gd name="connsiteY16" fmla="*/ 5926 h 10004"/>
                  <a:gd name="connsiteX17" fmla="*/ 4920 w 10000"/>
                  <a:gd name="connsiteY17" fmla="*/ 6703 h 10004"/>
                  <a:gd name="connsiteX18" fmla="*/ 4171 w 10000"/>
                  <a:gd name="connsiteY18" fmla="*/ 7480 h 10004"/>
                  <a:gd name="connsiteX19" fmla="*/ 2485 w 10000"/>
                  <a:gd name="connsiteY19" fmla="*/ 8256 h 10004"/>
                  <a:gd name="connsiteX20" fmla="*/ 4920 w 10000"/>
                  <a:gd name="connsiteY20" fmla="*/ 9034 h 10004"/>
                  <a:gd name="connsiteX21" fmla="*/ 5481 w 10000"/>
                  <a:gd name="connsiteY21" fmla="*/ 9810 h 10004"/>
                  <a:gd name="connsiteX0" fmla="*/ 5481 w 10000"/>
                  <a:gd name="connsiteY0" fmla="*/ 9803 h 9997"/>
                  <a:gd name="connsiteX1" fmla="*/ 8290 w 10000"/>
                  <a:gd name="connsiteY1" fmla="*/ 4365 h 9997"/>
                  <a:gd name="connsiteX2" fmla="*/ 9976 w 10000"/>
                  <a:gd name="connsiteY2" fmla="*/ 2422 h 9997"/>
                  <a:gd name="connsiteX3" fmla="*/ 8103 w 10000"/>
                  <a:gd name="connsiteY3" fmla="*/ 3199 h 9997"/>
                  <a:gd name="connsiteX4" fmla="*/ 6418 w 10000"/>
                  <a:gd name="connsiteY4" fmla="*/ 5531 h 9997"/>
                  <a:gd name="connsiteX5" fmla="*/ 6792 w 10000"/>
                  <a:gd name="connsiteY5" fmla="*/ 3199 h 9997"/>
                  <a:gd name="connsiteX6" fmla="*/ 9415 w 10000"/>
                  <a:gd name="connsiteY6" fmla="*/ 91 h 9997"/>
                  <a:gd name="connsiteX7" fmla="*/ 7759 w 10000"/>
                  <a:gd name="connsiteY7" fmla="*/ 1023 h 9997"/>
                  <a:gd name="connsiteX8" fmla="*/ 5511 w 10000"/>
                  <a:gd name="connsiteY8" fmla="*/ 2945 h 9997"/>
                  <a:gd name="connsiteX9" fmla="*/ 3826 w 10000"/>
                  <a:gd name="connsiteY9" fmla="*/ 1921 h 9997"/>
                  <a:gd name="connsiteX10" fmla="*/ 2156 w 10000"/>
                  <a:gd name="connsiteY10" fmla="*/ 1510 h 9997"/>
                  <a:gd name="connsiteX11" fmla="*/ 49 w 10000"/>
                  <a:gd name="connsiteY11" fmla="*/ 2811 h 9997"/>
                  <a:gd name="connsiteX12" fmla="*/ 2485 w 10000"/>
                  <a:gd name="connsiteY12" fmla="*/ 2422 h 9997"/>
                  <a:gd name="connsiteX13" fmla="*/ 4732 w 10000"/>
                  <a:gd name="connsiteY13" fmla="*/ 3975 h 9997"/>
                  <a:gd name="connsiteX14" fmla="*/ 4171 w 10000"/>
                  <a:gd name="connsiteY14" fmla="*/ 5143 h 9997"/>
                  <a:gd name="connsiteX15" fmla="*/ 798 w 10000"/>
                  <a:gd name="connsiteY15" fmla="*/ 6696 h 9997"/>
                  <a:gd name="connsiteX16" fmla="*/ 4171 w 10000"/>
                  <a:gd name="connsiteY16" fmla="*/ 5919 h 9997"/>
                  <a:gd name="connsiteX17" fmla="*/ 4920 w 10000"/>
                  <a:gd name="connsiteY17" fmla="*/ 6696 h 9997"/>
                  <a:gd name="connsiteX18" fmla="*/ 4171 w 10000"/>
                  <a:gd name="connsiteY18" fmla="*/ 7473 h 9997"/>
                  <a:gd name="connsiteX19" fmla="*/ 2485 w 10000"/>
                  <a:gd name="connsiteY19" fmla="*/ 8249 h 9997"/>
                  <a:gd name="connsiteX20" fmla="*/ 4920 w 10000"/>
                  <a:gd name="connsiteY20" fmla="*/ 9027 h 9997"/>
                  <a:gd name="connsiteX21" fmla="*/ 5481 w 10000"/>
                  <a:gd name="connsiteY21" fmla="*/ 9803 h 9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000" h="9997">
                    <a:moveTo>
                      <a:pt x="5481" y="9803"/>
                    </a:moveTo>
                    <a:cubicBezTo>
                      <a:pt x="5481" y="9803"/>
                      <a:pt x="7353" y="5143"/>
                      <a:pt x="8290" y="4365"/>
                    </a:cubicBezTo>
                    <a:cubicBezTo>
                      <a:pt x="9227" y="3199"/>
                      <a:pt x="9601" y="2811"/>
                      <a:pt x="9976" y="2422"/>
                    </a:cubicBezTo>
                    <a:cubicBezTo>
                      <a:pt x="10164" y="2422"/>
                      <a:pt x="9227" y="2034"/>
                      <a:pt x="8103" y="3199"/>
                    </a:cubicBezTo>
                    <a:cubicBezTo>
                      <a:pt x="6979" y="4365"/>
                      <a:pt x="6604" y="5531"/>
                      <a:pt x="6418" y="5531"/>
                    </a:cubicBezTo>
                    <a:cubicBezTo>
                      <a:pt x="6230" y="5531"/>
                      <a:pt x="6042" y="4365"/>
                      <a:pt x="6792" y="3199"/>
                    </a:cubicBezTo>
                    <a:cubicBezTo>
                      <a:pt x="7541" y="2422"/>
                      <a:pt x="9254" y="454"/>
                      <a:pt x="9415" y="91"/>
                    </a:cubicBezTo>
                    <a:cubicBezTo>
                      <a:pt x="9576" y="-272"/>
                      <a:pt x="8410" y="547"/>
                      <a:pt x="7759" y="1023"/>
                    </a:cubicBezTo>
                    <a:cubicBezTo>
                      <a:pt x="7108" y="1499"/>
                      <a:pt x="6435" y="2753"/>
                      <a:pt x="5511" y="2945"/>
                    </a:cubicBezTo>
                    <a:cubicBezTo>
                      <a:pt x="4587" y="3137"/>
                      <a:pt x="4334" y="2054"/>
                      <a:pt x="3826" y="1921"/>
                    </a:cubicBezTo>
                    <a:cubicBezTo>
                      <a:pt x="3318" y="1787"/>
                      <a:pt x="2629" y="1235"/>
                      <a:pt x="2156" y="1510"/>
                    </a:cubicBezTo>
                    <a:cubicBezTo>
                      <a:pt x="1032" y="1898"/>
                      <a:pt x="237" y="2034"/>
                      <a:pt x="49" y="2811"/>
                    </a:cubicBezTo>
                    <a:cubicBezTo>
                      <a:pt x="-325" y="3199"/>
                      <a:pt x="1548" y="2034"/>
                      <a:pt x="2485" y="2422"/>
                    </a:cubicBezTo>
                    <a:cubicBezTo>
                      <a:pt x="3421" y="2811"/>
                      <a:pt x="4357" y="3587"/>
                      <a:pt x="4732" y="3975"/>
                    </a:cubicBezTo>
                    <a:cubicBezTo>
                      <a:pt x="5107" y="4365"/>
                      <a:pt x="5481" y="5531"/>
                      <a:pt x="4171" y="5143"/>
                    </a:cubicBezTo>
                    <a:cubicBezTo>
                      <a:pt x="2860" y="4754"/>
                      <a:pt x="1174" y="5143"/>
                      <a:pt x="798" y="6696"/>
                    </a:cubicBezTo>
                    <a:cubicBezTo>
                      <a:pt x="424" y="8249"/>
                      <a:pt x="1735" y="4365"/>
                      <a:pt x="4171" y="5919"/>
                    </a:cubicBezTo>
                    <a:cubicBezTo>
                      <a:pt x="4171" y="5919"/>
                      <a:pt x="4920" y="6308"/>
                      <a:pt x="4920" y="6696"/>
                    </a:cubicBezTo>
                    <a:cubicBezTo>
                      <a:pt x="5107" y="7085"/>
                      <a:pt x="5107" y="7473"/>
                      <a:pt x="4171" y="7473"/>
                    </a:cubicBezTo>
                    <a:cubicBezTo>
                      <a:pt x="3234" y="7862"/>
                      <a:pt x="2672" y="7862"/>
                      <a:pt x="2485" y="8249"/>
                    </a:cubicBezTo>
                    <a:cubicBezTo>
                      <a:pt x="2297" y="8638"/>
                      <a:pt x="4545" y="7862"/>
                      <a:pt x="4920" y="9027"/>
                    </a:cubicBezTo>
                    <a:cubicBezTo>
                      <a:pt x="5293" y="10580"/>
                      <a:pt x="5293" y="9803"/>
                      <a:pt x="5481" y="9803"/>
                    </a:cubicBez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:a16="http://schemas.microsoft.com/office/drawing/2014/main" id="{F4C0621D-9739-4F46-B5B2-5AB3A7CF90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0263" y="3170238"/>
                <a:ext cx="57150" cy="30162"/>
              </a:xfrm>
              <a:custGeom>
                <a:avLst/>
                <a:gdLst>
                  <a:gd name="T0" fmla="*/ 1 w 15"/>
                  <a:gd name="T1" fmla="*/ 7 h 8"/>
                  <a:gd name="T2" fmla="*/ 9 w 15"/>
                  <a:gd name="T3" fmla="*/ 1 h 8"/>
                  <a:gd name="T4" fmla="*/ 10 w 15"/>
                  <a:gd name="T5" fmla="*/ 3 h 8"/>
                  <a:gd name="T6" fmla="*/ 0 w 15"/>
                  <a:gd name="T7" fmla="*/ 8 h 8"/>
                  <a:gd name="T8" fmla="*/ 1 w 15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8">
                    <a:moveTo>
                      <a:pt x="1" y="7"/>
                    </a:moveTo>
                    <a:cubicBezTo>
                      <a:pt x="1" y="7"/>
                      <a:pt x="7" y="3"/>
                      <a:pt x="9" y="1"/>
                    </a:cubicBezTo>
                    <a:cubicBezTo>
                      <a:pt x="9" y="1"/>
                      <a:pt x="15" y="0"/>
                      <a:pt x="10" y="3"/>
                    </a:cubicBezTo>
                    <a:cubicBezTo>
                      <a:pt x="5" y="6"/>
                      <a:pt x="0" y="8"/>
                      <a:pt x="0" y="8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51">
                <a:extLst>
                  <a:ext uri="{FF2B5EF4-FFF2-40B4-BE49-F238E27FC236}">
                    <a16:creationId xmlns:a16="http://schemas.microsoft.com/office/drawing/2014/main" id="{583B3C05-C66B-4DFB-99D4-F6F88073E0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7576" y="3548063"/>
                <a:ext cx="93663" cy="200025"/>
              </a:xfrm>
              <a:custGeom>
                <a:avLst/>
                <a:gdLst>
                  <a:gd name="T0" fmla="*/ 0 w 25"/>
                  <a:gd name="T1" fmla="*/ 49 h 53"/>
                  <a:gd name="T2" fmla="*/ 15 w 25"/>
                  <a:gd name="T3" fmla="*/ 18 h 53"/>
                  <a:gd name="T4" fmla="*/ 22 w 25"/>
                  <a:gd name="T5" fmla="*/ 3 h 53"/>
                  <a:gd name="T6" fmla="*/ 18 w 25"/>
                  <a:gd name="T7" fmla="*/ 17 h 53"/>
                  <a:gd name="T8" fmla="*/ 0 w 25"/>
                  <a:gd name="T9" fmla="*/ 53 h 53"/>
                  <a:gd name="T10" fmla="*/ 0 w 25"/>
                  <a:gd name="T11" fmla="*/ 4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53">
                    <a:moveTo>
                      <a:pt x="0" y="49"/>
                    </a:moveTo>
                    <a:cubicBezTo>
                      <a:pt x="0" y="49"/>
                      <a:pt x="14" y="22"/>
                      <a:pt x="15" y="18"/>
                    </a:cubicBezTo>
                    <a:cubicBezTo>
                      <a:pt x="17" y="14"/>
                      <a:pt x="20" y="5"/>
                      <a:pt x="22" y="3"/>
                    </a:cubicBezTo>
                    <a:cubicBezTo>
                      <a:pt x="25" y="0"/>
                      <a:pt x="19" y="11"/>
                      <a:pt x="18" y="17"/>
                    </a:cubicBezTo>
                    <a:cubicBezTo>
                      <a:pt x="17" y="22"/>
                      <a:pt x="1" y="51"/>
                      <a:pt x="0" y="53"/>
                    </a:cubicBez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52">
                <a:extLst>
                  <a:ext uri="{FF2B5EF4-FFF2-40B4-BE49-F238E27FC236}">
                    <a16:creationId xmlns:a16="http://schemas.microsoft.com/office/drawing/2014/main" id="{CB6D81FB-D12D-477E-B6AC-037C002848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9801" y="3836988"/>
                <a:ext cx="57150" cy="19050"/>
              </a:xfrm>
              <a:custGeom>
                <a:avLst/>
                <a:gdLst>
                  <a:gd name="T0" fmla="*/ 15 w 15"/>
                  <a:gd name="T1" fmla="*/ 0 h 5"/>
                  <a:gd name="T2" fmla="*/ 1 w 15"/>
                  <a:gd name="T3" fmla="*/ 2 h 5"/>
                  <a:gd name="T4" fmla="*/ 15 w 15"/>
                  <a:gd name="T5" fmla="*/ 3 h 5"/>
                  <a:gd name="T6" fmla="*/ 15 w 15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5">
                    <a:moveTo>
                      <a:pt x="15" y="0"/>
                    </a:moveTo>
                    <a:cubicBezTo>
                      <a:pt x="15" y="0"/>
                      <a:pt x="6" y="3"/>
                      <a:pt x="1" y="2"/>
                    </a:cubicBezTo>
                    <a:cubicBezTo>
                      <a:pt x="1" y="2"/>
                      <a:pt x="0" y="5"/>
                      <a:pt x="15" y="3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363636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53">
                <a:extLst>
                  <a:ext uri="{FF2B5EF4-FFF2-40B4-BE49-F238E27FC236}">
                    <a16:creationId xmlns:a16="http://schemas.microsoft.com/office/drawing/2014/main" id="{72D0070B-592A-4FCB-A26C-1D6FD9B0CB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2963" y="3859213"/>
                <a:ext cx="74613" cy="15875"/>
              </a:xfrm>
              <a:custGeom>
                <a:avLst/>
                <a:gdLst>
                  <a:gd name="T0" fmla="*/ 1 w 20"/>
                  <a:gd name="T1" fmla="*/ 0 h 4"/>
                  <a:gd name="T2" fmla="*/ 15 w 20"/>
                  <a:gd name="T3" fmla="*/ 1 h 4"/>
                  <a:gd name="T4" fmla="*/ 3 w 20"/>
                  <a:gd name="T5" fmla="*/ 3 h 4"/>
                  <a:gd name="T6" fmla="*/ 0 w 20"/>
                  <a:gd name="T7" fmla="*/ 3 h 4"/>
                  <a:gd name="T8" fmla="*/ 1 w 2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">
                    <a:moveTo>
                      <a:pt x="1" y="0"/>
                    </a:moveTo>
                    <a:cubicBezTo>
                      <a:pt x="1" y="0"/>
                      <a:pt x="11" y="2"/>
                      <a:pt x="15" y="1"/>
                    </a:cubicBezTo>
                    <a:cubicBezTo>
                      <a:pt x="20" y="1"/>
                      <a:pt x="12" y="4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54">
                <a:extLst>
                  <a:ext uri="{FF2B5EF4-FFF2-40B4-BE49-F238E27FC236}">
                    <a16:creationId xmlns:a16="http://schemas.microsoft.com/office/drawing/2014/main" id="{CA47C95E-707E-494E-9C15-784DF8A89A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40588" y="3654425"/>
                <a:ext cx="19050" cy="198437"/>
              </a:xfrm>
              <a:custGeom>
                <a:avLst/>
                <a:gdLst>
                  <a:gd name="T0" fmla="*/ 1 w 5"/>
                  <a:gd name="T1" fmla="*/ 0 h 53"/>
                  <a:gd name="T2" fmla="*/ 0 w 5"/>
                  <a:gd name="T3" fmla="*/ 16 h 53"/>
                  <a:gd name="T4" fmla="*/ 1 w 5"/>
                  <a:gd name="T5" fmla="*/ 31 h 53"/>
                  <a:gd name="T6" fmla="*/ 2 w 5"/>
                  <a:gd name="T7" fmla="*/ 46 h 53"/>
                  <a:gd name="T8" fmla="*/ 4 w 5"/>
                  <a:gd name="T9" fmla="*/ 53 h 53"/>
                  <a:gd name="T10" fmla="*/ 4 w 5"/>
                  <a:gd name="T11" fmla="*/ 42 h 53"/>
                  <a:gd name="T12" fmla="*/ 2 w 5"/>
                  <a:gd name="T13" fmla="*/ 24 h 53"/>
                  <a:gd name="T14" fmla="*/ 1 w 5"/>
                  <a:gd name="T15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3">
                    <a:moveTo>
                      <a:pt x="1" y="0"/>
                    </a:moveTo>
                    <a:cubicBezTo>
                      <a:pt x="1" y="0"/>
                      <a:pt x="0" y="11"/>
                      <a:pt x="0" y="16"/>
                    </a:cubicBezTo>
                    <a:cubicBezTo>
                      <a:pt x="0" y="21"/>
                      <a:pt x="0" y="26"/>
                      <a:pt x="1" y="31"/>
                    </a:cubicBezTo>
                    <a:cubicBezTo>
                      <a:pt x="2" y="36"/>
                      <a:pt x="1" y="41"/>
                      <a:pt x="2" y="46"/>
                    </a:cubicBezTo>
                    <a:cubicBezTo>
                      <a:pt x="2" y="46"/>
                      <a:pt x="4" y="53"/>
                      <a:pt x="4" y="53"/>
                    </a:cubicBezTo>
                    <a:cubicBezTo>
                      <a:pt x="5" y="53"/>
                      <a:pt x="4" y="47"/>
                      <a:pt x="4" y="42"/>
                    </a:cubicBezTo>
                    <a:cubicBezTo>
                      <a:pt x="4" y="38"/>
                      <a:pt x="2" y="27"/>
                      <a:pt x="2" y="24"/>
                    </a:cubicBezTo>
                    <a:cubicBezTo>
                      <a:pt x="1" y="21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55">
                <a:extLst>
                  <a:ext uri="{FF2B5EF4-FFF2-40B4-BE49-F238E27FC236}">
                    <a16:creationId xmlns:a16="http://schemas.microsoft.com/office/drawing/2014/main" id="{F9FC3456-08A3-47B1-B3F8-04DB807E3C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56463" y="3346450"/>
                <a:ext cx="22225" cy="38100"/>
              </a:xfrm>
              <a:custGeom>
                <a:avLst/>
                <a:gdLst>
                  <a:gd name="T0" fmla="*/ 6 w 6"/>
                  <a:gd name="T1" fmla="*/ 0 h 10"/>
                  <a:gd name="T2" fmla="*/ 2 w 6"/>
                  <a:gd name="T3" fmla="*/ 2 h 10"/>
                  <a:gd name="T4" fmla="*/ 3 w 6"/>
                  <a:gd name="T5" fmla="*/ 3 h 10"/>
                  <a:gd name="T6" fmla="*/ 3 w 6"/>
                  <a:gd name="T7" fmla="*/ 6 h 10"/>
                  <a:gd name="T8" fmla="*/ 3 w 6"/>
                  <a:gd name="T9" fmla="*/ 9 h 10"/>
                  <a:gd name="T10" fmla="*/ 5 w 6"/>
                  <a:gd name="T11" fmla="*/ 10 h 10"/>
                  <a:gd name="T12" fmla="*/ 6 w 6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6" y="0"/>
                    </a:moveTo>
                    <a:cubicBezTo>
                      <a:pt x="6" y="0"/>
                      <a:pt x="4" y="2"/>
                      <a:pt x="2" y="2"/>
                    </a:cubicBezTo>
                    <a:cubicBezTo>
                      <a:pt x="0" y="2"/>
                      <a:pt x="0" y="3"/>
                      <a:pt x="3" y="3"/>
                    </a:cubicBezTo>
                    <a:cubicBezTo>
                      <a:pt x="6" y="4"/>
                      <a:pt x="4" y="4"/>
                      <a:pt x="3" y="6"/>
                    </a:cubicBezTo>
                    <a:cubicBezTo>
                      <a:pt x="2" y="7"/>
                      <a:pt x="2" y="9"/>
                      <a:pt x="3" y="9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5" y="10"/>
                      <a:pt x="6" y="4"/>
                      <a:pt x="6" y="0"/>
                    </a:cubicBezTo>
                    <a:close/>
                  </a:path>
                </a:pathLst>
              </a:custGeom>
              <a:solidFill>
                <a:srgbClr val="363636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56">
                <a:extLst>
                  <a:ext uri="{FF2B5EF4-FFF2-40B4-BE49-F238E27FC236}">
                    <a16:creationId xmlns:a16="http://schemas.microsoft.com/office/drawing/2014/main" id="{DE03BAAA-CE9B-4673-A41F-0A6CDF63F5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201" y="3440113"/>
                <a:ext cx="71438" cy="71437"/>
              </a:xfrm>
              <a:custGeom>
                <a:avLst/>
                <a:gdLst>
                  <a:gd name="T0" fmla="*/ 0 w 19"/>
                  <a:gd name="T1" fmla="*/ 0 h 19"/>
                  <a:gd name="T2" fmla="*/ 4 w 19"/>
                  <a:gd name="T3" fmla="*/ 10 h 19"/>
                  <a:gd name="T4" fmla="*/ 13 w 19"/>
                  <a:gd name="T5" fmla="*/ 14 h 19"/>
                  <a:gd name="T6" fmla="*/ 17 w 19"/>
                  <a:gd name="T7" fmla="*/ 7 h 19"/>
                  <a:gd name="T8" fmla="*/ 13 w 19"/>
                  <a:gd name="T9" fmla="*/ 17 h 19"/>
                  <a:gd name="T10" fmla="*/ 5 w 19"/>
                  <a:gd name="T11" fmla="*/ 17 h 19"/>
                  <a:gd name="T12" fmla="*/ 0 w 19"/>
                  <a:gd name="T13" fmla="*/ 4 h 19"/>
                  <a:gd name="T14" fmla="*/ 0 w 19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0"/>
                      <a:pt x="2" y="4"/>
                      <a:pt x="4" y="10"/>
                    </a:cubicBezTo>
                    <a:cubicBezTo>
                      <a:pt x="7" y="16"/>
                      <a:pt x="11" y="15"/>
                      <a:pt x="13" y="14"/>
                    </a:cubicBezTo>
                    <a:cubicBezTo>
                      <a:pt x="15" y="12"/>
                      <a:pt x="16" y="8"/>
                      <a:pt x="17" y="7"/>
                    </a:cubicBezTo>
                    <a:cubicBezTo>
                      <a:pt x="19" y="6"/>
                      <a:pt x="16" y="15"/>
                      <a:pt x="13" y="17"/>
                    </a:cubicBezTo>
                    <a:cubicBezTo>
                      <a:pt x="10" y="18"/>
                      <a:pt x="7" y="19"/>
                      <a:pt x="5" y="17"/>
                    </a:cubicBezTo>
                    <a:cubicBezTo>
                      <a:pt x="4" y="14"/>
                      <a:pt x="0" y="4"/>
                      <a:pt x="0" y="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57">
                <a:extLst>
                  <a:ext uri="{FF2B5EF4-FFF2-40B4-BE49-F238E27FC236}">
                    <a16:creationId xmlns:a16="http://schemas.microsoft.com/office/drawing/2014/main" id="{A494C086-CC1C-4C67-89F9-A9A1BF687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80096"/>
                <a:ext cx="30163" cy="30162"/>
              </a:xfrm>
              <a:custGeom>
                <a:avLst/>
                <a:gdLst>
                  <a:gd name="T0" fmla="*/ 4 w 8"/>
                  <a:gd name="T1" fmla="*/ 1 h 8"/>
                  <a:gd name="T2" fmla="*/ 7 w 8"/>
                  <a:gd name="T3" fmla="*/ 4 h 8"/>
                  <a:gd name="T4" fmla="*/ 7 w 8"/>
                  <a:gd name="T5" fmla="*/ 7 h 8"/>
                  <a:gd name="T6" fmla="*/ 4 w 8"/>
                  <a:gd name="T7" fmla="*/ 5 h 8"/>
                  <a:gd name="T8" fmla="*/ 1 w 8"/>
                  <a:gd name="T9" fmla="*/ 3 h 8"/>
                  <a:gd name="T10" fmla="*/ 1 w 8"/>
                  <a:gd name="T11" fmla="*/ 0 h 8"/>
                  <a:gd name="T12" fmla="*/ 4 w 8"/>
                  <a:gd name="T13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1"/>
                    </a:moveTo>
                    <a:cubicBezTo>
                      <a:pt x="4" y="1"/>
                      <a:pt x="7" y="3"/>
                      <a:pt x="7" y="4"/>
                    </a:cubicBezTo>
                    <a:cubicBezTo>
                      <a:pt x="8" y="6"/>
                      <a:pt x="8" y="8"/>
                      <a:pt x="7" y="7"/>
                    </a:cubicBezTo>
                    <a:cubicBezTo>
                      <a:pt x="6" y="7"/>
                      <a:pt x="6" y="7"/>
                      <a:pt x="4" y="5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58">
                <a:extLst>
                  <a:ext uri="{FF2B5EF4-FFF2-40B4-BE49-F238E27FC236}">
                    <a16:creationId xmlns:a16="http://schemas.microsoft.com/office/drawing/2014/main" id="{B97F8B98-8156-401F-9832-81A735A9AB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8024" y="3915141"/>
                <a:ext cx="19050" cy="22225"/>
              </a:xfrm>
              <a:custGeom>
                <a:avLst/>
                <a:gdLst>
                  <a:gd name="T0" fmla="*/ 4 w 5"/>
                  <a:gd name="T1" fmla="*/ 0 h 6"/>
                  <a:gd name="T2" fmla="*/ 1 w 5"/>
                  <a:gd name="T3" fmla="*/ 4 h 6"/>
                  <a:gd name="T4" fmla="*/ 2 w 5"/>
                  <a:gd name="T5" fmla="*/ 5 h 6"/>
                  <a:gd name="T6" fmla="*/ 4 w 5"/>
                  <a:gd name="T7" fmla="*/ 6 h 6"/>
                  <a:gd name="T8" fmla="*/ 4 w 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cubicBezTo>
                      <a:pt x="4" y="0"/>
                      <a:pt x="1" y="2"/>
                      <a:pt x="1" y="4"/>
                    </a:cubicBezTo>
                    <a:cubicBezTo>
                      <a:pt x="0" y="5"/>
                      <a:pt x="1" y="4"/>
                      <a:pt x="2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5" y="3"/>
                      <a:pt x="4" y="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59">
                <a:extLst>
                  <a:ext uri="{FF2B5EF4-FFF2-40B4-BE49-F238E27FC236}">
                    <a16:creationId xmlns:a16="http://schemas.microsoft.com/office/drawing/2014/main" id="{56AD9DA4-CDFE-4B21-B4B7-01AB9FD3A1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1076" y="3057525"/>
                <a:ext cx="90488" cy="30162"/>
              </a:xfrm>
              <a:custGeom>
                <a:avLst/>
                <a:gdLst>
                  <a:gd name="T0" fmla="*/ 23 w 24"/>
                  <a:gd name="T1" fmla="*/ 0 h 8"/>
                  <a:gd name="T2" fmla="*/ 17 w 24"/>
                  <a:gd name="T3" fmla="*/ 3 h 8"/>
                  <a:gd name="T4" fmla="*/ 7 w 24"/>
                  <a:gd name="T5" fmla="*/ 2 h 8"/>
                  <a:gd name="T6" fmla="*/ 0 w 24"/>
                  <a:gd name="T7" fmla="*/ 5 h 8"/>
                  <a:gd name="T8" fmla="*/ 17 w 24"/>
                  <a:gd name="T9" fmla="*/ 5 h 8"/>
                  <a:gd name="T10" fmla="*/ 23 w 2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8">
                    <a:moveTo>
                      <a:pt x="23" y="0"/>
                    </a:moveTo>
                    <a:cubicBezTo>
                      <a:pt x="23" y="0"/>
                      <a:pt x="21" y="4"/>
                      <a:pt x="17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1" y="4"/>
                      <a:pt x="0" y="5"/>
                    </a:cubicBezTo>
                    <a:cubicBezTo>
                      <a:pt x="0" y="5"/>
                      <a:pt x="13" y="5"/>
                      <a:pt x="17" y="5"/>
                    </a:cubicBezTo>
                    <a:cubicBezTo>
                      <a:pt x="20" y="5"/>
                      <a:pt x="24" y="8"/>
                      <a:pt x="23" y="0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60">
                <a:extLst>
                  <a:ext uri="{FF2B5EF4-FFF2-40B4-BE49-F238E27FC236}">
                    <a16:creationId xmlns:a16="http://schemas.microsoft.com/office/drawing/2014/main" id="{16B725A9-ED28-4912-BA89-31280BAFDA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1057" y="2772079"/>
                <a:ext cx="15875" cy="52387"/>
              </a:xfrm>
              <a:custGeom>
                <a:avLst/>
                <a:gdLst>
                  <a:gd name="T0" fmla="*/ 0 w 4"/>
                  <a:gd name="T1" fmla="*/ 0 h 14"/>
                  <a:gd name="T2" fmla="*/ 2 w 4"/>
                  <a:gd name="T3" fmla="*/ 5 h 14"/>
                  <a:gd name="T4" fmla="*/ 3 w 4"/>
                  <a:gd name="T5" fmla="*/ 11 h 14"/>
                  <a:gd name="T6" fmla="*/ 4 w 4"/>
                  <a:gd name="T7" fmla="*/ 14 h 14"/>
                  <a:gd name="T8" fmla="*/ 0 w 4"/>
                  <a:gd name="T9" fmla="*/ 5 h 14"/>
                  <a:gd name="T10" fmla="*/ 0 w 4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4">
                    <a:moveTo>
                      <a:pt x="0" y="0"/>
                    </a:moveTo>
                    <a:cubicBezTo>
                      <a:pt x="0" y="0"/>
                      <a:pt x="1" y="4"/>
                      <a:pt x="2" y="5"/>
                    </a:cubicBezTo>
                    <a:cubicBezTo>
                      <a:pt x="2" y="6"/>
                      <a:pt x="3" y="10"/>
                      <a:pt x="3" y="11"/>
                    </a:cubicBezTo>
                    <a:cubicBezTo>
                      <a:pt x="3" y="12"/>
                      <a:pt x="4" y="14"/>
                      <a:pt x="4" y="14"/>
                    </a:cubicBezTo>
                    <a:cubicBezTo>
                      <a:pt x="4" y="14"/>
                      <a:pt x="0" y="7"/>
                      <a:pt x="0" y="5"/>
                    </a:cubicBezTo>
                    <a:cubicBezTo>
                      <a:pt x="0" y="3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61">
                <a:extLst>
                  <a:ext uri="{FF2B5EF4-FFF2-40B4-BE49-F238E27FC236}">
                    <a16:creationId xmlns:a16="http://schemas.microsoft.com/office/drawing/2014/main" id="{249B8203-BC89-4F50-9972-A7503B9DF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812" y="3090863"/>
                <a:ext cx="38100" cy="26987"/>
              </a:xfrm>
              <a:custGeom>
                <a:avLst/>
                <a:gdLst>
                  <a:gd name="T0" fmla="*/ 1 w 10"/>
                  <a:gd name="T1" fmla="*/ 0 h 7"/>
                  <a:gd name="T2" fmla="*/ 4 w 10"/>
                  <a:gd name="T3" fmla="*/ 0 h 7"/>
                  <a:gd name="T4" fmla="*/ 7 w 10"/>
                  <a:gd name="T5" fmla="*/ 5 h 7"/>
                  <a:gd name="T6" fmla="*/ 5 w 10"/>
                  <a:gd name="T7" fmla="*/ 6 h 7"/>
                  <a:gd name="T8" fmla="*/ 0 w 10"/>
                  <a:gd name="T9" fmla="*/ 5 h 7"/>
                  <a:gd name="T10" fmla="*/ 1 w 10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4"/>
                      <a:pt x="7" y="5"/>
                    </a:cubicBezTo>
                    <a:cubicBezTo>
                      <a:pt x="10" y="6"/>
                      <a:pt x="7" y="7"/>
                      <a:pt x="5" y="6"/>
                    </a:cubicBezTo>
                    <a:cubicBezTo>
                      <a:pt x="2" y="5"/>
                      <a:pt x="0" y="5"/>
                      <a:pt x="0" y="5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62">
                <a:extLst>
                  <a:ext uri="{FF2B5EF4-FFF2-40B4-BE49-F238E27FC236}">
                    <a16:creationId xmlns:a16="http://schemas.microsoft.com/office/drawing/2014/main" id="{2D3C3120-EA46-483F-BEE0-245178BD10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7251" y="3013075"/>
                <a:ext cx="52388" cy="22225"/>
              </a:xfrm>
              <a:custGeom>
                <a:avLst/>
                <a:gdLst>
                  <a:gd name="T0" fmla="*/ 0 w 14"/>
                  <a:gd name="T1" fmla="*/ 4 h 6"/>
                  <a:gd name="T2" fmla="*/ 7 w 14"/>
                  <a:gd name="T3" fmla="*/ 5 h 6"/>
                  <a:gd name="T4" fmla="*/ 11 w 14"/>
                  <a:gd name="T5" fmla="*/ 4 h 6"/>
                  <a:gd name="T6" fmla="*/ 7 w 14"/>
                  <a:gd name="T7" fmla="*/ 3 h 6"/>
                  <a:gd name="T8" fmla="*/ 0 w 14"/>
                  <a:gd name="T9" fmla="*/ 0 h 6"/>
                  <a:gd name="T10" fmla="*/ 0 w 1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6">
                    <a:moveTo>
                      <a:pt x="0" y="4"/>
                    </a:moveTo>
                    <a:cubicBezTo>
                      <a:pt x="0" y="4"/>
                      <a:pt x="6" y="5"/>
                      <a:pt x="7" y="5"/>
                    </a:cubicBezTo>
                    <a:cubicBezTo>
                      <a:pt x="8" y="6"/>
                      <a:pt x="9" y="3"/>
                      <a:pt x="11" y="4"/>
                    </a:cubicBezTo>
                    <a:cubicBezTo>
                      <a:pt x="13" y="5"/>
                      <a:pt x="14" y="3"/>
                      <a:pt x="7" y="3"/>
                    </a:cubicBezTo>
                    <a:cubicBezTo>
                      <a:pt x="7" y="3"/>
                      <a:pt x="0" y="1"/>
                      <a:pt x="0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64">
                <a:extLst>
                  <a:ext uri="{FF2B5EF4-FFF2-40B4-BE49-F238E27FC236}">
                    <a16:creationId xmlns:a16="http://schemas.microsoft.com/office/drawing/2014/main" id="{B658BD84-736F-44E8-8148-61960935B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47549" y="2589765"/>
                <a:ext cx="144209" cy="165100"/>
              </a:xfrm>
              <a:custGeom>
                <a:avLst/>
                <a:gdLst>
                  <a:gd name="T0" fmla="*/ 42 w 42"/>
                  <a:gd name="T1" fmla="*/ 27 h 44"/>
                  <a:gd name="T2" fmla="*/ 32 w 42"/>
                  <a:gd name="T3" fmla="*/ 9 h 44"/>
                  <a:gd name="T4" fmla="*/ 14 w 42"/>
                  <a:gd name="T5" fmla="*/ 6 h 44"/>
                  <a:gd name="T6" fmla="*/ 7 w 42"/>
                  <a:gd name="T7" fmla="*/ 9 h 44"/>
                  <a:gd name="T8" fmla="*/ 2 w 42"/>
                  <a:gd name="T9" fmla="*/ 23 h 44"/>
                  <a:gd name="T10" fmla="*/ 2 w 42"/>
                  <a:gd name="T11" fmla="*/ 33 h 44"/>
                  <a:gd name="T12" fmla="*/ 0 w 42"/>
                  <a:gd name="T13" fmla="*/ 36 h 44"/>
                  <a:gd name="T14" fmla="*/ 3 w 42"/>
                  <a:gd name="T15" fmla="*/ 35 h 44"/>
                  <a:gd name="T16" fmla="*/ 3 w 42"/>
                  <a:gd name="T17" fmla="*/ 37 h 44"/>
                  <a:gd name="T18" fmla="*/ 5 w 42"/>
                  <a:gd name="T19" fmla="*/ 39 h 44"/>
                  <a:gd name="T20" fmla="*/ 8 w 42"/>
                  <a:gd name="T21" fmla="*/ 42 h 44"/>
                  <a:gd name="T22" fmla="*/ 9 w 42"/>
                  <a:gd name="T23" fmla="*/ 42 h 44"/>
                  <a:gd name="T24" fmla="*/ 8 w 42"/>
                  <a:gd name="T25" fmla="*/ 32 h 44"/>
                  <a:gd name="T26" fmla="*/ 10 w 42"/>
                  <a:gd name="T27" fmla="*/ 25 h 44"/>
                  <a:gd name="T28" fmla="*/ 10 w 42"/>
                  <a:gd name="T29" fmla="*/ 23 h 44"/>
                  <a:gd name="T30" fmla="*/ 11 w 42"/>
                  <a:gd name="T31" fmla="*/ 21 h 44"/>
                  <a:gd name="T32" fmla="*/ 16 w 42"/>
                  <a:gd name="T33" fmla="*/ 23 h 44"/>
                  <a:gd name="T34" fmla="*/ 26 w 42"/>
                  <a:gd name="T35" fmla="*/ 26 h 44"/>
                  <a:gd name="T36" fmla="*/ 23 w 42"/>
                  <a:gd name="T37" fmla="*/ 23 h 44"/>
                  <a:gd name="T38" fmla="*/ 32 w 42"/>
                  <a:gd name="T39" fmla="*/ 26 h 44"/>
                  <a:gd name="T40" fmla="*/ 32 w 42"/>
                  <a:gd name="T41" fmla="*/ 39 h 44"/>
                  <a:gd name="T42" fmla="*/ 33 w 42"/>
                  <a:gd name="T43" fmla="*/ 40 h 44"/>
                  <a:gd name="T44" fmla="*/ 38 w 42"/>
                  <a:gd name="T45" fmla="*/ 43 h 44"/>
                  <a:gd name="T46" fmla="*/ 37 w 42"/>
                  <a:gd name="T47" fmla="*/ 40 h 44"/>
                  <a:gd name="T48" fmla="*/ 39 w 42"/>
                  <a:gd name="T49" fmla="*/ 41 h 44"/>
                  <a:gd name="T50" fmla="*/ 38 w 42"/>
                  <a:gd name="T51" fmla="*/ 34 h 44"/>
                  <a:gd name="T52" fmla="*/ 41 w 42"/>
                  <a:gd name="T53" fmla="*/ 36 h 44"/>
                  <a:gd name="T54" fmla="*/ 42 w 42"/>
                  <a:gd name="T55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2" h="44">
                    <a:moveTo>
                      <a:pt x="42" y="27"/>
                    </a:moveTo>
                    <a:cubicBezTo>
                      <a:pt x="41" y="24"/>
                      <a:pt x="42" y="18"/>
                      <a:pt x="32" y="9"/>
                    </a:cubicBezTo>
                    <a:cubicBezTo>
                      <a:pt x="23" y="0"/>
                      <a:pt x="16" y="6"/>
                      <a:pt x="14" y="6"/>
                    </a:cubicBezTo>
                    <a:cubicBezTo>
                      <a:pt x="13" y="6"/>
                      <a:pt x="15" y="8"/>
                      <a:pt x="7" y="9"/>
                    </a:cubicBezTo>
                    <a:cubicBezTo>
                      <a:pt x="7" y="9"/>
                      <a:pt x="1" y="11"/>
                      <a:pt x="2" y="23"/>
                    </a:cubicBezTo>
                    <a:cubicBezTo>
                      <a:pt x="2" y="23"/>
                      <a:pt x="3" y="31"/>
                      <a:pt x="2" y="33"/>
                    </a:cubicBezTo>
                    <a:cubicBezTo>
                      <a:pt x="2" y="33"/>
                      <a:pt x="1" y="36"/>
                      <a:pt x="0" y="36"/>
                    </a:cubicBezTo>
                    <a:cubicBezTo>
                      <a:pt x="0" y="36"/>
                      <a:pt x="2" y="36"/>
                      <a:pt x="3" y="35"/>
                    </a:cubicBezTo>
                    <a:cubicBezTo>
                      <a:pt x="4" y="34"/>
                      <a:pt x="4" y="36"/>
                      <a:pt x="3" y="37"/>
                    </a:cubicBezTo>
                    <a:cubicBezTo>
                      <a:pt x="3" y="38"/>
                      <a:pt x="4" y="38"/>
                      <a:pt x="5" y="39"/>
                    </a:cubicBezTo>
                    <a:cubicBezTo>
                      <a:pt x="5" y="39"/>
                      <a:pt x="7" y="41"/>
                      <a:pt x="8" y="42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9" y="41"/>
                      <a:pt x="7" y="34"/>
                      <a:pt x="8" y="32"/>
                    </a:cubicBezTo>
                    <a:cubicBezTo>
                      <a:pt x="8" y="31"/>
                      <a:pt x="9" y="28"/>
                      <a:pt x="10" y="25"/>
                    </a:cubicBezTo>
                    <a:cubicBezTo>
                      <a:pt x="10" y="24"/>
                      <a:pt x="10" y="24"/>
                      <a:pt x="10" y="23"/>
                    </a:cubicBezTo>
                    <a:cubicBezTo>
                      <a:pt x="11" y="22"/>
                      <a:pt x="11" y="21"/>
                      <a:pt x="11" y="21"/>
                    </a:cubicBezTo>
                    <a:cubicBezTo>
                      <a:pt x="12" y="20"/>
                      <a:pt x="11" y="22"/>
                      <a:pt x="16" y="23"/>
                    </a:cubicBezTo>
                    <a:cubicBezTo>
                      <a:pt x="21" y="25"/>
                      <a:pt x="24" y="26"/>
                      <a:pt x="26" y="26"/>
                    </a:cubicBezTo>
                    <a:cubicBezTo>
                      <a:pt x="28" y="26"/>
                      <a:pt x="24" y="25"/>
                      <a:pt x="23" y="23"/>
                    </a:cubicBezTo>
                    <a:cubicBezTo>
                      <a:pt x="22" y="22"/>
                      <a:pt x="29" y="26"/>
                      <a:pt x="32" y="26"/>
                    </a:cubicBezTo>
                    <a:cubicBezTo>
                      <a:pt x="34" y="27"/>
                      <a:pt x="33" y="34"/>
                      <a:pt x="32" y="39"/>
                    </a:cubicBezTo>
                    <a:cubicBezTo>
                      <a:pt x="32" y="39"/>
                      <a:pt x="33" y="39"/>
                      <a:pt x="33" y="40"/>
                    </a:cubicBezTo>
                    <a:cubicBezTo>
                      <a:pt x="34" y="41"/>
                      <a:pt x="36" y="44"/>
                      <a:pt x="38" y="43"/>
                    </a:cubicBezTo>
                    <a:cubicBezTo>
                      <a:pt x="40" y="43"/>
                      <a:pt x="37" y="44"/>
                      <a:pt x="37" y="40"/>
                    </a:cubicBezTo>
                    <a:cubicBezTo>
                      <a:pt x="37" y="37"/>
                      <a:pt x="38" y="40"/>
                      <a:pt x="39" y="41"/>
                    </a:cubicBezTo>
                    <a:cubicBezTo>
                      <a:pt x="41" y="41"/>
                      <a:pt x="38" y="37"/>
                      <a:pt x="38" y="34"/>
                    </a:cubicBezTo>
                    <a:cubicBezTo>
                      <a:pt x="38" y="34"/>
                      <a:pt x="40" y="34"/>
                      <a:pt x="41" y="36"/>
                    </a:cubicBezTo>
                    <a:cubicBezTo>
                      <a:pt x="41" y="37"/>
                      <a:pt x="42" y="31"/>
                      <a:pt x="42" y="27"/>
                    </a:cubicBezTo>
                    <a:close/>
                  </a:path>
                </a:pathLst>
              </a:custGeom>
              <a:solidFill>
                <a:srgbClr val="C69C6D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5">
                <a:extLst>
                  <a:ext uri="{FF2B5EF4-FFF2-40B4-BE49-F238E27FC236}">
                    <a16:creationId xmlns:a16="http://schemas.microsoft.com/office/drawing/2014/main" id="{DC4E6E41-83BF-41A0-AB72-F645B76A59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4078" y="2839541"/>
                <a:ext cx="130823" cy="239328"/>
              </a:xfrm>
              <a:custGeom>
                <a:avLst/>
                <a:gdLst>
                  <a:gd name="T0" fmla="*/ 28 w 34"/>
                  <a:gd name="T1" fmla="*/ 2 h 63"/>
                  <a:gd name="T2" fmla="*/ 26 w 34"/>
                  <a:gd name="T3" fmla="*/ 2 h 63"/>
                  <a:gd name="T4" fmla="*/ 24 w 34"/>
                  <a:gd name="T5" fmla="*/ 2 h 63"/>
                  <a:gd name="T6" fmla="*/ 7 w 34"/>
                  <a:gd name="T7" fmla="*/ 0 h 63"/>
                  <a:gd name="T8" fmla="*/ 6 w 34"/>
                  <a:gd name="T9" fmla="*/ 0 h 63"/>
                  <a:gd name="T10" fmla="*/ 6 w 34"/>
                  <a:gd name="T11" fmla="*/ 1 h 63"/>
                  <a:gd name="T12" fmla="*/ 5 w 34"/>
                  <a:gd name="T13" fmla="*/ 6 h 63"/>
                  <a:gd name="T14" fmla="*/ 3 w 34"/>
                  <a:gd name="T15" fmla="*/ 25 h 63"/>
                  <a:gd name="T16" fmla="*/ 2 w 34"/>
                  <a:gd name="T17" fmla="*/ 32 h 63"/>
                  <a:gd name="T18" fmla="*/ 5 w 34"/>
                  <a:gd name="T19" fmla="*/ 33 h 63"/>
                  <a:gd name="T20" fmla="*/ 10 w 34"/>
                  <a:gd name="T21" fmla="*/ 33 h 63"/>
                  <a:gd name="T22" fmla="*/ 4 w 34"/>
                  <a:gd name="T23" fmla="*/ 30 h 63"/>
                  <a:gd name="T24" fmla="*/ 5 w 34"/>
                  <a:gd name="T25" fmla="*/ 27 h 63"/>
                  <a:gd name="T26" fmla="*/ 12 w 34"/>
                  <a:gd name="T27" fmla="*/ 31 h 63"/>
                  <a:gd name="T28" fmla="*/ 15 w 34"/>
                  <a:gd name="T29" fmla="*/ 37 h 63"/>
                  <a:gd name="T30" fmla="*/ 18 w 34"/>
                  <a:gd name="T31" fmla="*/ 40 h 63"/>
                  <a:gd name="T32" fmla="*/ 20 w 34"/>
                  <a:gd name="T33" fmla="*/ 40 h 63"/>
                  <a:gd name="T34" fmla="*/ 26 w 34"/>
                  <a:gd name="T35" fmla="*/ 44 h 63"/>
                  <a:gd name="T36" fmla="*/ 21 w 34"/>
                  <a:gd name="T37" fmla="*/ 61 h 63"/>
                  <a:gd name="T38" fmla="*/ 8 w 34"/>
                  <a:gd name="T39" fmla="*/ 60 h 63"/>
                  <a:gd name="T40" fmla="*/ 8 w 34"/>
                  <a:gd name="T41" fmla="*/ 55 h 63"/>
                  <a:gd name="T42" fmla="*/ 13 w 34"/>
                  <a:gd name="T43" fmla="*/ 51 h 63"/>
                  <a:gd name="T44" fmla="*/ 14 w 34"/>
                  <a:gd name="T45" fmla="*/ 52 h 63"/>
                  <a:gd name="T46" fmla="*/ 12 w 34"/>
                  <a:gd name="T47" fmla="*/ 48 h 63"/>
                  <a:gd name="T48" fmla="*/ 0 w 34"/>
                  <a:gd name="T49" fmla="*/ 46 h 63"/>
                  <a:gd name="T50" fmla="*/ 0 w 34"/>
                  <a:gd name="T51" fmla="*/ 50 h 63"/>
                  <a:gd name="T52" fmla="*/ 5 w 34"/>
                  <a:gd name="T53" fmla="*/ 50 h 63"/>
                  <a:gd name="T54" fmla="*/ 6 w 34"/>
                  <a:gd name="T55" fmla="*/ 51 h 63"/>
                  <a:gd name="T56" fmla="*/ 7 w 34"/>
                  <a:gd name="T57" fmla="*/ 55 h 63"/>
                  <a:gd name="T58" fmla="*/ 6 w 34"/>
                  <a:gd name="T59" fmla="*/ 57 h 63"/>
                  <a:gd name="T60" fmla="*/ 5 w 34"/>
                  <a:gd name="T61" fmla="*/ 60 h 63"/>
                  <a:gd name="T62" fmla="*/ 0 w 34"/>
                  <a:gd name="T63" fmla="*/ 63 h 63"/>
                  <a:gd name="T64" fmla="*/ 24 w 34"/>
                  <a:gd name="T65" fmla="*/ 63 h 63"/>
                  <a:gd name="T66" fmla="*/ 24 w 34"/>
                  <a:gd name="T67" fmla="*/ 60 h 63"/>
                  <a:gd name="T68" fmla="*/ 28 w 34"/>
                  <a:gd name="T69" fmla="*/ 44 h 63"/>
                  <a:gd name="T70" fmla="*/ 32 w 34"/>
                  <a:gd name="T71" fmla="*/ 16 h 63"/>
                  <a:gd name="T72" fmla="*/ 34 w 34"/>
                  <a:gd name="T73" fmla="*/ 4 h 63"/>
                  <a:gd name="T74" fmla="*/ 28 w 34"/>
                  <a:gd name="T75" fmla="*/ 2 h 63"/>
                  <a:gd name="connsiteX0" fmla="*/ 8235 w 10000"/>
                  <a:gd name="connsiteY0" fmla="*/ 317 h 10000"/>
                  <a:gd name="connsiteX1" fmla="*/ 7647 w 10000"/>
                  <a:gd name="connsiteY1" fmla="*/ 317 h 10000"/>
                  <a:gd name="connsiteX2" fmla="*/ 7059 w 10000"/>
                  <a:gd name="connsiteY2" fmla="*/ 317 h 10000"/>
                  <a:gd name="connsiteX3" fmla="*/ 2059 w 10000"/>
                  <a:gd name="connsiteY3" fmla="*/ 0 h 10000"/>
                  <a:gd name="connsiteX4" fmla="*/ 1765 w 10000"/>
                  <a:gd name="connsiteY4" fmla="*/ 0 h 10000"/>
                  <a:gd name="connsiteX5" fmla="*/ 1765 w 10000"/>
                  <a:gd name="connsiteY5" fmla="*/ 159 h 10000"/>
                  <a:gd name="connsiteX6" fmla="*/ 1471 w 10000"/>
                  <a:gd name="connsiteY6" fmla="*/ 952 h 10000"/>
                  <a:gd name="connsiteX7" fmla="*/ 882 w 10000"/>
                  <a:gd name="connsiteY7" fmla="*/ 3968 h 10000"/>
                  <a:gd name="connsiteX8" fmla="*/ 588 w 10000"/>
                  <a:gd name="connsiteY8" fmla="*/ 5079 h 10000"/>
                  <a:gd name="connsiteX9" fmla="*/ 1471 w 10000"/>
                  <a:gd name="connsiteY9" fmla="*/ 5341 h 10000"/>
                  <a:gd name="connsiteX10" fmla="*/ 2941 w 10000"/>
                  <a:gd name="connsiteY10" fmla="*/ 5238 h 10000"/>
                  <a:gd name="connsiteX11" fmla="*/ 1176 w 10000"/>
                  <a:gd name="connsiteY11" fmla="*/ 4762 h 10000"/>
                  <a:gd name="connsiteX12" fmla="*/ 1471 w 10000"/>
                  <a:gd name="connsiteY12" fmla="*/ 4286 h 10000"/>
                  <a:gd name="connsiteX13" fmla="*/ 3529 w 10000"/>
                  <a:gd name="connsiteY13" fmla="*/ 4921 h 10000"/>
                  <a:gd name="connsiteX14" fmla="*/ 4412 w 10000"/>
                  <a:gd name="connsiteY14" fmla="*/ 5873 h 10000"/>
                  <a:gd name="connsiteX15" fmla="*/ 5294 w 10000"/>
                  <a:gd name="connsiteY15" fmla="*/ 6349 h 10000"/>
                  <a:gd name="connsiteX16" fmla="*/ 5882 w 10000"/>
                  <a:gd name="connsiteY16" fmla="*/ 6349 h 10000"/>
                  <a:gd name="connsiteX17" fmla="*/ 7647 w 10000"/>
                  <a:gd name="connsiteY17" fmla="*/ 6984 h 10000"/>
                  <a:gd name="connsiteX18" fmla="*/ 6176 w 10000"/>
                  <a:gd name="connsiteY18" fmla="*/ 9683 h 10000"/>
                  <a:gd name="connsiteX19" fmla="*/ 2353 w 10000"/>
                  <a:gd name="connsiteY19" fmla="*/ 9524 h 10000"/>
                  <a:gd name="connsiteX20" fmla="*/ 2353 w 10000"/>
                  <a:gd name="connsiteY20" fmla="*/ 8730 h 10000"/>
                  <a:gd name="connsiteX21" fmla="*/ 3824 w 10000"/>
                  <a:gd name="connsiteY21" fmla="*/ 8095 h 10000"/>
                  <a:gd name="connsiteX22" fmla="*/ 4118 w 10000"/>
                  <a:gd name="connsiteY22" fmla="*/ 8254 h 10000"/>
                  <a:gd name="connsiteX23" fmla="*/ 3529 w 10000"/>
                  <a:gd name="connsiteY23" fmla="*/ 7619 h 10000"/>
                  <a:gd name="connsiteX24" fmla="*/ 0 w 10000"/>
                  <a:gd name="connsiteY24" fmla="*/ 7302 h 10000"/>
                  <a:gd name="connsiteX25" fmla="*/ 0 w 10000"/>
                  <a:gd name="connsiteY25" fmla="*/ 7937 h 10000"/>
                  <a:gd name="connsiteX26" fmla="*/ 1471 w 10000"/>
                  <a:gd name="connsiteY26" fmla="*/ 7937 h 10000"/>
                  <a:gd name="connsiteX27" fmla="*/ 1765 w 10000"/>
                  <a:gd name="connsiteY27" fmla="*/ 8095 h 10000"/>
                  <a:gd name="connsiteX28" fmla="*/ 2059 w 10000"/>
                  <a:gd name="connsiteY28" fmla="*/ 8730 h 10000"/>
                  <a:gd name="connsiteX29" fmla="*/ 1765 w 10000"/>
                  <a:gd name="connsiteY29" fmla="*/ 9048 h 10000"/>
                  <a:gd name="connsiteX30" fmla="*/ 1471 w 10000"/>
                  <a:gd name="connsiteY30" fmla="*/ 9524 h 10000"/>
                  <a:gd name="connsiteX31" fmla="*/ 0 w 10000"/>
                  <a:gd name="connsiteY31" fmla="*/ 10000 h 10000"/>
                  <a:gd name="connsiteX32" fmla="*/ 7059 w 10000"/>
                  <a:gd name="connsiteY32" fmla="*/ 10000 h 10000"/>
                  <a:gd name="connsiteX33" fmla="*/ 7059 w 10000"/>
                  <a:gd name="connsiteY33" fmla="*/ 9524 h 10000"/>
                  <a:gd name="connsiteX34" fmla="*/ 8235 w 10000"/>
                  <a:gd name="connsiteY34" fmla="*/ 6984 h 10000"/>
                  <a:gd name="connsiteX35" fmla="*/ 9412 w 10000"/>
                  <a:gd name="connsiteY35" fmla="*/ 2540 h 10000"/>
                  <a:gd name="connsiteX36" fmla="*/ 10000 w 10000"/>
                  <a:gd name="connsiteY36" fmla="*/ 635 h 10000"/>
                  <a:gd name="connsiteX37" fmla="*/ 8235 w 10000"/>
                  <a:gd name="connsiteY37" fmla="*/ 317 h 10000"/>
                  <a:gd name="connsiteX0" fmla="*/ 8235 w 10000"/>
                  <a:gd name="connsiteY0" fmla="*/ 317 h 10000"/>
                  <a:gd name="connsiteX1" fmla="*/ 7647 w 10000"/>
                  <a:gd name="connsiteY1" fmla="*/ 317 h 10000"/>
                  <a:gd name="connsiteX2" fmla="*/ 7059 w 10000"/>
                  <a:gd name="connsiteY2" fmla="*/ 317 h 10000"/>
                  <a:gd name="connsiteX3" fmla="*/ 2059 w 10000"/>
                  <a:gd name="connsiteY3" fmla="*/ 0 h 10000"/>
                  <a:gd name="connsiteX4" fmla="*/ 1765 w 10000"/>
                  <a:gd name="connsiteY4" fmla="*/ 0 h 10000"/>
                  <a:gd name="connsiteX5" fmla="*/ 1765 w 10000"/>
                  <a:gd name="connsiteY5" fmla="*/ 159 h 10000"/>
                  <a:gd name="connsiteX6" fmla="*/ 1471 w 10000"/>
                  <a:gd name="connsiteY6" fmla="*/ 952 h 10000"/>
                  <a:gd name="connsiteX7" fmla="*/ 882 w 10000"/>
                  <a:gd name="connsiteY7" fmla="*/ 3968 h 10000"/>
                  <a:gd name="connsiteX8" fmla="*/ 588 w 10000"/>
                  <a:gd name="connsiteY8" fmla="*/ 5079 h 10000"/>
                  <a:gd name="connsiteX9" fmla="*/ 1471 w 10000"/>
                  <a:gd name="connsiteY9" fmla="*/ 5341 h 10000"/>
                  <a:gd name="connsiteX10" fmla="*/ 2941 w 10000"/>
                  <a:gd name="connsiteY10" fmla="*/ 5238 h 10000"/>
                  <a:gd name="connsiteX11" fmla="*/ 1176 w 10000"/>
                  <a:gd name="connsiteY11" fmla="*/ 4762 h 10000"/>
                  <a:gd name="connsiteX12" fmla="*/ 1471 w 10000"/>
                  <a:gd name="connsiteY12" fmla="*/ 4286 h 10000"/>
                  <a:gd name="connsiteX13" fmla="*/ 3529 w 10000"/>
                  <a:gd name="connsiteY13" fmla="*/ 4921 h 10000"/>
                  <a:gd name="connsiteX14" fmla="*/ 4412 w 10000"/>
                  <a:gd name="connsiteY14" fmla="*/ 5873 h 10000"/>
                  <a:gd name="connsiteX15" fmla="*/ 5294 w 10000"/>
                  <a:gd name="connsiteY15" fmla="*/ 6349 h 10000"/>
                  <a:gd name="connsiteX16" fmla="*/ 5882 w 10000"/>
                  <a:gd name="connsiteY16" fmla="*/ 6349 h 10000"/>
                  <a:gd name="connsiteX17" fmla="*/ 7647 w 10000"/>
                  <a:gd name="connsiteY17" fmla="*/ 6984 h 10000"/>
                  <a:gd name="connsiteX18" fmla="*/ 6176 w 10000"/>
                  <a:gd name="connsiteY18" fmla="*/ 9683 h 10000"/>
                  <a:gd name="connsiteX19" fmla="*/ 2353 w 10000"/>
                  <a:gd name="connsiteY19" fmla="*/ 9524 h 10000"/>
                  <a:gd name="connsiteX20" fmla="*/ 2353 w 10000"/>
                  <a:gd name="connsiteY20" fmla="*/ 8730 h 10000"/>
                  <a:gd name="connsiteX21" fmla="*/ 3824 w 10000"/>
                  <a:gd name="connsiteY21" fmla="*/ 8095 h 10000"/>
                  <a:gd name="connsiteX22" fmla="*/ 4118 w 10000"/>
                  <a:gd name="connsiteY22" fmla="*/ 8254 h 10000"/>
                  <a:gd name="connsiteX23" fmla="*/ 3529 w 10000"/>
                  <a:gd name="connsiteY23" fmla="*/ 7619 h 10000"/>
                  <a:gd name="connsiteX24" fmla="*/ 0 w 10000"/>
                  <a:gd name="connsiteY24" fmla="*/ 7302 h 10000"/>
                  <a:gd name="connsiteX25" fmla="*/ 0 w 10000"/>
                  <a:gd name="connsiteY25" fmla="*/ 7937 h 10000"/>
                  <a:gd name="connsiteX26" fmla="*/ 1471 w 10000"/>
                  <a:gd name="connsiteY26" fmla="*/ 7937 h 10000"/>
                  <a:gd name="connsiteX27" fmla="*/ 1765 w 10000"/>
                  <a:gd name="connsiteY27" fmla="*/ 8095 h 10000"/>
                  <a:gd name="connsiteX28" fmla="*/ 2059 w 10000"/>
                  <a:gd name="connsiteY28" fmla="*/ 8730 h 10000"/>
                  <a:gd name="connsiteX29" fmla="*/ 1765 w 10000"/>
                  <a:gd name="connsiteY29" fmla="*/ 9048 h 10000"/>
                  <a:gd name="connsiteX30" fmla="*/ 1471 w 10000"/>
                  <a:gd name="connsiteY30" fmla="*/ 9524 h 10000"/>
                  <a:gd name="connsiteX31" fmla="*/ 0 w 10000"/>
                  <a:gd name="connsiteY31" fmla="*/ 10000 h 10000"/>
                  <a:gd name="connsiteX32" fmla="*/ 7059 w 10000"/>
                  <a:gd name="connsiteY32" fmla="*/ 10000 h 10000"/>
                  <a:gd name="connsiteX33" fmla="*/ 7059 w 10000"/>
                  <a:gd name="connsiteY33" fmla="*/ 9524 h 10000"/>
                  <a:gd name="connsiteX34" fmla="*/ 8235 w 10000"/>
                  <a:gd name="connsiteY34" fmla="*/ 6984 h 10000"/>
                  <a:gd name="connsiteX35" fmla="*/ 9412 w 10000"/>
                  <a:gd name="connsiteY35" fmla="*/ 2540 h 10000"/>
                  <a:gd name="connsiteX36" fmla="*/ 10000 w 10000"/>
                  <a:gd name="connsiteY36" fmla="*/ 635 h 10000"/>
                  <a:gd name="connsiteX37" fmla="*/ 8235 w 10000"/>
                  <a:gd name="connsiteY37" fmla="*/ 317 h 10000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471 w 10000"/>
                  <a:gd name="connsiteY6" fmla="*/ 973 h 10021"/>
                  <a:gd name="connsiteX7" fmla="*/ 882 w 10000"/>
                  <a:gd name="connsiteY7" fmla="*/ 3989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882 w 10000"/>
                  <a:gd name="connsiteY7" fmla="*/ 3989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89 w 10000"/>
                  <a:gd name="connsiteY23" fmla="*/ 7511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355 w 10120"/>
                  <a:gd name="connsiteY0" fmla="*/ 338 h 10118"/>
                  <a:gd name="connsiteX1" fmla="*/ 7767 w 10120"/>
                  <a:gd name="connsiteY1" fmla="*/ 338 h 10118"/>
                  <a:gd name="connsiteX2" fmla="*/ 7179 w 10120"/>
                  <a:gd name="connsiteY2" fmla="*/ 338 h 10118"/>
                  <a:gd name="connsiteX3" fmla="*/ 2179 w 10120"/>
                  <a:gd name="connsiteY3" fmla="*/ 21 h 10118"/>
                  <a:gd name="connsiteX4" fmla="*/ 1885 w 10120"/>
                  <a:gd name="connsiteY4" fmla="*/ 21 h 10118"/>
                  <a:gd name="connsiteX5" fmla="*/ 1644 w 10120"/>
                  <a:gd name="connsiteY5" fmla="*/ 309 h 10118"/>
                  <a:gd name="connsiteX6" fmla="*/ 1495 w 10120"/>
                  <a:gd name="connsiteY6" fmla="*/ 1050 h 10118"/>
                  <a:gd name="connsiteX7" fmla="*/ 858 w 10120"/>
                  <a:gd name="connsiteY7" fmla="*/ 4015 h 10118"/>
                  <a:gd name="connsiteX8" fmla="*/ 612 w 10120"/>
                  <a:gd name="connsiteY8" fmla="*/ 5023 h 10118"/>
                  <a:gd name="connsiteX9" fmla="*/ 1591 w 10120"/>
                  <a:gd name="connsiteY9" fmla="*/ 5362 h 10118"/>
                  <a:gd name="connsiteX10" fmla="*/ 3061 w 10120"/>
                  <a:gd name="connsiteY10" fmla="*/ 5259 h 10118"/>
                  <a:gd name="connsiteX11" fmla="*/ 1296 w 10120"/>
                  <a:gd name="connsiteY11" fmla="*/ 4783 h 10118"/>
                  <a:gd name="connsiteX12" fmla="*/ 1495 w 10120"/>
                  <a:gd name="connsiteY12" fmla="*/ 4462 h 10118"/>
                  <a:gd name="connsiteX13" fmla="*/ 3601 w 10120"/>
                  <a:gd name="connsiteY13" fmla="*/ 4916 h 10118"/>
                  <a:gd name="connsiteX14" fmla="*/ 4532 w 10120"/>
                  <a:gd name="connsiteY14" fmla="*/ 5894 h 10118"/>
                  <a:gd name="connsiteX15" fmla="*/ 5414 w 10120"/>
                  <a:gd name="connsiteY15" fmla="*/ 6370 h 10118"/>
                  <a:gd name="connsiteX16" fmla="*/ 6002 w 10120"/>
                  <a:gd name="connsiteY16" fmla="*/ 6370 h 10118"/>
                  <a:gd name="connsiteX17" fmla="*/ 7767 w 10120"/>
                  <a:gd name="connsiteY17" fmla="*/ 7005 h 10118"/>
                  <a:gd name="connsiteX18" fmla="*/ 6296 w 10120"/>
                  <a:gd name="connsiteY18" fmla="*/ 9704 h 10118"/>
                  <a:gd name="connsiteX19" fmla="*/ 2473 w 10120"/>
                  <a:gd name="connsiteY19" fmla="*/ 9545 h 10118"/>
                  <a:gd name="connsiteX20" fmla="*/ 2473 w 10120"/>
                  <a:gd name="connsiteY20" fmla="*/ 8751 h 10118"/>
                  <a:gd name="connsiteX21" fmla="*/ 3944 w 10120"/>
                  <a:gd name="connsiteY21" fmla="*/ 8116 h 10118"/>
                  <a:gd name="connsiteX22" fmla="*/ 4238 w 10120"/>
                  <a:gd name="connsiteY22" fmla="*/ 8275 h 10118"/>
                  <a:gd name="connsiteX23" fmla="*/ 3709 w 10120"/>
                  <a:gd name="connsiteY23" fmla="*/ 7511 h 10118"/>
                  <a:gd name="connsiteX24" fmla="*/ 120 w 10120"/>
                  <a:gd name="connsiteY24" fmla="*/ 7323 h 10118"/>
                  <a:gd name="connsiteX25" fmla="*/ 120 w 10120"/>
                  <a:gd name="connsiteY25" fmla="*/ 7958 h 10118"/>
                  <a:gd name="connsiteX26" fmla="*/ 1591 w 10120"/>
                  <a:gd name="connsiteY26" fmla="*/ 7958 h 10118"/>
                  <a:gd name="connsiteX27" fmla="*/ 1885 w 10120"/>
                  <a:gd name="connsiteY27" fmla="*/ 8116 h 10118"/>
                  <a:gd name="connsiteX28" fmla="*/ 2179 w 10120"/>
                  <a:gd name="connsiteY28" fmla="*/ 8751 h 10118"/>
                  <a:gd name="connsiteX29" fmla="*/ 1885 w 10120"/>
                  <a:gd name="connsiteY29" fmla="*/ 9069 h 10118"/>
                  <a:gd name="connsiteX30" fmla="*/ 1591 w 10120"/>
                  <a:gd name="connsiteY30" fmla="*/ 9545 h 10118"/>
                  <a:gd name="connsiteX31" fmla="*/ 0 w 10120"/>
                  <a:gd name="connsiteY31" fmla="*/ 10118 h 10118"/>
                  <a:gd name="connsiteX32" fmla="*/ 7179 w 10120"/>
                  <a:gd name="connsiteY32" fmla="*/ 10021 h 10118"/>
                  <a:gd name="connsiteX33" fmla="*/ 7179 w 10120"/>
                  <a:gd name="connsiteY33" fmla="*/ 9545 h 10118"/>
                  <a:gd name="connsiteX34" fmla="*/ 8355 w 10120"/>
                  <a:gd name="connsiteY34" fmla="*/ 7005 h 10118"/>
                  <a:gd name="connsiteX35" fmla="*/ 9532 w 10120"/>
                  <a:gd name="connsiteY35" fmla="*/ 2561 h 10118"/>
                  <a:gd name="connsiteX36" fmla="*/ 10120 w 10120"/>
                  <a:gd name="connsiteY36" fmla="*/ 656 h 10118"/>
                  <a:gd name="connsiteX37" fmla="*/ 8355 w 10120"/>
                  <a:gd name="connsiteY37" fmla="*/ 338 h 10118"/>
                  <a:gd name="connsiteX0" fmla="*/ 8355 w 10120"/>
                  <a:gd name="connsiteY0" fmla="*/ 338 h 10118"/>
                  <a:gd name="connsiteX1" fmla="*/ 7767 w 10120"/>
                  <a:gd name="connsiteY1" fmla="*/ 338 h 10118"/>
                  <a:gd name="connsiteX2" fmla="*/ 7179 w 10120"/>
                  <a:gd name="connsiteY2" fmla="*/ 338 h 10118"/>
                  <a:gd name="connsiteX3" fmla="*/ 2179 w 10120"/>
                  <a:gd name="connsiteY3" fmla="*/ 21 h 10118"/>
                  <a:gd name="connsiteX4" fmla="*/ 1885 w 10120"/>
                  <a:gd name="connsiteY4" fmla="*/ 21 h 10118"/>
                  <a:gd name="connsiteX5" fmla="*/ 1644 w 10120"/>
                  <a:gd name="connsiteY5" fmla="*/ 309 h 10118"/>
                  <a:gd name="connsiteX6" fmla="*/ 1495 w 10120"/>
                  <a:gd name="connsiteY6" fmla="*/ 1050 h 10118"/>
                  <a:gd name="connsiteX7" fmla="*/ 858 w 10120"/>
                  <a:gd name="connsiteY7" fmla="*/ 4015 h 10118"/>
                  <a:gd name="connsiteX8" fmla="*/ 612 w 10120"/>
                  <a:gd name="connsiteY8" fmla="*/ 5023 h 10118"/>
                  <a:gd name="connsiteX9" fmla="*/ 1591 w 10120"/>
                  <a:gd name="connsiteY9" fmla="*/ 5362 h 10118"/>
                  <a:gd name="connsiteX10" fmla="*/ 3061 w 10120"/>
                  <a:gd name="connsiteY10" fmla="*/ 5259 h 10118"/>
                  <a:gd name="connsiteX11" fmla="*/ 1296 w 10120"/>
                  <a:gd name="connsiteY11" fmla="*/ 4783 h 10118"/>
                  <a:gd name="connsiteX12" fmla="*/ 1495 w 10120"/>
                  <a:gd name="connsiteY12" fmla="*/ 4462 h 10118"/>
                  <a:gd name="connsiteX13" fmla="*/ 3601 w 10120"/>
                  <a:gd name="connsiteY13" fmla="*/ 4916 h 10118"/>
                  <a:gd name="connsiteX14" fmla="*/ 4532 w 10120"/>
                  <a:gd name="connsiteY14" fmla="*/ 5894 h 10118"/>
                  <a:gd name="connsiteX15" fmla="*/ 5414 w 10120"/>
                  <a:gd name="connsiteY15" fmla="*/ 6370 h 10118"/>
                  <a:gd name="connsiteX16" fmla="*/ 6002 w 10120"/>
                  <a:gd name="connsiteY16" fmla="*/ 6370 h 10118"/>
                  <a:gd name="connsiteX17" fmla="*/ 7767 w 10120"/>
                  <a:gd name="connsiteY17" fmla="*/ 7005 h 10118"/>
                  <a:gd name="connsiteX18" fmla="*/ 6296 w 10120"/>
                  <a:gd name="connsiteY18" fmla="*/ 9704 h 10118"/>
                  <a:gd name="connsiteX19" fmla="*/ 2473 w 10120"/>
                  <a:gd name="connsiteY19" fmla="*/ 9545 h 10118"/>
                  <a:gd name="connsiteX20" fmla="*/ 2473 w 10120"/>
                  <a:gd name="connsiteY20" fmla="*/ 8751 h 10118"/>
                  <a:gd name="connsiteX21" fmla="*/ 3944 w 10120"/>
                  <a:gd name="connsiteY21" fmla="*/ 8116 h 10118"/>
                  <a:gd name="connsiteX22" fmla="*/ 4238 w 10120"/>
                  <a:gd name="connsiteY22" fmla="*/ 8275 h 10118"/>
                  <a:gd name="connsiteX23" fmla="*/ 3709 w 10120"/>
                  <a:gd name="connsiteY23" fmla="*/ 7511 h 10118"/>
                  <a:gd name="connsiteX24" fmla="*/ 120 w 10120"/>
                  <a:gd name="connsiteY24" fmla="*/ 7323 h 10118"/>
                  <a:gd name="connsiteX25" fmla="*/ 120 w 10120"/>
                  <a:gd name="connsiteY25" fmla="*/ 7958 h 10118"/>
                  <a:gd name="connsiteX26" fmla="*/ 1591 w 10120"/>
                  <a:gd name="connsiteY26" fmla="*/ 7958 h 10118"/>
                  <a:gd name="connsiteX27" fmla="*/ 1885 w 10120"/>
                  <a:gd name="connsiteY27" fmla="*/ 8116 h 10118"/>
                  <a:gd name="connsiteX28" fmla="*/ 2179 w 10120"/>
                  <a:gd name="connsiteY28" fmla="*/ 8751 h 10118"/>
                  <a:gd name="connsiteX29" fmla="*/ 1885 w 10120"/>
                  <a:gd name="connsiteY29" fmla="*/ 9069 h 10118"/>
                  <a:gd name="connsiteX30" fmla="*/ 1591 w 10120"/>
                  <a:gd name="connsiteY30" fmla="*/ 9545 h 10118"/>
                  <a:gd name="connsiteX31" fmla="*/ 0 w 10120"/>
                  <a:gd name="connsiteY31" fmla="*/ 10118 h 10118"/>
                  <a:gd name="connsiteX32" fmla="*/ 6999 w 10120"/>
                  <a:gd name="connsiteY32" fmla="*/ 10118 h 10118"/>
                  <a:gd name="connsiteX33" fmla="*/ 7179 w 10120"/>
                  <a:gd name="connsiteY33" fmla="*/ 9545 h 10118"/>
                  <a:gd name="connsiteX34" fmla="*/ 8355 w 10120"/>
                  <a:gd name="connsiteY34" fmla="*/ 7005 h 10118"/>
                  <a:gd name="connsiteX35" fmla="*/ 9532 w 10120"/>
                  <a:gd name="connsiteY35" fmla="*/ 2561 h 10118"/>
                  <a:gd name="connsiteX36" fmla="*/ 10120 w 10120"/>
                  <a:gd name="connsiteY36" fmla="*/ 656 h 10118"/>
                  <a:gd name="connsiteX37" fmla="*/ 8355 w 10120"/>
                  <a:gd name="connsiteY37" fmla="*/ 338 h 10118"/>
                  <a:gd name="connsiteX0" fmla="*/ 8536 w 10301"/>
                  <a:gd name="connsiteY0" fmla="*/ 338 h 10118"/>
                  <a:gd name="connsiteX1" fmla="*/ 7948 w 10301"/>
                  <a:gd name="connsiteY1" fmla="*/ 338 h 10118"/>
                  <a:gd name="connsiteX2" fmla="*/ 7360 w 10301"/>
                  <a:gd name="connsiteY2" fmla="*/ 338 h 10118"/>
                  <a:gd name="connsiteX3" fmla="*/ 2360 w 10301"/>
                  <a:gd name="connsiteY3" fmla="*/ 21 h 10118"/>
                  <a:gd name="connsiteX4" fmla="*/ 2066 w 10301"/>
                  <a:gd name="connsiteY4" fmla="*/ 21 h 10118"/>
                  <a:gd name="connsiteX5" fmla="*/ 1825 w 10301"/>
                  <a:gd name="connsiteY5" fmla="*/ 309 h 10118"/>
                  <a:gd name="connsiteX6" fmla="*/ 1676 w 10301"/>
                  <a:gd name="connsiteY6" fmla="*/ 1050 h 10118"/>
                  <a:gd name="connsiteX7" fmla="*/ 1039 w 10301"/>
                  <a:gd name="connsiteY7" fmla="*/ 4015 h 10118"/>
                  <a:gd name="connsiteX8" fmla="*/ 793 w 10301"/>
                  <a:gd name="connsiteY8" fmla="*/ 5023 h 10118"/>
                  <a:gd name="connsiteX9" fmla="*/ 1772 w 10301"/>
                  <a:gd name="connsiteY9" fmla="*/ 5362 h 10118"/>
                  <a:gd name="connsiteX10" fmla="*/ 3242 w 10301"/>
                  <a:gd name="connsiteY10" fmla="*/ 5259 h 10118"/>
                  <a:gd name="connsiteX11" fmla="*/ 1477 w 10301"/>
                  <a:gd name="connsiteY11" fmla="*/ 4783 h 10118"/>
                  <a:gd name="connsiteX12" fmla="*/ 1676 w 10301"/>
                  <a:gd name="connsiteY12" fmla="*/ 4462 h 10118"/>
                  <a:gd name="connsiteX13" fmla="*/ 3782 w 10301"/>
                  <a:gd name="connsiteY13" fmla="*/ 4916 h 10118"/>
                  <a:gd name="connsiteX14" fmla="*/ 4713 w 10301"/>
                  <a:gd name="connsiteY14" fmla="*/ 5894 h 10118"/>
                  <a:gd name="connsiteX15" fmla="*/ 5595 w 10301"/>
                  <a:gd name="connsiteY15" fmla="*/ 6370 h 10118"/>
                  <a:gd name="connsiteX16" fmla="*/ 6183 w 10301"/>
                  <a:gd name="connsiteY16" fmla="*/ 6370 h 10118"/>
                  <a:gd name="connsiteX17" fmla="*/ 7948 w 10301"/>
                  <a:gd name="connsiteY17" fmla="*/ 7005 h 10118"/>
                  <a:gd name="connsiteX18" fmla="*/ 6477 w 10301"/>
                  <a:gd name="connsiteY18" fmla="*/ 9704 h 10118"/>
                  <a:gd name="connsiteX19" fmla="*/ 2654 w 10301"/>
                  <a:gd name="connsiteY19" fmla="*/ 9545 h 10118"/>
                  <a:gd name="connsiteX20" fmla="*/ 2654 w 10301"/>
                  <a:gd name="connsiteY20" fmla="*/ 8751 h 10118"/>
                  <a:gd name="connsiteX21" fmla="*/ 4125 w 10301"/>
                  <a:gd name="connsiteY21" fmla="*/ 8116 h 10118"/>
                  <a:gd name="connsiteX22" fmla="*/ 4419 w 10301"/>
                  <a:gd name="connsiteY22" fmla="*/ 8275 h 10118"/>
                  <a:gd name="connsiteX23" fmla="*/ 3890 w 10301"/>
                  <a:gd name="connsiteY23" fmla="*/ 7511 h 10118"/>
                  <a:gd name="connsiteX24" fmla="*/ 301 w 10301"/>
                  <a:gd name="connsiteY24" fmla="*/ 7323 h 10118"/>
                  <a:gd name="connsiteX25" fmla="*/ 0 w 10301"/>
                  <a:gd name="connsiteY25" fmla="*/ 7958 h 10118"/>
                  <a:gd name="connsiteX26" fmla="*/ 1772 w 10301"/>
                  <a:gd name="connsiteY26" fmla="*/ 7958 h 10118"/>
                  <a:gd name="connsiteX27" fmla="*/ 2066 w 10301"/>
                  <a:gd name="connsiteY27" fmla="*/ 8116 h 10118"/>
                  <a:gd name="connsiteX28" fmla="*/ 2360 w 10301"/>
                  <a:gd name="connsiteY28" fmla="*/ 8751 h 10118"/>
                  <a:gd name="connsiteX29" fmla="*/ 2066 w 10301"/>
                  <a:gd name="connsiteY29" fmla="*/ 9069 h 10118"/>
                  <a:gd name="connsiteX30" fmla="*/ 1772 w 10301"/>
                  <a:gd name="connsiteY30" fmla="*/ 9545 h 10118"/>
                  <a:gd name="connsiteX31" fmla="*/ 181 w 10301"/>
                  <a:gd name="connsiteY31" fmla="*/ 10118 h 10118"/>
                  <a:gd name="connsiteX32" fmla="*/ 7180 w 10301"/>
                  <a:gd name="connsiteY32" fmla="*/ 10118 h 10118"/>
                  <a:gd name="connsiteX33" fmla="*/ 7360 w 10301"/>
                  <a:gd name="connsiteY33" fmla="*/ 9545 h 10118"/>
                  <a:gd name="connsiteX34" fmla="*/ 8536 w 10301"/>
                  <a:gd name="connsiteY34" fmla="*/ 7005 h 10118"/>
                  <a:gd name="connsiteX35" fmla="*/ 9713 w 10301"/>
                  <a:gd name="connsiteY35" fmla="*/ 2561 h 10118"/>
                  <a:gd name="connsiteX36" fmla="*/ 10301 w 10301"/>
                  <a:gd name="connsiteY36" fmla="*/ 656 h 10118"/>
                  <a:gd name="connsiteX37" fmla="*/ 8536 w 10301"/>
                  <a:gd name="connsiteY37" fmla="*/ 338 h 10118"/>
                  <a:gd name="connsiteX0" fmla="*/ 8536 w 10301"/>
                  <a:gd name="connsiteY0" fmla="*/ 338 h 10118"/>
                  <a:gd name="connsiteX1" fmla="*/ 7360 w 10301"/>
                  <a:gd name="connsiteY1" fmla="*/ 338 h 10118"/>
                  <a:gd name="connsiteX2" fmla="*/ 2360 w 10301"/>
                  <a:gd name="connsiteY2" fmla="*/ 21 h 10118"/>
                  <a:gd name="connsiteX3" fmla="*/ 2066 w 10301"/>
                  <a:gd name="connsiteY3" fmla="*/ 21 h 10118"/>
                  <a:gd name="connsiteX4" fmla="*/ 1825 w 10301"/>
                  <a:gd name="connsiteY4" fmla="*/ 309 h 10118"/>
                  <a:gd name="connsiteX5" fmla="*/ 1676 w 10301"/>
                  <a:gd name="connsiteY5" fmla="*/ 1050 h 10118"/>
                  <a:gd name="connsiteX6" fmla="*/ 1039 w 10301"/>
                  <a:gd name="connsiteY6" fmla="*/ 4015 h 10118"/>
                  <a:gd name="connsiteX7" fmla="*/ 793 w 10301"/>
                  <a:gd name="connsiteY7" fmla="*/ 5023 h 10118"/>
                  <a:gd name="connsiteX8" fmla="*/ 1772 w 10301"/>
                  <a:gd name="connsiteY8" fmla="*/ 5362 h 10118"/>
                  <a:gd name="connsiteX9" fmla="*/ 3242 w 10301"/>
                  <a:gd name="connsiteY9" fmla="*/ 5259 h 10118"/>
                  <a:gd name="connsiteX10" fmla="*/ 1477 w 10301"/>
                  <a:gd name="connsiteY10" fmla="*/ 4783 h 10118"/>
                  <a:gd name="connsiteX11" fmla="*/ 1676 w 10301"/>
                  <a:gd name="connsiteY11" fmla="*/ 4462 h 10118"/>
                  <a:gd name="connsiteX12" fmla="*/ 3782 w 10301"/>
                  <a:gd name="connsiteY12" fmla="*/ 4916 h 10118"/>
                  <a:gd name="connsiteX13" fmla="*/ 4713 w 10301"/>
                  <a:gd name="connsiteY13" fmla="*/ 5894 h 10118"/>
                  <a:gd name="connsiteX14" fmla="*/ 5595 w 10301"/>
                  <a:gd name="connsiteY14" fmla="*/ 6370 h 10118"/>
                  <a:gd name="connsiteX15" fmla="*/ 6183 w 10301"/>
                  <a:gd name="connsiteY15" fmla="*/ 6370 h 10118"/>
                  <a:gd name="connsiteX16" fmla="*/ 7948 w 10301"/>
                  <a:gd name="connsiteY16" fmla="*/ 7005 h 10118"/>
                  <a:gd name="connsiteX17" fmla="*/ 6477 w 10301"/>
                  <a:gd name="connsiteY17" fmla="*/ 9704 h 10118"/>
                  <a:gd name="connsiteX18" fmla="*/ 2654 w 10301"/>
                  <a:gd name="connsiteY18" fmla="*/ 9545 h 10118"/>
                  <a:gd name="connsiteX19" fmla="*/ 2654 w 10301"/>
                  <a:gd name="connsiteY19" fmla="*/ 8751 h 10118"/>
                  <a:gd name="connsiteX20" fmla="*/ 4125 w 10301"/>
                  <a:gd name="connsiteY20" fmla="*/ 8116 h 10118"/>
                  <a:gd name="connsiteX21" fmla="*/ 4419 w 10301"/>
                  <a:gd name="connsiteY21" fmla="*/ 8275 h 10118"/>
                  <a:gd name="connsiteX22" fmla="*/ 3890 w 10301"/>
                  <a:gd name="connsiteY22" fmla="*/ 7511 h 10118"/>
                  <a:gd name="connsiteX23" fmla="*/ 301 w 10301"/>
                  <a:gd name="connsiteY23" fmla="*/ 7323 h 10118"/>
                  <a:gd name="connsiteX24" fmla="*/ 0 w 10301"/>
                  <a:gd name="connsiteY24" fmla="*/ 7958 h 10118"/>
                  <a:gd name="connsiteX25" fmla="*/ 1772 w 10301"/>
                  <a:gd name="connsiteY25" fmla="*/ 7958 h 10118"/>
                  <a:gd name="connsiteX26" fmla="*/ 2066 w 10301"/>
                  <a:gd name="connsiteY26" fmla="*/ 8116 h 10118"/>
                  <a:gd name="connsiteX27" fmla="*/ 2360 w 10301"/>
                  <a:gd name="connsiteY27" fmla="*/ 8751 h 10118"/>
                  <a:gd name="connsiteX28" fmla="*/ 2066 w 10301"/>
                  <a:gd name="connsiteY28" fmla="*/ 9069 h 10118"/>
                  <a:gd name="connsiteX29" fmla="*/ 1772 w 10301"/>
                  <a:gd name="connsiteY29" fmla="*/ 9545 h 10118"/>
                  <a:gd name="connsiteX30" fmla="*/ 181 w 10301"/>
                  <a:gd name="connsiteY30" fmla="*/ 10118 h 10118"/>
                  <a:gd name="connsiteX31" fmla="*/ 7180 w 10301"/>
                  <a:gd name="connsiteY31" fmla="*/ 10118 h 10118"/>
                  <a:gd name="connsiteX32" fmla="*/ 7360 w 10301"/>
                  <a:gd name="connsiteY32" fmla="*/ 9545 h 10118"/>
                  <a:gd name="connsiteX33" fmla="*/ 8536 w 10301"/>
                  <a:gd name="connsiteY33" fmla="*/ 7005 h 10118"/>
                  <a:gd name="connsiteX34" fmla="*/ 9713 w 10301"/>
                  <a:gd name="connsiteY34" fmla="*/ 2561 h 10118"/>
                  <a:gd name="connsiteX35" fmla="*/ 10301 w 10301"/>
                  <a:gd name="connsiteY35" fmla="*/ 656 h 10118"/>
                  <a:gd name="connsiteX36" fmla="*/ 8536 w 10301"/>
                  <a:gd name="connsiteY36" fmla="*/ 338 h 10118"/>
                  <a:gd name="connsiteX0" fmla="*/ 8536 w 10301"/>
                  <a:gd name="connsiteY0" fmla="*/ 338 h 10118"/>
                  <a:gd name="connsiteX1" fmla="*/ 7180 w 10301"/>
                  <a:gd name="connsiteY1" fmla="*/ 241 h 10118"/>
                  <a:gd name="connsiteX2" fmla="*/ 2360 w 10301"/>
                  <a:gd name="connsiteY2" fmla="*/ 21 h 10118"/>
                  <a:gd name="connsiteX3" fmla="*/ 2066 w 10301"/>
                  <a:gd name="connsiteY3" fmla="*/ 21 h 10118"/>
                  <a:gd name="connsiteX4" fmla="*/ 1825 w 10301"/>
                  <a:gd name="connsiteY4" fmla="*/ 309 h 10118"/>
                  <a:gd name="connsiteX5" fmla="*/ 1676 w 10301"/>
                  <a:gd name="connsiteY5" fmla="*/ 1050 h 10118"/>
                  <a:gd name="connsiteX6" fmla="*/ 1039 w 10301"/>
                  <a:gd name="connsiteY6" fmla="*/ 4015 h 10118"/>
                  <a:gd name="connsiteX7" fmla="*/ 793 w 10301"/>
                  <a:gd name="connsiteY7" fmla="*/ 5023 h 10118"/>
                  <a:gd name="connsiteX8" fmla="*/ 1772 w 10301"/>
                  <a:gd name="connsiteY8" fmla="*/ 5362 h 10118"/>
                  <a:gd name="connsiteX9" fmla="*/ 3242 w 10301"/>
                  <a:gd name="connsiteY9" fmla="*/ 5259 h 10118"/>
                  <a:gd name="connsiteX10" fmla="*/ 1477 w 10301"/>
                  <a:gd name="connsiteY10" fmla="*/ 4783 h 10118"/>
                  <a:gd name="connsiteX11" fmla="*/ 1676 w 10301"/>
                  <a:gd name="connsiteY11" fmla="*/ 4462 h 10118"/>
                  <a:gd name="connsiteX12" fmla="*/ 3782 w 10301"/>
                  <a:gd name="connsiteY12" fmla="*/ 4916 h 10118"/>
                  <a:gd name="connsiteX13" fmla="*/ 4713 w 10301"/>
                  <a:gd name="connsiteY13" fmla="*/ 5894 h 10118"/>
                  <a:gd name="connsiteX14" fmla="*/ 5595 w 10301"/>
                  <a:gd name="connsiteY14" fmla="*/ 6370 h 10118"/>
                  <a:gd name="connsiteX15" fmla="*/ 6183 w 10301"/>
                  <a:gd name="connsiteY15" fmla="*/ 6370 h 10118"/>
                  <a:gd name="connsiteX16" fmla="*/ 7948 w 10301"/>
                  <a:gd name="connsiteY16" fmla="*/ 7005 h 10118"/>
                  <a:gd name="connsiteX17" fmla="*/ 6477 w 10301"/>
                  <a:gd name="connsiteY17" fmla="*/ 9704 h 10118"/>
                  <a:gd name="connsiteX18" fmla="*/ 2654 w 10301"/>
                  <a:gd name="connsiteY18" fmla="*/ 9545 h 10118"/>
                  <a:gd name="connsiteX19" fmla="*/ 2654 w 10301"/>
                  <a:gd name="connsiteY19" fmla="*/ 8751 h 10118"/>
                  <a:gd name="connsiteX20" fmla="*/ 4125 w 10301"/>
                  <a:gd name="connsiteY20" fmla="*/ 8116 h 10118"/>
                  <a:gd name="connsiteX21" fmla="*/ 4419 w 10301"/>
                  <a:gd name="connsiteY21" fmla="*/ 8275 h 10118"/>
                  <a:gd name="connsiteX22" fmla="*/ 3890 w 10301"/>
                  <a:gd name="connsiteY22" fmla="*/ 7511 h 10118"/>
                  <a:gd name="connsiteX23" fmla="*/ 301 w 10301"/>
                  <a:gd name="connsiteY23" fmla="*/ 7323 h 10118"/>
                  <a:gd name="connsiteX24" fmla="*/ 0 w 10301"/>
                  <a:gd name="connsiteY24" fmla="*/ 7958 h 10118"/>
                  <a:gd name="connsiteX25" fmla="*/ 1772 w 10301"/>
                  <a:gd name="connsiteY25" fmla="*/ 7958 h 10118"/>
                  <a:gd name="connsiteX26" fmla="*/ 2066 w 10301"/>
                  <a:gd name="connsiteY26" fmla="*/ 8116 h 10118"/>
                  <a:gd name="connsiteX27" fmla="*/ 2360 w 10301"/>
                  <a:gd name="connsiteY27" fmla="*/ 8751 h 10118"/>
                  <a:gd name="connsiteX28" fmla="*/ 2066 w 10301"/>
                  <a:gd name="connsiteY28" fmla="*/ 9069 h 10118"/>
                  <a:gd name="connsiteX29" fmla="*/ 1772 w 10301"/>
                  <a:gd name="connsiteY29" fmla="*/ 9545 h 10118"/>
                  <a:gd name="connsiteX30" fmla="*/ 181 w 10301"/>
                  <a:gd name="connsiteY30" fmla="*/ 10118 h 10118"/>
                  <a:gd name="connsiteX31" fmla="*/ 7180 w 10301"/>
                  <a:gd name="connsiteY31" fmla="*/ 10118 h 10118"/>
                  <a:gd name="connsiteX32" fmla="*/ 7360 w 10301"/>
                  <a:gd name="connsiteY32" fmla="*/ 9545 h 10118"/>
                  <a:gd name="connsiteX33" fmla="*/ 8536 w 10301"/>
                  <a:gd name="connsiteY33" fmla="*/ 7005 h 10118"/>
                  <a:gd name="connsiteX34" fmla="*/ 9713 w 10301"/>
                  <a:gd name="connsiteY34" fmla="*/ 2561 h 10118"/>
                  <a:gd name="connsiteX35" fmla="*/ 10301 w 10301"/>
                  <a:gd name="connsiteY35" fmla="*/ 656 h 10118"/>
                  <a:gd name="connsiteX36" fmla="*/ 8536 w 10301"/>
                  <a:gd name="connsiteY36" fmla="*/ 338 h 10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0301" h="10118">
                    <a:moveTo>
                      <a:pt x="8536" y="338"/>
                    </a:moveTo>
                    <a:lnTo>
                      <a:pt x="7180" y="241"/>
                    </a:lnTo>
                    <a:lnTo>
                      <a:pt x="2360" y="21"/>
                    </a:lnTo>
                    <a:cubicBezTo>
                      <a:pt x="2262" y="21"/>
                      <a:pt x="2155" y="-27"/>
                      <a:pt x="2066" y="21"/>
                    </a:cubicBezTo>
                    <a:cubicBezTo>
                      <a:pt x="1977" y="69"/>
                      <a:pt x="1890" y="138"/>
                      <a:pt x="1825" y="309"/>
                    </a:cubicBezTo>
                    <a:cubicBezTo>
                      <a:pt x="1760" y="480"/>
                      <a:pt x="1970" y="574"/>
                      <a:pt x="1676" y="1050"/>
                    </a:cubicBezTo>
                    <a:cubicBezTo>
                      <a:pt x="1512" y="2030"/>
                      <a:pt x="1186" y="3353"/>
                      <a:pt x="1039" y="4015"/>
                    </a:cubicBezTo>
                    <a:cubicBezTo>
                      <a:pt x="892" y="4677"/>
                      <a:pt x="815" y="4851"/>
                      <a:pt x="793" y="5023"/>
                    </a:cubicBezTo>
                    <a:cubicBezTo>
                      <a:pt x="771" y="5195"/>
                      <a:pt x="1477" y="5203"/>
                      <a:pt x="1772" y="5362"/>
                    </a:cubicBezTo>
                    <a:cubicBezTo>
                      <a:pt x="3307" y="5683"/>
                      <a:pt x="3291" y="5355"/>
                      <a:pt x="3242" y="5259"/>
                    </a:cubicBezTo>
                    <a:cubicBezTo>
                      <a:pt x="3193" y="5163"/>
                      <a:pt x="2066" y="5100"/>
                      <a:pt x="1477" y="4783"/>
                    </a:cubicBezTo>
                    <a:cubicBezTo>
                      <a:pt x="889" y="4307"/>
                      <a:pt x="1292" y="4440"/>
                      <a:pt x="1676" y="4462"/>
                    </a:cubicBezTo>
                    <a:cubicBezTo>
                      <a:pt x="2060" y="4484"/>
                      <a:pt x="1703" y="4602"/>
                      <a:pt x="3782" y="4916"/>
                    </a:cubicBezTo>
                    <a:cubicBezTo>
                      <a:pt x="4371" y="5233"/>
                      <a:pt x="4411" y="5652"/>
                      <a:pt x="4713" y="5894"/>
                    </a:cubicBezTo>
                    <a:cubicBezTo>
                      <a:pt x="5015" y="6136"/>
                      <a:pt x="5301" y="6211"/>
                      <a:pt x="5595" y="6370"/>
                    </a:cubicBezTo>
                    <a:cubicBezTo>
                      <a:pt x="5889" y="6370"/>
                      <a:pt x="5889" y="6211"/>
                      <a:pt x="6183" y="6370"/>
                    </a:cubicBezTo>
                    <a:cubicBezTo>
                      <a:pt x="6183" y="6370"/>
                      <a:pt x="8242" y="6529"/>
                      <a:pt x="7948" y="7005"/>
                    </a:cubicBezTo>
                    <a:cubicBezTo>
                      <a:pt x="7948" y="7481"/>
                      <a:pt x="8242" y="9069"/>
                      <a:pt x="6477" y="9704"/>
                    </a:cubicBezTo>
                    <a:cubicBezTo>
                      <a:pt x="6477" y="9704"/>
                      <a:pt x="3536" y="9704"/>
                      <a:pt x="2654" y="9545"/>
                    </a:cubicBezTo>
                    <a:cubicBezTo>
                      <a:pt x="2654" y="9545"/>
                      <a:pt x="2066" y="9227"/>
                      <a:pt x="2654" y="8751"/>
                    </a:cubicBezTo>
                    <a:cubicBezTo>
                      <a:pt x="3242" y="8116"/>
                      <a:pt x="3536" y="7799"/>
                      <a:pt x="4125" y="8116"/>
                    </a:cubicBezTo>
                    <a:cubicBezTo>
                      <a:pt x="4125" y="8116"/>
                      <a:pt x="4419" y="8116"/>
                      <a:pt x="4419" y="8275"/>
                    </a:cubicBezTo>
                    <a:cubicBezTo>
                      <a:pt x="4125" y="7799"/>
                      <a:pt x="3890" y="7511"/>
                      <a:pt x="3890" y="7511"/>
                    </a:cubicBezTo>
                    <a:cubicBezTo>
                      <a:pt x="3302" y="7511"/>
                      <a:pt x="1772" y="7640"/>
                      <a:pt x="301" y="7323"/>
                    </a:cubicBezTo>
                    <a:cubicBezTo>
                      <a:pt x="201" y="7535"/>
                      <a:pt x="100" y="7746"/>
                      <a:pt x="0" y="7958"/>
                    </a:cubicBezTo>
                    <a:lnTo>
                      <a:pt x="1772" y="7958"/>
                    </a:lnTo>
                    <a:cubicBezTo>
                      <a:pt x="2066" y="7958"/>
                      <a:pt x="2360" y="7958"/>
                      <a:pt x="2066" y="8116"/>
                    </a:cubicBezTo>
                    <a:cubicBezTo>
                      <a:pt x="2066" y="8116"/>
                      <a:pt x="2948" y="8275"/>
                      <a:pt x="2360" y="8751"/>
                    </a:cubicBezTo>
                    <a:cubicBezTo>
                      <a:pt x="2360" y="8751"/>
                      <a:pt x="2654" y="8910"/>
                      <a:pt x="2066" y="9069"/>
                    </a:cubicBezTo>
                    <a:lnTo>
                      <a:pt x="1772" y="9545"/>
                    </a:lnTo>
                    <a:cubicBezTo>
                      <a:pt x="1477" y="9704"/>
                      <a:pt x="769" y="9959"/>
                      <a:pt x="181" y="10118"/>
                    </a:cubicBezTo>
                    <a:lnTo>
                      <a:pt x="7180" y="10118"/>
                    </a:lnTo>
                    <a:lnTo>
                      <a:pt x="7360" y="9545"/>
                    </a:lnTo>
                    <a:lnTo>
                      <a:pt x="8536" y="7005"/>
                    </a:lnTo>
                    <a:cubicBezTo>
                      <a:pt x="8536" y="7005"/>
                      <a:pt x="9125" y="4465"/>
                      <a:pt x="9713" y="2561"/>
                    </a:cubicBezTo>
                    <a:cubicBezTo>
                      <a:pt x="10007" y="1608"/>
                      <a:pt x="10301" y="815"/>
                      <a:pt x="10301" y="656"/>
                    </a:cubicBezTo>
                    <a:cubicBezTo>
                      <a:pt x="10301" y="656"/>
                      <a:pt x="10301" y="497"/>
                      <a:pt x="8536" y="338"/>
                    </a:cubicBezTo>
                    <a:close/>
                  </a:path>
                </a:pathLst>
              </a:custGeom>
              <a:solidFill>
                <a:srgbClr val="8A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19">
                <a:extLst>
                  <a:ext uri="{FF2B5EF4-FFF2-40B4-BE49-F238E27FC236}">
                    <a16:creationId xmlns:a16="http://schemas.microsoft.com/office/drawing/2014/main" id="{70355F0C-3545-4A8A-855C-46AA19A55B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16801" y="2900363"/>
                <a:ext cx="71438" cy="190500"/>
              </a:xfrm>
              <a:custGeom>
                <a:avLst/>
                <a:gdLst>
                  <a:gd name="T0" fmla="*/ 12 w 19"/>
                  <a:gd name="T1" fmla="*/ 15 h 51"/>
                  <a:gd name="T2" fmla="*/ 8 w 19"/>
                  <a:gd name="T3" fmla="*/ 0 h 51"/>
                  <a:gd name="T4" fmla="*/ 4 w 19"/>
                  <a:gd name="T5" fmla="*/ 28 h 51"/>
                  <a:gd name="T6" fmla="*/ 0 w 19"/>
                  <a:gd name="T7" fmla="*/ 44 h 51"/>
                  <a:gd name="T8" fmla="*/ 7 w 19"/>
                  <a:gd name="T9" fmla="*/ 46 h 51"/>
                  <a:gd name="T10" fmla="*/ 17 w 19"/>
                  <a:gd name="T11" fmla="*/ 38 h 51"/>
                  <a:gd name="T12" fmla="*/ 12 w 19"/>
                  <a:gd name="T13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1">
                    <a:moveTo>
                      <a:pt x="12" y="15"/>
                    </a:moveTo>
                    <a:cubicBezTo>
                      <a:pt x="10" y="9"/>
                      <a:pt x="9" y="4"/>
                      <a:pt x="8" y="0"/>
                    </a:cubicBezTo>
                    <a:cubicBezTo>
                      <a:pt x="6" y="12"/>
                      <a:pt x="4" y="28"/>
                      <a:pt x="4" y="28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14" y="51"/>
                      <a:pt x="16" y="41"/>
                      <a:pt x="17" y="38"/>
                    </a:cubicBezTo>
                    <a:cubicBezTo>
                      <a:pt x="19" y="35"/>
                      <a:pt x="12" y="15"/>
                      <a:pt x="12" y="1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40">
                <a:extLst>
                  <a:ext uri="{FF2B5EF4-FFF2-40B4-BE49-F238E27FC236}">
                    <a16:creationId xmlns:a16="http://schemas.microsoft.com/office/drawing/2014/main" id="{F90BDFEB-DE49-45E4-A244-74E8C65083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32676" y="2997811"/>
                <a:ext cx="38100" cy="23812"/>
              </a:xfrm>
              <a:custGeom>
                <a:avLst/>
                <a:gdLst>
                  <a:gd name="T0" fmla="*/ 0 w 10"/>
                  <a:gd name="T1" fmla="*/ 2 h 6"/>
                  <a:gd name="T2" fmla="*/ 8 w 10"/>
                  <a:gd name="T3" fmla="*/ 4 h 6"/>
                  <a:gd name="T4" fmla="*/ 7 w 10"/>
                  <a:gd name="T5" fmla="*/ 1 h 6"/>
                  <a:gd name="T6" fmla="*/ 0 w 10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0" y="2"/>
                      <a:pt x="6" y="3"/>
                      <a:pt x="8" y="4"/>
                    </a:cubicBezTo>
                    <a:cubicBezTo>
                      <a:pt x="10" y="6"/>
                      <a:pt x="10" y="2"/>
                      <a:pt x="7" y="1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91" name="Gruppieren 94">
            <a:extLst>
              <a:ext uri="{FF2B5EF4-FFF2-40B4-BE49-F238E27FC236}">
                <a16:creationId xmlns:a16="http://schemas.microsoft.com/office/drawing/2014/main" id="{CC333A29-F58F-4EB6-A8BC-41E0855E2736}"/>
              </a:ext>
            </a:extLst>
          </p:cNvPr>
          <p:cNvGrpSpPr/>
          <p:nvPr/>
        </p:nvGrpSpPr>
        <p:grpSpPr bwMode="gray">
          <a:xfrm>
            <a:off x="7942038" y="812419"/>
            <a:ext cx="3858571" cy="2489118"/>
            <a:chOff x="3218863" y="1990810"/>
            <a:chExt cx="7612342" cy="4910630"/>
          </a:xfrm>
        </p:grpSpPr>
        <p:sp>
          <p:nvSpPr>
            <p:cNvPr id="292" name="Freeform 9">
              <a:extLst>
                <a:ext uri="{FF2B5EF4-FFF2-40B4-BE49-F238E27FC236}">
                  <a16:creationId xmlns:a16="http://schemas.microsoft.com/office/drawing/2014/main" id="{5F9F1F95-B496-4855-897A-0882AE3C0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1274" y="6235459"/>
              <a:ext cx="1711399" cy="580962"/>
            </a:xfrm>
            <a:custGeom>
              <a:avLst/>
              <a:gdLst>
                <a:gd name="T0" fmla="*/ 0 w 766"/>
                <a:gd name="T1" fmla="*/ 1 h 260"/>
                <a:gd name="T2" fmla="*/ 349 w 766"/>
                <a:gd name="T3" fmla="*/ 1 h 260"/>
                <a:gd name="T4" fmla="*/ 626 w 766"/>
                <a:gd name="T5" fmla="*/ 12 h 260"/>
                <a:gd name="T6" fmla="*/ 696 w 766"/>
                <a:gd name="T7" fmla="*/ 124 h 260"/>
                <a:gd name="T8" fmla="*/ 766 w 766"/>
                <a:gd name="T9" fmla="*/ 260 h 260"/>
                <a:gd name="T10" fmla="*/ 49 w 766"/>
                <a:gd name="T11" fmla="*/ 257 h 260"/>
                <a:gd name="T12" fmla="*/ 44 w 766"/>
                <a:gd name="T13" fmla="*/ 169 h 260"/>
                <a:gd name="T14" fmla="*/ 0 w 766"/>
                <a:gd name="T15" fmla="*/ 1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6" h="260">
                  <a:moveTo>
                    <a:pt x="0" y="1"/>
                  </a:moveTo>
                  <a:cubicBezTo>
                    <a:pt x="4" y="1"/>
                    <a:pt x="253" y="0"/>
                    <a:pt x="349" y="1"/>
                  </a:cubicBezTo>
                  <a:cubicBezTo>
                    <a:pt x="444" y="2"/>
                    <a:pt x="616" y="5"/>
                    <a:pt x="626" y="12"/>
                  </a:cubicBezTo>
                  <a:cubicBezTo>
                    <a:pt x="636" y="19"/>
                    <a:pt x="674" y="47"/>
                    <a:pt x="696" y="124"/>
                  </a:cubicBezTo>
                  <a:cubicBezTo>
                    <a:pt x="719" y="202"/>
                    <a:pt x="766" y="260"/>
                    <a:pt x="766" y="260"/>
                  </a:cubicBezTo>
                  <a:cubicBezTo>
                    <a:pt x="766" y="260"/>
                    <a:pt x="52" y="257"/>
                    <a:pt x="49" y="257"/>
                  </a:cubicBezTo>
                  <a:cubicBezTo>
                    <a:pt x="46" y="257"/>
                    <a:pt x="64" y="231"/>
                    <a:pt x="44" y="169"/>
                  </a:cubicBezTo>
                  <a:cubicBezTo>
                    <a:pt x="24" y="108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5B1CB">
                <a:lumMod val="50000"/>
              </a:srgbClr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3" name="Freeform 10">
              <a:extLst>
                <a:ext uri="{FF2B5EF4-FFF2-40B4-BE49-F238E27FC236}">
                  <a16:creationId xmlns:a16="http://schemas.microsoft.com/office/drawing/2014/main" id="{FAC043C4-3E3B-4A56-AB3A-AB9E336F8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8716" y="6421241"/>
              <a:ext cx="1320942" cy="384160"/>
            </a:xfrm>
            <a:custGeom>
              <a:avLst/>
              <a:gdLst>
                <a:gd name="T0" fmla="*/ 555 w 592"/>
                <a:gd name="T1" fmla="*/ 59 h 172"/>
                <a:gd name="T2" fmla="*/ 208 w 592"/>
                <a:gd name="T3" fmla="*/ 47 h 172"/>
                <a:gd name="T4" fmla="*/ 173 w 592"/>
                <a:gd name="T5" fmla="*/ 10 h 172"/>
                <a:gd name="T6" fmla="*/ 109 w 592"/>
                <a:gd name="T7" fmla="*/ 17 h 172"/>
                <a:gd name="T8" fmla="*/ 38 w 592"/>
                <a:gd name="T9" fmla="*/ 33 h 172"/>
                <a:gd name="T10" fmla="*/ 28 w 592"/>
                <a:gd name="T11" fmla="*/ 46 h 172"/>
                <a:gd name="T12" fmla="*/ 51 w 592"/>
                <a:gd name="T13" fmla="*/ 97 h 172"/>
                <a:gd name="T14" fmla="*/ 3 w 592"/>
                <a:gd name="T15" fmla="*/ 88 h 172"/>
                <a:gd name="T16" fmla="*/ 12 w 592"/>
                <a:gd name="T17" fmla="*/ 100 h 172"/>
                <a:gd name="T18" fmla="*/ 24 w 592"/>
                <a:gd name="T19" fmla="*/ 106 h 172"/>
                <a:gd name="T20" fmla="*/ 147 w 592"/>
                <a:gd name="T21" fmla="*/ 142 h 172"/>
                <a:gd name="T22" fmla="*/ 302 w 592"/>
                <a:gd name="T23" fmla="*/ 172 h 172"/>
                <a:gd name="T24" fmla="*/ 162 w 592"/>
                <a:gd name="T25" fmla="*/ 129 h 172"/>
                <a:gd name="T26" fmla="*/ 252 w 592"/>
                <a:gd name="T27" fmla="*/ 80 h 172"/>
                <a:gd name="T28" fmla="*/ 555 w 592"/>
                <a:gd name="T29" fmla="*/ 5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172">
                  <a:moveTo>
                    <a:pt x="555" y="59"/>
                  </a:moveTo>
                  <a:cubicBezTo>
                    <a:pt x="518" y="45"/>
                    <a:pt x="235" y="52"/>
                    <a:pt x="208" y="47"/>
                  </a:cubicBezTo>
                  <a:cubicBezTo>
                    <a:pt x="182" y="41"/>
                    <a:pt x="202" y="12"/>
                    <a:pt x="173" y="10"/>
                  </a:cubicBezTo>
                  <a:cubicBezTo>
                    <a:pt x="144" y="8"/>
                    <a:pt x="136" y="0"/>
                    <a:pt x="109" y="17"/>
                  </a:cubicBezTo>
                  <a:cubicBezTo>
                    <a:pt x="82" y="33"/>
                    <a:pt x="40" y="35"/>
                    <a:pt x="38" y="33"/>
                  </a:cubicBezTo>
                  <a:cubicBezTo>
                    <a:pt x="35" y="31"/>
                    <a:pt x="24" y="23"/>
                    <a:pt x="28" y="46"/>
                  </a:cubicBezTo>
                  <a:cubicBezTo>
                    <a:pt x="31" y="63"/>
                    <a:pt x="44" y="85"/>
                    <a:pt x="51" y="97"/>
                  </a:cubicBezTo>
                  <a:cubicBezTo>
                    <a:pt x="24" y="91"/>
                    <a:pt x="5" y="88"/>
                    <a:pt x="3" y="88"/>
                  </a:cubicBezTo>
                  <a:cubicBezTo>
                    <a:pt x="0" y="87"/>
                    <a:pt x="8" y="95"/>
                    <a:pt x="12" y="100"/>
                  </a:cubicBezTo>
                  <a:cubicBezTo>
                    <a:pt x="16" y="105"/>
                    <a:pt x="24" y="106"/>
                    <a:pt x="24" y="106"/>
                  </a:cubicBezTo>
                  <a:cubicBezTo>
                    <a:pt x="28" y="106"/>
                    <a:pt x="118" y="129"/>
                    <a:pt x="147" y="142"/>
                  </a:cubicBezTo>
                  <a:cubicBezTo>
                    <a:pt x="176" y="155"/>
                    <a:pt x="302" y="172"/>
                    <a:pt x="302" y="172"/>
                  </a:cubicBezTo>
                  <a:cubicBezTo>
                    <a:pt x="302" y="172"/>
                    <a:pt x="224" y="151"/>
                    <a:pt x="162" y="129"/>
                  </a:cubicBezTo>
                  <a:cubicBezTo>
                    <a:pt x="188" y="116"/>
                    <a:pt x="231" y="84"/>
                    <a:pt x="252" y="80"/>
                  </a:cubicBezTo>
                  <a:cubicBezTo>
                    <a:pt x="278" y="75"/>
                    <a:pt x="592" y="74"/>
                    <a:pt x="555" y="59"/>
                  </a:cubicBezTo>
                  <a:close/>
                </a:path>
              </a:pathLst>
            </a:custGeom>
            <a:solidFill>
              <a:srgbClr val="194B57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4" name="Freeform 11">
              <a:extLst>
                <a:ext uri="{FF2B5EF4-FFF2-40B4-BE49-F238E27FC236}">
                  <a16:creationId xmlns:a16="http://schemas.microsoft.com/office/drawing/2014/main" id="{2A488922-1111-4143-AA23-CBB85776D0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7255" y="4975919"/>
              <a:ext cx="4853950" cy="1867268"/>
            </a:xfrm>
            <a:custGeom>
              <a:avLst/>
              <a:gdLst>
                <a:gd name="T0" fmla="*/ 0 w 2174"/>
                <a:gd name="T1" fmla="*/ 174 h 836"/>
                <a:gd name="T2" fmla="*/ 344 w 2174"/>
                <a:gd name="T3" fmla="*/ 826 h 836"/>
                <a:gd name="T4" fmla="*/ 2168 w 2174"/>
                <a:gd name="T5" fmla="*/ 826 h 836"/>
                <a:gd name="T6" fmla="*/ 2174 w 2174"/>
                <a:gd name="T7" fmla="*/ 378 h 836"/>
                <a:gd name="T8" fmla="*/ 1486 w 2174"/>
                <a:gd name="T9" fmla="*/ 0 h 836"/>
                <a:gd name="T10" fmla="*/ 984 w 2174"/>
                <a:gd name="T11" fmla="*/ 0 h 836"/>
                <a:gd name="T12" fmla="*/ 260 w 2174"/>
                <a:gd name="T13" fmla="*/ 16 h 836"/>
                <a:gd name="T14" fmla="*/ 16 w 2174"/>
                <a:gd name="T15" fmla="*/ 30 h 836"/>
                <a:gd name="T16" fmla="*/ 0 w 2174"/>
                <a:gd name="T17" fmla="*/ 174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4" h="836">
                  <a:moveTo>
                    <a:pt x="0" y="174"/>
                  </a:moveTo>
                  <a:cubicBezTo>
                    <a:pt x="0" y="174"/>
                    <a:pt x="332" y="816"/>
                    <a:pt x="344" y="826"/>
                  </a:cubicBezTo>
                  <a:cubicBezTo>
                    <a:pt x="356" y="836"/>
                    <a:pt x="2168" y="826"/>
                    <a:pt x="2168" y="826"/>
                  </a:cubicBezTo>
                  <a:cubicBezTo>
                    <a:pt x="2174" y="378"/>
                    <a:pt x="2174" y="378"/>
                    <a:pt x="2174" y="378"/>
                  </a:cubicBezTo>
                  <a:cubicBezTo>
                    <a:pt x="1486" y="0"/>
                    <a:pt x="1486" y="0"/>
                    <a:pt x="1486" y="0"/>
                  </a:cubicBezTo>
                  <a:cubicBezTo>
                    <a:pt x="984" y="0"/>
                    <a:pt x="984" y="0"/>
                    <a:pt x="984" y="0"/>
                  </a:cubicBezTo>
                  <a:cubicBezTo>
                    <a:pt x="260" y="16"/>
                    <a:pt x="260" y="16"/>
                    <a:pt x="260" y="16"/>
                  </a:cubicBezTo>
                  <a:cubicBezTo>
                    <a:pt x="16" y="30"/>
                    <a:pt x="16" y="30"/>
                    <a:pt x="16" y="30"/>
                  </a:cubicBezTo>
                  <a:lnTo>
                    <a:pt x="0" y="174"/>
                  </a:lnTo>
                  <a:close/>
                </a:path>
              </a:pathLst>
            </a:custGeom>
            <a:solidFill>
              <a:srgbClr val="DDDDDD"/>
            </a:solidFill>
            <a:ln w="952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5" name="Ellipse 30">
              <a:extLst>
                <a:ext uri="{FF2B5EF4-FFF2-40B4-BE49-F238E27FC236}">
                  <a16:creationId xmlns:a16="http://schemas.microsoft.com/office/drawing/2014/main" id="{BD0E73FB-9719-4D6E-956D-438FCDF067EE}"/>
                </a:ext>
              </a:extLst>
            </p:cNvPr>
            <p:cNvSpPr/>
            <p:nvPr/>
          </p:nvSpPr>
          <p:spPr bwMode="gray">
            <a:xfrm>
              <a:off x="6414598" y="5197637"/>
              <a:ext cx="1291722" cy="453984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6" name="Ellipse 30">
              <a:extLst>
                <a:ext uri="{FF2B5EF4-FFF2-40B4-BE49-F238E27FC236}">
                  <a16:creationId xmlns:a16="http://schemas.microsoft.com/office/drawing/2014/main" id="{635E74E6-E578-4909-B746-1CE362907872}"/>
                </a:ext>
              </a:extLst>
            </p:cNvPr>
            <p:cNvSpPr/>
            <p:nvPr/>
          </p:nvSpPr>
          <p:spPr bwMode="gray">
            <a:xfrm>
              <a:off x="5723772" y="5249083"/>
              <a:ext cx="1243633" cy="76997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7" name="Freeform 6">
              <a:extLst>
                <a:ext uri="{FF2B5EF4-FFF2-40B4-BE49-F238E27FC236}">
                  <a16:creationId xmlns:a16="http://schemas.microsoft.com/office/drawing/2014/main" id="{C18D893D-9675-4A0F-8B68-D37EF3BE0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8863" y="5301825"/>
              <a:ext cx="836019" cy="1599614"/>
            </a:xfrm>
            <a:custGeom>
              <a:avLst/>
              <a:gdLst>
                <a:gd name="T0" fmla="*/ 326 w 374"/>
                <a:gd name="T1" fmla="*/ 0 h 686"/>
                <a:gd name="T2" fmla="*/ 94 w 374"/>
                <a:gd name="T3" fmla="*/ 20 h 686"/>
                <a:gd name="T4" fmla="*/ 0 w 374"/>
                <a:gd name="T5" fmla="*/ 56 h 686"/>
                <a:gd name="T6" fmla="*/ 12 w 374"/>
                <a:gd name="T7" fmla="*/ 366 h 686"/>
                <a:gd name="T8" fmla="*/ 42 w 374"/>
                <a:gd name="T9" fmla="*/ 686 h 686"/>
                <a:gd name="T10" fmla="*/ 150 w 374"/>
                <a:gd name="T11" fmla="*/ 646 h 686"/>
                <a:gd name="T12" fmla="*/ 332 w 374"/>
                <a:gd name="T13" fmla="*/ 388 h 686"/>
                <a:gd name="T14" fmla="*/ 326 w 374"/>
                <a:gd name="T15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4" h="686">
                  <a:moveTo>
                    <a:pt x="326" y="0"/>
                  </a:moveTo>
                  <a:cubicBezTo>
                    <a:pt x="326" y="0"/>
                    <a:pt x="120" y="14"/>
                    <a:pt x="94" y="20"/>
                  </a:cubicBezTo>
                  <a:cubicBezTo>
                    <a:pt x="68" y="26"/>
                    <a:pt x="0" y="46"/>
                    <a:pt x="0" y="56"/>
                  </a:cubicBezTo>
                  <a:cubicBezTo>
                    <a:pt x="0" y="66"/>
                    <a:pt x="12" y="350"/>
                    <a:pt x="12" y="366"/>
                  </a:cubicBezTo>
                  <a:cubicBezTo>
                    <a:pt x="12" y="382"/>
                    <a:pt x="42" y="686"/>
                    <a:pt x="42" y="686"/>
                  </a:cubicBezTo>
                  <a:cubicBezTo>
                    <a:pt x="42" y="686"/>
                    <a:pt x="124" y="664"/>
                    <a:pt x="150" y="646"/>
                  </a:cubicBezTo>
                  <a:cubicBezTo>
                    <a:pt x="176" y="628"/>
                    <a:pt x="290" y="442"/>
                    <a:pt x="332" y="388"/>
                  </a:cubicBezTo>
                  <a:cubicBezTo>
                    <a:pt x="374" y="334"/>
                    <a:pt x="326" y="0"/>
                    <a:pt x="326" y="0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lumOff val="35000"/>
              </a:sysClr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8" name="Freeform 7">
              <a:extLst>
                <a:ext uri="{FF2B5EF4-FFF2-40B4-BE49-F238E27FC236}">
                  <a16:creationId xmlns:a16="http://schemas.microsoft.com/office/drawing/2014/main" id="{9E348CC8-0586-42D1-A9A2-8698ABD77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9197" y="5394716"/>
              <a:ext cx="201526" cy="656535"/>
            </a:xfrm>
            <a:custGeom>
              <a:avLst/>
              <a:gdLst>
                <a:gd name="T0" fmla="*/ 0 w 90"/>
                <a:gd name="T1" fmla="*/ 0 h 294"/>
                <a:gd name="T2" fmla="*/ 70 w 90"/>
                <a:gd name="T3" fmla="*/ 174 h 294"/>
                <a:gd name="T4" fmla="*/ 86 w 90"/>
                <a:gd name="T5" fmla="*/ 248 h 294"/>
                <a:gd name="T6" fmla="*/ 56 w 90"/>
                <a:gd name="T7" fmla="*/ 60 h 294"/>
                <a:gd name="T8" fmla="*/ 0 w 90"/>
                <a:gd name="T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94">
                  <a:moveTo>
                    <a:pt x="0" y="0"/>
                  </a:moveTo>
                  <a:cubicBezTo>
                    <a:pt x="6" y="8"/>
                    <a:pt x="66" y="116"/>
                    <a:pt x="70" y="174"/>
                  </a:cubicBezTo>
                  <a:cubicBezTo>
                    <a:pt x="74" y="232"/>
                    <a:pt x="90" y="294"/>
                    <a:pt x="86" y="248"/>
                  </a:cubicBezTo>
                  <a:cubicBezTo>
                    <a:pt x="82" y="202"/>
                    <a:pt x="78" y="88"/>
                    <a:pt x="56" y="60"/>
                  </a:cubicBezTo>
                  <a:cubicBezTo>
                    <a:pt x="34" y="3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F4F4F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9" name="Freeform 8">
              <a:extLst>
                <a:ext uri="{FF2B5EF4-FFF2-40B4-BE49-F238E27FC236}">
                  <a16:creationId xmlns:a16="http://schemas.microsoft.com/office/drawing/2014/main" id="{5AAFBFFF-D8C7-4F59-A4AB-E837FB9A14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5629" y="5338037"/>
              <a:ext cx="617174" cy="1120990"/>
            </a:xfrm>
            <a:custGeom>
              <a:avLst/>
              <a:gdLst>
                <a:gd name="T0" fmla="*/ 32 w 276"/>
                <a:gd name="T1" fmla="*/ 36 h 502"/>
                <a:gd name="T2" fmla="*/ 14 w 276"/>
                <a:gd name="T3" fmla="*/ 178 h 502"/>
                <a:gd name="T4" fmla="*/ 34 w 276"/>
                <a:gd name="T5" fmla="*/ 502 h 502"/>
                <a:gd name="T6" fmla="*/ 28 w 276"/>
                <a:gd name="T7" fmla="*/ 100 h 502"/>
                <a:gd name="T8" fmla="*/ 84 w 276"/>
                <a:gd name="T9" fmla="*/ 22 h 502"/>
                <a:gd name="T10" fmla="*/ 276 w 276"/>
                <a:gd name="T11" fmla="*/ 6 h 502"/>
                <a:gd name="T12" fmla="*/ 112 w 276"/>
                <a:gd name="T13" fmla="*/ 4 h 502"/>
                <a:gd name="T14" fmla="*/ 32 w 276"/>
                <a:gd name="T15" fmla="*/ 36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6" h="502">
                  <a:moveTo>
                    <a:pt x="32" y="36"/>
                  </a:moveTo>
                  <a:cubicBezTo>
                    <a:pt x="24" y="38"/>
                    <a:pt x="0" y="80"/>
                    <a:pt x="14" y="178"/>
                  </a:cubicBezTo>
                  <a:cubicBezTo>
                    <a:pt x="28" y="276"/>
                    <a:pt x="34" y="502"/>
                    <a:pt x="34" y="502"/>
                  </a:cubicBezTo>
                  <a:cubicBezTo>
                    <a:pt x="34" y="502"/>
                    <a:pt x="24" y="128"/>
                    <a:pt x="28" y="100"/>
                  </a:cubicBezTo>
                  <a:cubicBezTo>
                    <a:pt x="32" y="72"/>
                    <a:pt x="64" y="28"/>
                    <a:pt x="84" y="22"/>
                  </a:cubicBezTo>
                  <a:cubicBezTo>
                    <a:pt x="104" y="16"/>
                    <a:pt x="276" y="6"/>
                    <a:pt x="276" y="6"/>
                  </a:cubicBezTo>
                  <a:cubicBezTo>
                    <a:pt x="276" y="6"/>
                    <a:pt x="148" y="0"/>
                    <a:pt x="112" y="4"/>
                  </a:cubicBezTo>
                  <a:cubicBezTo>
                    <a:pt x="76" y="8"/>
                    <a:pt x="32" y="36"/>
                    <a:pt x="32" y="36"/>
                  </a:cubicBezTo>
                  <a:close/>
                </a:path>
              </a:pathLst>
            </a:custGeom>
            <a:solidFill>
              <a:srgbClr val="4F4F4F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300" name="Gruppieren 103">
              <a:extLst>
                <a:ext uri="{FF2B5EF4-FFF2-40B4-BE49-F238E27FC236}">
                  <a16:creationId xmlns:a16="http://schemas.microsoft.com/office/drawing/2014/main" id="{2ABDB64E-2664-409B-A27B-04DEEB718DDF}"/>
                </a:ext>
              </a:extLst>
            </p:cNvPr>
            <p:cNvGrpSpPr/>
            <p:nvPr/>
          </p:nvGrpSpPr>
          <p:grpSpPr bwMode="gray">
            <a:xfrm>
              <a:off x="7730848" y="4812026"/>
              <a:ext cx="2437209" cy="1912925"/>
              <a:chOff x="7843735" y="4860199"/>
              <a:chExt cx="2437209" cy="1912925"/>
            </a:xfrm>
            <a:effectLst/>
          </p:grpSpPr>
          <p:sp>
            <p:nvSpPr>
              <p:cNvPr id="371" name="Freeform 19">
                <a:extLst>
                  <a:ext uri="{FF2B5EF4-FFF2-40B4-BE49-F238E27FC236}">
                    <a16:creationId xmlns:a16="http://schemas.microsoft.com/office/drawing/2014/main" id="{51B2497F-F82C-4A63-9D32-41BF71A098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43735" y="4860199"/>
                <a:ext cx="2437209" cy="1912925"/>
              </a:xfrm>
              <a:custGeom>
                <a:avLst/>
                <a:gdLst>
                  <a:gd name="T0" fmla="*/ 12 w 1092"/>
                  <a:gd name="T1" fmla="*/ 541 h 856"/>
                  <a:gd name="T2" fmla="*/ 277 w 1092"/>
                  <a:gd name="T3" fmla="*/ 540 h 856"/>
                  <a:gd name="T4" fmla="*/ 660 w 1092"/>
                  <a:gd name="T5" fmla="*/ 554 h 856"/>
                  <a:gd name="T6" fmla="*/ 686 w 1092"/>
                  <a:gd name="T7" fmla="*/ 547 h 856"/>
                  <a:gd name="T8" fmla="*/ 932 w 1092"/>
                  <a:gd name="T9" fmla="*/ 2 h 856"/>
                  <a:gd name="T10" fmla="*/ 1081 w 1092"/>
                  <a:gd name="T11" fmla="*/ 170 h 856"/>
                  <a:gd name="T12" fmla="*/ 1038 w 1092"/>
                  <a:gd name="T13" fmla="*/ 290 h 856"/>
                  <a:gd name="T14" fmla="*/ 812 w 1092"/>
                  <a:gd name="T15" fmla="*/ 776 h 856"/>
                  <a:gd name="T16" fmla="*/ 764 w 1092"/>
                  <a:gd name="T17" fmla="*/ 848 h 856"/>
                  <a:gd name="T18" fmla="*/ 634 w 1092"/>
                  <a:gd name="T19" fmla="*/ 845 h 856"/>
                  <a:gd name="T20" fmla="*/ 18 w 1092"/>
                  <a:gd name="T21" fmla="*/ 827 h 856"/>
                  <a:gd name="T22" fmla="*/ 12 w 1092"/>
                  <a:gd name="T23" fmla="*/ 541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2" h="856">
                    <a:moveTo>
                      <a:pt x="12" y="541"/>
                    </a:moveTo>
                    <a:cubicBezTo>
                      <a:pt x="24" y="527"/>
                      <a:pt x="277" y="540"/>
                      <a:pt x="277" y="540"/>
                    </a:cubicBezTo>
                    <a:cubicBezTo>
                      <a:pt x="277" y="540"/>
                      <a:pt x="652" y="547"/>
                      <a:pt x="660" y="554"/>
                    </a:cubicBezTo>
                    <a:cubicBezTo>
                      <a:pt x="668" y="562"/>
                      <a:pt x="684" y="562"/>
                      <a:pt x="686" y="547"/>
                    </a:cubicBezTo>
                    <a:cubicBezTo>
                      <a:pt x="689" y="532"/>
                      <a:pt x="930" y="5"/>
                      <a:pt x="932" y="2"/>
                    </a:cubicBezTo>
                    <a:cubicBezTo>
                      <a:pt x="935" y="0"/>
                      <a:pt x="1092" y="122"/>
                      <a:pt x="1081" y="170"/>
                    </a:cubicBezTo>
                    <a:cubicBezTo>
                      <a:pt x="1070" y="218"/>
                      <a:pt x="1038" y="290"/>
                      <a:pt x="1038" y="290"/>
                    </a:cubicBezTo>
                    <a:cubicBezTo>
                      <a:pt x="812" y="776"/>
                      <a:pt x="812" y="776"/>
                      <a:pt x="812" y="776"/>
                    </a:cubicBezTo>
                    <a:cubicBezTo>
                      <a:pt x="812" y="776"/>
                      <a:pt x="780" y="856"/>
                      <a:pt x="764" y="848"/>
                    </a:cubicBezTo>
                    <a:cubicBezTo>
                      <a:pt x="748" y="840"/>
                      <a:pt x="634" y="845"/>
                      <a:pt x="634" y="845"/>
                    </a:cubicBezTo>
                    <a:cubicBezTo>
                      <a:pt x="18" y="827"/>
                      <a:pt x="18" y="827"/>
                      <a:pt x="18" y="827"/>
                    </a:cubicBezTo>
                    <a:cubicBezTo>
                      <a:pt x="18" y="827"/>
                      <a:pt x="0" y="555"/>
                      <a:pt x="12" y="541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grpSp>
            <p:nvGrpSpPr>
              <p:cNvPr id="372" name="Gruppieren 267">
                <a:extLst>
                  <a:ext uri="{FF2B5EF4-FFF2-40B4-BE49-F238E27FC236}">
                    <a16:creationId xmlns:a16="http://schemas.microsoft.com/office/drawing/2014/main" id="{7A5B9E8B-FA40-40DA-B00B-752BAE1BC710}"/>
                  </a:ext>
                </a:extLst>
              </p:cNvPr>
              <p:cNvGrpSpPr/>
              <p:nvPr/>
            </p:nvGrpSpPr>
            <p:grpSpPr bwMode="gray">
              <a:xfrm>
                <a:off x="7870501" y="4866497"/>
                <a:ext cx="2396274" cy="1876713"/>
                <a:chOff x="5300663" y="4605338"/>
                <a:chExt cx="2416175" cy="1892299"/>
              </a:xfrm>
              <a:effectLst/>
            </p:grpSpPr>
            <p:sp>
              <p:nvSpPr>
                <p:cNvPr id="373" name="Freeform 20">
                  <a:extLst>
                    <a:ext uri="{FF2B5EF4-FFF2-40B4-BE49-F238E27FC236}">
                      <a16:creationId xmlns:a16="http://schemas.microsoft.com/office/drawing/2014/main" id="{5BA8222F-B465-4B83-8591-A6FB254B9B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73688" y="5989638"/>
                  <a:ext cx="525462" cy="174625"/>
                </a:xfrm>
                <a:custGeom>
                  <a:avLst/>
                  <a:gdLst>
                    <a:gd name="T0" fmla="*/ 0 w 233"/>
                    <a:gd name="T1" fmla="*/ 0 h 78"/>
                    <a:gd name="T2" fmla="*/ 227 w 233"/>
                    <a:gd name="T3" fmla="*/ 3 h 78"/>
                    <a:gd name="T4" fmla="*/ 233 w 233"/>
                    <a:gd name="T5" fmla="*/ 78 h 78"/>
                    <a:gd name="T6" fmla="*/ 152 w 233"/>
                    <a:gd name="T7" fmla="*/ 23 h 78"/>
                    <a:gd name="T8" fmla="*/ 0 w 233"/>
                    <a:gd name="T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3" h="78">
                      <a:moveTo>
                        <a:pt x="0" y="0"/>
                      </a:moveTo>
                      <a:cubicBezTo>
                        <a:pt x="227" y="3"/>
                        <a:pt x="227" y="3"/>
                        <a:pt x="227" y="3"/>
                      </a:cubicBezTo>
                      <a:cubicBezTo>
                        <a:pt x="233" y="78"/>
                        <a:pt x="233" y="78"/>
                        <a:pt x="233" y="78"/>
                      </a:cubicBezTo>
                      <a:cubicBezTo>
                        <a:pt x="233" y="78"/>
                        <a:pt x="177" y="27"/>
                        <a:pt x="152" y="23"/>
                      </a:cubicBezTo>
                      <a:cubicBezTo>
                        <a:pt x="127" y="19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4" name="Freeform 21">
                  <a:extLst>
                    <a:ext uri="{FF2B5EF4-FFF2-40B4-BE49-F238E27FC236}">
                      <a16:creationId xmlns:a16="http://schemas.microsoft.com/office/drawing/2014/main" id="{8EDB5645-EECC-4616-B066-194ACDCEA0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9413" y="4605338"/>
                  <a:ext cx="987425" cy="1860550"/>
                </a:xfrm>
                <a:custGeom>
                  <a:avLst/>
                  <a:gdLst>
                    <a:gd name="T0" fmla="*/ 23 w 438"/>
                    <a:gd name="T1" fmla="*/ 578 h 826"/>
                    <a:gd name="T2" fmla="*/ 0 w 438"/>
                    <a:gd name="T3" fmla="*/ 596 h 826"/>
                    <a:gd name="T4" fmla="*/ 60 w 438"/>
                    <a:gd name="T5" fmla="*/ 761 h 826"/>
                    <a:gd name="T6" fmla="*/ 99 w 438"/>
                    <a:gd name="T7" fmla="*/ 760 h 826"/>
                    <a:gd name="T8" fmla="*/ 104 w 438"/>
                    <a:gd name="T9" fmla="*/ 825 h 826"/>
                    <a:gd name="T10" fmla="*/ 164 w 438"/>
                    <a:gd name="T11" fmla="*/ 752 h 826"/>
                    <a:gd name="T12" fmla="*/ 426 w 438"/>
                    <a:gd name="T13" fmla="*/ 150 h 826"/>
                    <a:gd name="T14" fmla="*/ 288 w 438"/>
                    <a:gd name="T15" fmla="*/ 5 h 826"/>
                    <a:gd name="T16" fmla="*/ 282 w 438"/>
                    <a:gd name="T17" fmla="*/ 0 h 826"/>
                    <a:gd name="T18" fmla="*/ 44 w 438"/>
                    <a:gd name="T19" fmla="*/ 530 h 826"/>
                    <a:gd name="T20" fmla="*/ 39 w 438"/>
                    <a:gd name="T21" fmla="*/ 544 h 826"/>
                    <a:gd name="T22" fmla="*/ 22 w 438"/>
                    <a:gd name="T23" fmla="*/ 556 h 826"/>
                    <a:gd name="T24" fmla="*/ 23 w 438"/>
                    <a:gd name="T25" fmla="*/ 578 h 8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38" h="826">
                      <a:moveTo>
                        <a:pt x="23" y="578"/>
                      </a:moveTo>
                      <a:cubicBezTo>
                        <a:pt x="23" y="578"/>
                        <a:pt x="0" y="588"/>
                        <a:pt x="0" y="596"/>
                      </a:cubicBezTo>
                      <a:cubicBezTo>
                        <a:pt x="0" y="604"/>
                        <a:pt x="60" y="761"/>
                        <a:pt x="60" y="761"/>
                      </a:cubicBezTo>
                      <a:cubicBezTo>
                        <a:pt x="60" y="761"/>
                        <a:pt x="93" y="748"/>
                        <a:pt x="99" y="760"/>
                      </a:cubicBezTo>
                      <a:cubicBezTo>
                        <a:pt x="105" y="772"/>
                        <a:pt x="101" y="824"/>
                        <a:pt x="104" y="825"/>
                      </a:cubicBezTo>
                      <a:cubicBezTo>
                        <a:pt x="107" y="826"/>
                        <a:pt x="164" y="752"/>
                        <a:pt x="164" y="752"/>
                      </a:cubicBezTo>
                      <a:cubicBezTo>
                        <a:pt x="164" y="752"/>
                        <a:pt x="438" y="166"/>
                        <a:pt x="426" y="150"/>
                      </a:cubicBezTo>
                      <a:cubicBezTo>
                        <a:pt x="414" y="134"/>
                        <a:pt x="288" y="5"/>
                        <a:pt x="288" y="5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44" y="530"/>
                        <a:pt x="44" y="530"/>
                        <a:pt x="44" y="530"/>
                      </a:cubicBezTo>
                      <a:cubicBezTo>
                        <a:pt x="44" y="530"/>
                        <a:pt x="46" y="535"/>
                        <a:pt x="39" y="544"/>
                      </a:cubicBezTo>
                      <a:cubicBezTo>
                        <a:pt x="33" y="553"/>
                        <a:pt x="22" y="556"/>
                        <a:pt x="22" y="556"/>
                      </a:cubicBezTo>
                      <a:lnTo>
                        <a:pt x="23" y="578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5" name="Freeform 22">
                  <a:extLst>
                    <a:ext uri="{FF2B5EF4-FFF2-40B4-BE49-F238E27FC236}">
                      <a16:creationId xmlns:a16="http://schemas.microsoft.com/office/drawing/2014/main" id="{0A68DFCB-31F5-42CC-A97C-B56A43757B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45300" y="4702175"/>
                  <a:ext cx="785812" cy="1562100"/>
                </a:xfrm>
                <a:custGeom>
                  <a:avLst/>
                  <a:gdLst>
                    <a:gd name="T0" fmla="*/ 313 w 495"/>
                    <a:gd name="T1" fmla="*/ 0 h 984"/>
                    <a:gd name="T2" fmla="*/ 495 w 495"/>
                    <a:gd name="T3" fmla="*/ 215 h 984"/>
                    <a:gd name="T4" fmla="*/ 139 w 495"/>
                    <a:gd name="T5" fmla="*/ 984 h 984"/>
                    <a:gd name="T6" fmla="*/ 0 w 495"/>
                    <a:gd name="T7" fmla="*/ 683 h 984"/>
                    <a:gd name="T8" fmla="*/ 313 w 495"/>
                    <a:gd name="T9" fmla="*/ 0 h 9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5" h="984">
                      <a:moveTo>
                        <a:pt x="313" y="0"/>
                      </a:moveTo>
                      <a:lnTo>
                        <a:pt x="495" y="215"/>
                      </a:lnTo>
                      <a:lnTo>
                        <a:pt x="139" y="984"/>
                      </a:lnTo>
                      <a:lnTo>
                        <a:pt x="0" y="683"/>
                      </a:lnTo>
                      <a:lnTo>
                        <a:pt x="313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6" name="Freeform 23">
                  <a:extLst>
                    <a:ext uri="{FF2B5EF4-FFF2-40B4-BE49-F238E27FC236}">
                      <a16:creationId xmlns:a16="http://schemas.microsoft.com/office/drawing/2014/main" id="{8B77F17F-080E-4FFC-A167-B24E4B68B5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32488" y="5851525"/>
                  <a:ext cx="227012" cy="511175"/>
                </a:xfrm>
                <a:custGeom>
                  <a:avLst/>
                  <a:gdLst>
                    <a:gd name="T0" fmla="*/ 0 w 101"/>
                    <a:gd name="T1" fmla="*/ 6 h 227"/>
                    <a:gd name="T2" fmla="*/ 46 w 101"/>
                    <a:gd name="T3" fmla="*/ 7 h 227"/>
                    <a:gd name="T4" fmla="*/ 83 w 101"/>
                    <a:gd name="T5" fmla="*/ 169 h 227"/>
                    <a:gd name="T6" fmla="*/ 58 w 101"/>
                    <a:gd name="T7" fmla="*/ 177 h 227"/>
                    <a:gd name="T8" fmla="*/ 75 w 101"/>
                    <a:gd name="T9" fmla="*/ 187 h 227"/>
                    <a:gd name="T10" fmla="*/ 85 w 101"/>
                    <a:gd name="T11" fmla="*/ 206 h 227"/>
                    <a:gd name="T12" fmla="*/ 63 w 101"/>
                    <a:gd name="T13" fmla="*/ 221 h 227"/>
                    <a:gd name="T14" fmla="*/ 31 w 101"/>
                    <a:gd name="T15" fmla="*/ 219 h 227"/>
                    <a:gd name="T16" fmla="*/ 0 w 101"/>
                    <a:gd name="T17" fmla="*/ 6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27">
                      <a:moveTo>
                        <a:pt x="0" y="6"/>
                      </a:moveTo>
                      <a:cubicBezTo>
                        <a:pt x="1" y="6"/>
                        <a:pt x="40" y="0"/>
                        <a:pt x="46" y="7"/>
                      </a:cubicBezTo>
                      <a:cubicBezTo>
                        <a:pt x="52" y="14"/>
                        <a:pt x="85" y="168"/>
                        <a:pt x="83" y="169"/>
                      </a:cubicBezTo>
                      <a:cubicBezTo>
                        <a:pt x="82" y="171"/>
                        <a:pt x="60" y="171"/>
                        <a:pt x="58" y="177"/>
                      </a:cubicBezTo>
                      <a:cubicBezTo>
                        <a:pt x="57" y="183"/>
                        <a:pt x="66" y="184"/>
                        <a:pt x="75" y="187"/>
                      </a:cubicBezTo>
                      <a:cubicBezTo>
                        <a:pt x="85" y="190"/>
                        <a:pt x="101" y="203"/>
                        <a:pt x="85" y="206"/>
                      </a:cubicBezTo>
                      <a:cubicBezTo>
                        <a:pt x="68" y="208"/>
                        <a:pt x="63" y="218"/>
                        <a:pt x="63" y="221"/>
                      </a:cubicBezTo>
                      <a:cubicBezTo>
                        <a:pt x="63" y="223"/>
                        <a:pt x="31" y="227"/>
                        <a:pt x="31" y="219"/>
                      </a:cubicBezTo>
                      <a:cubicBezTo>
                        <a:pt x="31" y="212"/>
                        <a:pt x="0" y="6"/>
                        <a:pt x="0" y="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7" name="Freeform 24">
                  <a:extLst>
                    <a:ext uri="{FF2B5EF4-FFF2-40B4-BE49-F238E27FC236}">
                      <a16:creationId xmlns:a16="http://schemas.microsoft.com/office/drawing/2014/main" id="{848A1766-FE49-4930-8C6A-91426FAD497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81713" y="5861050"/>
                  <a:ext cx="188912" cy="485775"/>
                </a:xfrm>
                <a:custGeom>
                  <a:avLst/>
                  <a:gdLst>
                    <a:gd name="T0" fmla="*/ 0 w 84"/>
                    <a:gd name="T1" fmla="*/ 8 h 216"/>
                    <a:gd name="T2" fmla="*/ 37 w 84"/>
                    <a:gd name="T3" fmla="*/ 204 h 216"/>
                    <a:gd name="T4" fmla="*/ 76 w 84"/>
                    <a:gd name="T5" fmla="*/ 214 h 216"/>
                    <a:gd name="T6" fmla="*/ 40 w 84"/>
                    <a:gd name="T7" fmla="*/ 6 h 216"/>
                    <a:gd name="T8" fmla="*/ 19 w 84"/>
                    <a:gd name="T9" fmla="*/ 0 h 216"/>
                    <a:gd name="T10" fmla="*/ 0 w 84"/>
                    <a:gd name="T11" fmla="*/ 8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4" h="216">
                      <a:moveTo>
                        <a:pt x="0" y="8"/>
                      </a:moveTo>
                      <a:cubicBezTo>
                        <a:pt x="0" y="8"/>
                        <a:pt x="32" y="195"/>
                        <a:pt x="37" y="204"/>
                      </a:cubicBezTo>
                      <a:cubicBezTo>
                        <a:pt x="41" y="213"/>
                        <a:pt x="68" y="216"/>
                        <a:pt x="76" y="214"/>
                      </a:cubicBezTo>
                      <a:cubicBezTo>
                        <a:pt x="84" y="211"/>
                        <a:pt x="42" y="7"/>
                        <a:pt x="40" y="6"/>
                      </a:cubicBezTo>
                      <a:cubicBezTo>
                        <a:pt x="38" y="4"/>
                        <a:pt x="26" y="0"/>
                        <a:pt x="19" y="0"/>
                      </a:cubicBezTo>
                      <a:cubicBezTo>
                        <a:pt x="12" y="1"/>
                        <a:pt x="0" y="8"/>
                        <a:pt x="0" y="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8" name="Freeform 25">
                  <a:extLst>
                    <a:ext uri="{FF2B5EF4-FFF2-40B4-BE49-F238E27FC236}">
                      <a16:creationId xmlns:a16="http://schemas.microsoft.com/office/drawing/2014/main" id="{4FA04F3F-F197-4C57-A90B-66275969EF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07125" y="5851525"/>
                  <a:ext cx="349250" cy="512762"/>
                </a:xfrm>
                <a:custGeom>
                  <a:avLst/>
                  <a:gdLst>
                    <a:gd name="T0" fmla="*/ 0 w 155"/>
                    <a:gd name="T1" fmla="*/ 14 h 228"/>
                    <a:gd name="T2" fmla="*/ 34 w 155"/>
                    <a:gd name="T3" fmla="*/ 13 h 228"/>
                    <a:gd name="T4" fmla="*/ 48 w 155"/>
                    <a:gd name="T5" fmla="*/ 57 h 228"/>
                    <a:gd name="T6" fmla="*/ 91 w 155"/>
                    <a:gd name="T7" fmla="*/ 213 h 228"/>
                    <a:gd name="T8" fmla="*/ 104 w 155"/>
                    <a:gd name="T9" fmla="*/ 216 h 228"/>
                    <a:gd name="T10" fmla="*/ 50 w 155"/>
                    <a:gd name="T11" fmla="*/ 12 h 228"/>
                    <a:gd name="T12" fmla="*/ 84 w 155"/>
                    <a:gd name="T13" fmla="*/ 6 h 228"/>
                    <a:gd name="T14" fmla="*/ 114 w 155"/>
                    <a:gd name="T15" fmla="*/ 80 h 228"/>
                    <a:gd name="T16" fmla="*/ 155 w 155"/>
                    <a:gd name="T17" fmla="*/ 224 h 228"/>
                    <a:gd name="T18" fmla="*/ 46 w 155"/>
                    <a:gd name="T19" fmla="*/ 228 h 228"/>
                    <a:gd name="T20" fmla="*/ 0 w 155"/>
                    <a:gd name="T21" fmla="*/ 14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55" h="228">
                      <a:moveTo>
                        <a:pt x="0" y="14"/>
                      </a:moveTo>
                      <a:cubicBezTo>
                        <a:pt x="0" y="14"/>
                        <a:pt x="25" y="10"/>
                        <a:pt x="34" y="13"/>
                      </a:cubicBezTo>
                      <a:cubicBezTo>
                        <a:pt x="43" y="16"/>
                        <a:pt x="45" y="48"/>
                        <a:pt x="48" y="57"/>
                      </a:cubicBezTo>
                      <a:cubicBezTo>
                        <a:pt x="52" y="67"/>
                        <a:pt x="91" y="211"/>
                        <a:pt x="91" y="213"/>
                      </a:cubicBezTo>
                      <a:cubicBezTo>
                        <a:pt x="91" y="214"/>
                        <a:pt x="104" y="216"/>
                        <a:pt x="104" y="216"/>
                      </a:cubicBezTo>
                      <a:cubicBezTo>
                        <a:pt x="104" y="216"/>
                        <a:pt x="46" y="17"/>
                        <a:pt x="50" y="12"/>
                      </a:cubicBezTo>
                      <a:cubicBezTo>
                        <a:pt x="54" y="6"/>
                        <a:pt x="74" y="0"/>
                        <a:pt x="84" y="6"/>
                      </a:cubicBezTo>
                      <a:cubicBezTo>
                        <a:pt x="93" y="13"/>
                        <a:pt x="113" y="74"/>
                        <a:pt x="114" y="80"/>
                      </a:cubicBezTo>
                      <a:cubicBezTo>
                        <a:pt x="115" y="87"/>
                        <a:pt x="155" y="224"/>
                        <a:pt x="155" y="224"/>
                      </a:cubicBezTo>
                      <a:cubicBezTo>
                        <a:pt x="46" y="228"/>
                        <a:pt x="46" y="228"/>
                        <a:pt x="46" y="228"/>
                      </a:cubicBezTo>
                      <a:lnTo>
                        <a:pt x="0" y="1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9" name="Freeform 26">
                  <a:extLst>
                    <a:ext uri="{FF2B5EF4-FFF2-40B4-BE49-F238E27FC236}">
                      <a16:creationId xmlns:a16="http://schemas.microsoft.com/office/drawing/2014/main" id="{96DC81D1-18AB-4A75-9092-FB7E7CA8A15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46838" y="5862638"/>
                  <a:ext cx="250825" cy="501650"/>
                </a:xfrm>
                <a:custGeom>
                  <a:avLst/>
                  <a:gdLst>
                    <a:gd name="T0" fmla="*/ 0 w 112"/>
                    <a:gd name="T1" fmla="*/ 16 h 223"/>
                    <a:gd name="T2" fmla="*/ 11 w 112"/>
                    <a:gd name="T3" fmla="*/ 1 h 223"/>
                    <a:gd name="T4" fmla="*/ 44 w 112"/>
                    <a:gd name="T5" fmla="*/ 18 h 223"/>
                    <a:gd name="T6" fmla="*/ 112 w 112"/>
                    <a:gd name="T7" fmla="*/ 223 h 223"/>
                    <a:gd name="T8" fmla="*/ 63 w 112"/>
                    <a:gd name="T9" fmla="*/ 222 h 223"/>
                    <a:gd name="T10" fmla="*/ 0 w 112"/>
                    <a:gd name="T11" fmla="*/ 16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2" h="223">
                      <a:moveTo>
                        <a:pt x="0" y="16"/>
                      </a:moveTo>
                      <a:cubicBezTo>
                        <a:pt x="0" y="16"/>
                        <a:pt x="1" y="0"/>
                        <a:pt x="11" y="1"/>
                      </a:cubicBezTo>
                      <a:cubicBezTo>
                        <a:pt x="21" y="2"/>
                        <a:pt x="41" y="11"/>
                        <a:pt x="44" y="18"/>
                      </a:cubicBezTo>
                      <a:cubicBezTo>
                        <a:pt x="46" y="26"/>
                        <a:pt x="112" y="223"/>
                        <a:pt x="112" y="223"/>
                      </a:cubicBezTo>
                      <a:cubicBezTo>
                        <a:pt x="63" y="222"/>
                        <a:pt x="63" y="222"/>
                        <a:pt x="63" y="222"/>
                      </a:cubicBez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0" name="Freeform 27">
                  <a:extLst>
                    <a:ext uri="{FF2B5EF4-FFF2-40B4-BE49-F238E27FC236}">
                      <a16:creationId xmlns:a16="http://schemas.microsoft.com/office/drawing/2014/main" id="{D6F0571A-DFB9-4D37-9E6E-B9A6350C0A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50025" y="5873750"/>
                  <a:ext cx="241300" cy="503237"/>
                </a:xfrm>
                <a:custGeom>
                  <a:avLst/>
                  <a:gdLst>
                    <a:gd name="T0" fmla="*/ 11 w 107"/>
                    <a:gd name="T1" fmla="*/ 24 h 223"/>
                    <a:gd name="T2" fmla="*/ 10 w 107"/>
                    <a:gd name="T3" fmla="*/ 3 h 223"/>
                    <a:gd name="T4" fmla="*/ 40 w 107"/>
                    <a:gd name="T5" fmla="*/ 26 h 223"/>
                    <a:gd name="T6" fmla="*/ 107 w 107"/>
                    <a:gd name="T7" fmla="*/ 223 h 223"/>
                    <a:gd name="T8" fmla="*/ 78 w 107"/>
                    <a:gd name="T9" fmla="*/ 223 h 223"/>
                    <a:gd name="T10" fmla="*/ 11 w 107"/>
                    <a:gd name="T11" fmla="*/ 24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7" h="223">
                      <a:moveTo>
                        <a:pt x="11" y="24"/>
                      </a:moveTo>
                      <a:cubicBezTo>
                        <a:pt x="11" y="24"/>
                        <a:pt x="0" y="6"/>
                        <a:pt x="10" y="3"/>
                      </a:cubicBezTo>
                      <a:cubicBezTo>
                        <a:pt x="20" y="0"/>
                        <a:pt x="36" y="8"/>
                        <a:pt x="40" y="26"/>
                      </a:cubicBezTo>
                      <a:cubicBezTo>
                        <a:pt x="44" y="44"/>
                        <a:pt x="107" y="223"/>
                        <a:pt x="107" y="223"/>
                      </a:cubicBezTo>
                      <a:cubicBezTo>
                        <a:pt x="78" y="223"/>
                        <a:pt x="78" y="223"/>
                        <a:pt x="78" y="223"/>
                      </a:cubicBezTo>
                      <a:lnTo>
                        <a:pt x="11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1" name="Freeform 28">
                  <a:extLst>
                    <a:ext uri="{FF2B5EF4-FFF2-40B4-BE49-F238E27FC236}">
                      <a16:creationId xmlns:a16="http://schemas.microsoft.com/office/drawing/2014/main" id="{373685AD-3D1E-4AB0-8981-8AA15C9687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62575" y="6416675"/>
                  <a:ext cx="1655762" cy="80962"/>
                </a:xfrm>
                <a:custGeom>
                  <a:avLst/>
                  <a:gdLst>
                    <a:gd name="T0" fmla="*/ 0 w 735"/>
                    <a:gd name="T1" fmla="*/ 0 h 36"/>
                    <a:gd name="T2" fmla="*/ 705 w 735"/>
                    <a:gd name="T3" fmla="*/ 17 h 36"/>
                    <a:gd name="T4" fmla="*/ 718 w 735"/>
                    <a:gd name="T5" fmla="*/ 26 h 36"/>
                    <a:gd name="T6" fmla="*/ 553 w 735"/>
                    <a:gd name="T7" fmla="*/ 29 h 36"/>
                    <a:gd name="T8" fmla="*/ 0 w 735"/>
                    <a:gd name="T9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5" h="36">
                      <a:moveTo>
                        <a:pt x="0" y="0"/>
                      </a:moveTo>
                      <a:cubicBezTo>
                        <a:pt x="705" y="17"/>
                        <a:pt x="705" y="17"/>
                        <a:pt x="705" y="17"/>
                      </a:cubicBezTo>
                      <a:cubicBezTo>
                        <a:pt x="705" y="17"/>
                        <a:pt x="735" y="23"/>
                        <a:pt x="718" y="26"/>
                      </a:cubicBezTo>
                      <a:cubicBezTo>
                        <a:pt x="701" y="29"/>
                        <a:pt x="619" y="36"/>
                        <a:pt x="553" y="29"/>
                      </a:cubicBezTo>
                      <a:cubicBezTo>
                        <a:pt x="487" y="22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2" name="Freeform 29">
                  <a:extLst>
                    <a:ext uri="{FF2B5EF4-FFF2-40B4-BE49-F238E27FC236}">
                      <a16:creationId xmlns:a16="http://schemas.microsoft.com/office/drawing/2014/main" id="{BCEC5A39-379A-42F0-A8CC-6861419CCE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00663" y="5797550"/>
                  <a:ext cx="61912" cy="619125"/>
                </a:xfrm>
                <a:custGeom>
                  <a:avLst/>
                  <a:gdLst>
                    <a:gd name="T0" fmla="*/ 0 w 28"/>
                    <a:gd name="T1" fmla="*/ 18 h 275"/>
                    <a:gd name="T2" fmla="*/ 20 w 28"/>
                    <a:gd name="T3" fmla="*/ 19 h 275"/>
                    <a:gd name="T4" fmla="*/ 28 w 28"/>
                    <a:gd name="T5" fmla="*/ 275 h 275"/>
                    <a:gd name="T6" fmla="*/ 2 w 28"/>
                    <a:gd name="T7" fmla="*/ 44 h 275"/>
                    <a:gd name="T8" fmla="*/ 0 w 28"/>
                    <a:gd name="T9" fmla="*/ 18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275">
                      <a:moveTo>
                        <a:pt x="0" y="18"/>
                      </a:moveTo>
                      <a:cubicBezTo>
                        <a:pt x="3" y="18"/>
                        <a:pt x="19" y="0"/>
                        <a:pt x="20" y="19"/>
                      </a:cubicBezTo>
                      <a:cubicBezTo>
                        <a:pt x="21" y="38"/>
                        <a:pt x="28" y="275"/>
                        <a:pt x="28" y="275"/>
                      </a:cubicBezTo>
                      <a:cubicBezTo>
                        <a:pt x="28" y="275"/>
                        <a:pt x="3" y="61"/>
                        <a:pt x="2" y="44"/>
                      </a:cubicBezTo>
                      <a:cubicBezTo>
                        <a:pt x="1" y="27"/>
                        <a:pt x="0" y="18"/>
                        <a:pt x="0" y="18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</p:grpSp>
        <p:grpSp>
          <p:nvGrpSpPr>
            <p:cNvPr id="301" name="Gruppieren 104">
              <a:extLst>
                <a:ext uri="{FF2B5EF4-FFF2-40B4-BE49-F238E27FC236}">
                  <a16:creationId xmlns:a16="http://schemas.microsoft.com/office/drawing/2014/main" id="{29355D83-C9C2-4A21-B135-6389F4F92D29}"/>
                </a:ext>
              </a:extLst>
            </p:cNvPr>
            <p:cNvGrpSpPr/>
            <p:nvPr/>
          </p:nvGrpSpPr>
          <p:grpSpPr bwMode="gray">
            <a:xfrm>
              <a:off x="6919279" y="4409126"/>
              <a:ext cx="1072183" cy="911591"/>
              <a:chOff x="6905378" y="4342213"/>
              <a:chExt cx="1072183" cy="911591"/>
            </a:xfrm>
          </p:grpSpPr>
          <p:sp>
            <p:nvSpPr>
              <p:cNvPr id="366" name="Freeform 30">
                <a:extLst>
                  <a:ext uri="{FF2B5EF4-FFF2-40B4-BE49-F238E27FC236}">
                    <a16:creationId xmlns:a16="http://schemas.microsoft.com/office/drawing/2014/main" id="{28957BAF-42BF-4AFE-8AFD-9A64B18F641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05378" y="4342213"/>
                <a:ext cx="1072183" cy="911591"/>
              </a:xfrm>
              <a:custGeom>
                <a:avLst/>
                <a:gdLst>
                  <a:gd name="T0" fmla="*/ 478 w 480"/>
                  <a:gd name="T1" fmla="*/ 47 h 408"/>
                  <a:gd name="T2" fmla="*/ 93 w 480"/>
                  <a:gd name="T3" fmla="*/ 0 h 408"/>
                  <a:gd name="T4" fmla="*/ 56 w 480"/>
                  <a:gd name="T5" fmla="*/ 126 h 408"/>
                  <a:gd name="T6" fmla="*/ 0 w 480"/>
                  <a:gd name="T7" fmla="*/ 326 h 408"/>
                  <a:gd name="T8" fmla="*/ 383 w 480"/>
                  <a:gd name="T9" fmla="*/ 408 h 408"/>
                  <a:gd name="T10" fmla="*/ 478 w 480"/>
                  <a:gd name="T11" fmla="*/ 47 h 408"/>
                  <a:gd name="T12" fmla="*/ 350 w 480"/>
                  <a:gd name="T13" fmla="*/ 380 h 408"/>
                  <a:gd name="T14" fmla="*/ 34 w 480"/>
                  <a:gd name="T15" fmla="*/ 311 h 408"/>
                  <a:gd name="T16" fmla="*/ 114 w 480"/>
                  <a:gd name="T17" fmla="*/ 36 h 408"/>
                  <a:gd name="T18" fmla="*/ 438 w 480"/>
                  <a:gd name="T19" fmla="*/ 79 h 408"/>
                  <a:gd name="T20" fmla="*/ 350 w 480"/>
                  <a:gd name="T21" fmla="*/ 3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0" h="408">
                    <a:moveTo>
                      <a:pt x="478" y="47"/>
                    </a:moveTo>
                    <a:cubicBezTo>
                      <a:pt x="475" y="40"/>
                      <a:pt x="96" y="0"/>
                      <a:pt x="93" y="0"/>
                    </a:cubicBezTo>
                    <a:cubicBezTo>
                      <a:pt x="56" y="126"/>
                      <a:pt x="56" y="126"/>
                      <a:pt x="56" y="126"/>
                    </a:cubicBezTo>
                    <a:cubicBezTo>
                      <a:pt x="0" y="326"/>
                      <a:pt x="0" y="326"/>
                      <a:pt x="0" y="326"/>
                    </a:cubicBezTo>
                    <a:cubicBezTo>
                      <a:pt x="383" y="408"/>
                      <a:pt x="383" y="408"/>
                      <a:pt x="383" y="408"/>
                    </a:cubicBezTo>
                    <a:cubicBezTo>
                      <a:pt x="383" y="408"/>
                      <a:pt x="480" y="54"/>
                      <a:pt x="478" y="47"/>
                    </a:cubicBezTo>
                    <a:close/>
                    <a:moveTo>
                      <a:pt x="350" y="380"/>
                    </a:moveTo>
                    <a:cubicBezTo>
                      <a:pt x="34" y="311"/>
                      <a:pt x="34" y="311"/>
                      <a:pt x="34" y="311"/>
                    </a:cubicBezTo>
                    <a:cubicBezTo>
                      <a:pt x="114" y="36"/>
                      <a:pt x="114" y="36"/>
                      <a:pt x="114" y="36"/>
                    </a:cubicBezTo>
                    <a:cubicBezTo>
                      <a:pt x="438" y="79"/>
                      <a:pt x="438" y="79"/>
                      <a:pt x="438" y="79"/>
                    </a:cubicBezTo>
                    <a:lnTo>
                      <a:pt x="350" y="380"/>
                    </a:ln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7" name="Freeform 31">
                <a:extLst>
                  <a:ext uri="{FF2B5EF4-FFF2-40B4-BE49-F238E27FC236}">
                    <a16:creationId xmlns:a16="http://schemas.microsoft.com/office/drawing/2014/main" id="{C8973E2C-E6E4-4CA7-9F10-FAD0B4BEE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80950" y="4422509"/>
                <a:ext cx="902145" cy="768319"/>
              </a:xfrm>
              <a:custGeom>
                <a:avLst/>
                <a:gdLst>
                  <a:gd name="T0" fmla="*/ 0 w 573"/>
                  <a:gd name="T1" fmla="*/ 390 h 488"/>
                  <a:gd name="T2" fmla="*/ 448 w 573"/>
                  <a:gd name="T3" fmla="*/ 488 h 488"/>
                  <a:gd name="T4" fmla="*/ 573 w 573"/>
                  <a:gd name="T5" fmla="*/ 61 h 488"/>
                  <a:gd name="T6" fmla="*/ 114 w 573"/>
                  <a:gd name="T7" fmla="*/ 0 h 488"/>
                  <a:gd name="T8" fmla="*/ 0 w 573"/>
                  <a:gd name="T9" fmla="*/ 39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3" h="488">
                    <a:moveTo>
                      <a:pt x="0" y="390"/>
                    </a:moveTo>
                    <a:lnTo>
                      <a:pt x="448" y="488"/>
                    </a:lnTo>
                    <a:lnTo>
                      <a:pt x="573" y="61"/>
                    </a:lnTo>
                    <a:lnTo>
                      <a:pt x="114" y="0"/>
                    </a:lnTo>
                    <a:lnTo>
                      <a:pt x="0" y="39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8" name="Oval 32">
                <a:extLst>
                  <a:ext uri="{FF2B5EF4-FFF2-40B4-BE49-F238E27FC236}">
                    <a16:creationId xmlns:a16="http://schemas.microsoft.com/office/drawing/2014/main" id="{46F31E31-190C-45AD-B1C9-270C1BD5309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462724" y="4414637"/>
                <a:ext cx="31488" cy="29914"/>
              </a:xfrm>
              <a:prstGeom prst="ellipse">
                <a:avLst/>
              </a:pr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9" name="Freeform 33">
                <a:extLst>
                  <a:ext uri="{FF2B5EF4-FFF2-40B4-BE49-F238E27FC236}">
                    <a16:creationId xmlns:a16="http://schemas.microsoft.com/office/drawing/2014/main" id="{8BF9200C-A8FD-4061-B0C3-8C00DBAB69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0930" y="4444551"/>
                <a:ext cx="253482" cy="346373"/>
              </a:xfrm>
              <a:custGeom>
                <a:avLst/>
                <a:gdLst>
                  <a:gd name="T0" fmla="*/ 0 w 114"/>
                  <a:gd name="T1" fmla="*/ 0 h 155"/>
                  <a:gd name="T2" fmla="*/ 88 w 114"/>
                  <a:gd name="T3" fmla="*/ 32 h 155"/>
                  <a:gd name="T4" fmla="*/ 57 w 114"/>
                  <a:gd name="T5" fmla="*/ 148 h 155"/>
                  <a:gd name="T6" fmla="*/ 102 w 114"/>
                  <a:gd name="T7" fmla="*/ 13 h 155"/>
                  <a:gd name="T8" fmla="*/ 0 w 114"/>
                  <a:gd name="T9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55">
                    <a:moveTo>
                      <a:pt x="0" y="0"/>
                    </a:moveTo>
                    <a:cubicBezTo>
                      <a:pt x="5" y="1"/>
                      <a:pt x="87" y="25"/>
                      <a:pt x="88" y="32"/>
                    </a:cubicBezTo>
                    <a:cubicBezTo>
                      <a:pt x="89" y="38"/>
                      <a:pt x="59" y="142"/>
                      <a:pt x="57" y="148"/>
                    </a:cubicBezTo>
                    <a:cubicBezTo>
                      <a:pt x="55" y="155"/>
                      <a:pt x="114" y="20"/>
                      <a:pt x="102" y="13"/>
                    </a:cubicBezTo>
                    <a:cubicBezTo>
                      <a:pt x="9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70" name="Freeform 34">
                <a:extLst>
                  <a:ext uri="{FF2B5EF4-FFF2-40B4-BE49-F238E27FC236}">
                    <a16:creationId xmlns:a16="http://schemas.microsoft.com/office/drawing/2014/main" id="{F2E957AA-CA02-4C38-A39D-611D2CCE7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71504" y="4368979"/>
                <a:ext cx="313310" cy="603004"/>
              </a:xfrm>
              <a:custGeom>
                <a:avLst/>
                <a:gdLst>
                  <a:gd name="T0" fmla="*/ 140 w 140"/>
                  <a:gd name="T1" fmla="*/ 16 h 270"/>
                  <a:gd name="T2" fmla="*/ 76 w 140"/>
                  <a:gd name="T3" fmla="*/ 12 h 270"/>
                  <a:gd name="T4" fmla="*/ 42 w 140"/>
                  <a:gd name="T5" fmla="*/ 106 h 270"/>
                  <a:gd name="T6" fmla="*/ 0 w 140"/>
                  <a:gd name="T7" fmla="*/ 270 h 270"/>
                  <a:gd name="T8" fmla="*/ 30 w 140"/>
                  <a:gd name="T9" fmla="*/ 116 h 270"/>
                  <a:gd name="T10" fmla="*/ 75 w 140"/>
                  <a:gd name="T11" fmla="*/ 0 h 270"/>
                  <a:gd name="T12" fmla="*/ 140 w 140"/>
                  <a:gd name="T13" fmla="*/ 1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270">
                    <a:moveTo>
                      <a:pt x="140" y="16"/>
                    </a:moveTo>
                    <a:cubicBezTo>
                      <a:pt x="138" y="14"/>
                      <a:pt x="86" y="2"/>
                      <a:pt x="76" y="12"/>
                    </a:cubicBezTo>
                    <a:cubicBezTo>
                      <a:pt x="67" y="23"/>
                      <a:pt x="42" y="106"/>
                      <a:pt x="42" y="106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0" y="270"/>
                      <a:pt x="24" y="139"/>
                      <a:pt x="30" y="116"/>
                    </a:cubicBezTo>
                    <a:cubicBezTo>
                      <a:pt x="35" y="94"/>
                      <a:pt x="62" y="0"/>
                      <a:pt x="75" y="0"/>
                    </a:cubicBezTo>
                    <a:cubicBezTo>
                      <a:pt x="88" y="0"/>
                      <a:pt x="140" y="16"/>
                      <a:pt x="140" y="16"/>
                    </a:cubicBez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302" name="Freeform 43">
              <a:extLst>
                <a:ext uri="{FF2B5EF4-FFF2-40B4-BE49-F238E27FC236}">
                  <a16:creationId xmlns:a16="http://schemas.microsoft.com/office/drawing/2014/main" id="{9C9C110A-40C7-447B-B158-086424F97FA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2693" y="5441949"/>
              <a:ext cx="905294" cy="533729"/>
            </a:xfrm>
            <a:custGeom>
              <a:avLst/>
              <a:gdLst>
                <a:gd name="T0" fmla="*/ 461 w 575"/>
                <a:gd name="T1" fmla="*/ 2 h 339"/>
                <a:gd name="T2" fmla="*/ 575 w 575"/>
                <a:gd name="T3" fmla="*/ 165 h 339"/>
                <a:gd name="T4" fmla="*/ 303 w 575"/>
                <a:gd name="T5" fmla="*/ 339 h 339"/>
                <a:gd name="T6" fmla="*/ 59 w 575"/>
                <a:gd name="T7" fmla="*/ 115 h 339"/>
                <a:gd name="T8" fmla="*/ 0 w 575"/>
                <a:gd name="T9" fmla="*/ 0 h 339"/>
                <a:gd name="T10" fmla="*/ 461 w 575"/>
                <a:gd name="T11" fmla="*/ 2 h 339"/>
                <a:gd name="connsiteX0" fmla="*/ 8017 w 10000"/>
                <a:gd name="connsiteY0" fmla="*/ 59 h 10000"/>
                <a:gd name="connsiteX1" fmla="*/ 10000 w 10000"/>
                <a:gd name="connsiteY1" fmla="*/ 4867 h 10000"/>
                <a:gd name="connsiteX2" fmla="*/ 5270 w 10000"/>
                <a:gd name="connsiteY2" fmla="*/ 10000 h 10000"/>
                <a:gd name="connsiteX3" fmla="*/ 2356 w 10000"/>
                <a:gd name="connsiteY3" fmla="*/ 7330 h 10000"/>
                <a:gd name="connsiteX4" fmla="*/ 0 w 10000"/>
                <a:gd name="connsiteY4" fmla="*/ 0 h 10000"/>
                <a:gd name="connsiteX5" fmla="*/ 8017 w 10000"/>
                <a:gd name="connsiteY5" fmla="*/ 5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8017" y="59"/>
                  </a:moveTo>
                  <a:lnTo>
                    <a:pt x="10000" y="4867"/>
                  </a:lnTo>
                  <a:lnTo>
                    <a:pt x="5270" y="10000"/>
                  </a:lnTo>
                  <a:lnTo>
                    <a:pt x="2356" y="7330"/>
                  </a:lnTo>
                  <a:lnTo>
                    <a:pt x="0" y="0"/>
                  </a:lnTo>
                  <a:lnTo>
                    <a:pt x="8017" y="59"/>
                  </a:lnTo>
                  <a:close/>
                </a:path>
              </a:pathLst>
            </a:custGeom>
            <a:solidFill>
              <a:srgbClr val="585C5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3" name="Freeform 44">
              <a:extLst>
                <a:ext uri="{FF2B5EF4-FFF2-40B4-BE49-F238E27FC236}">
                  <a16:creationId xmlns:a16="http://schemas.microsoft.com/office/drawing/2014/main" id="{A4BD98B5-1040-47F9-A31C-171FE5775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6337" y="5457693"/>
              <a:ext cx="170038" cy="159016"/>
            </a:xfrm>
            <a:custGeom>
              <a:avLst/>
              <a:gdLst>
                <a:gd name="T0" fmla="*/ 14 w 108"/>
                <a:gd name="T1" fmla="*/ 17 h 101"/>
                <a:gd name="T2" fmla="*/ 85 w 108"/>
                <a:gd name="T3" fmla="*/ 101 h 101"/>
                <a:gd name="T4" fmla="*/ 108 w 108"/>
                <a:gd name="T5" fmla="*/ 88 h 101"/>
                <a:gd name="T6" fmla="*/ 32 w 108"/>
                <a:gd name="T7" fmla="*/ 0 h 101"/>
                <a:gd name="T8" fmla="*/ 0 w 108"/>
                <a:gd name="T9" fmla="*/ 2 h 101"/>
                <a:gd name="T10" fmla="*/ 14 w 108"/>
                <a:gd name="T11" fmla="*/ 1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101">
                  <a:moveTo>
                    <a:pt x="14" y="17"/>
                  </a:moveTo>
                  <a:lnTo>
                    <a:pt x="85" y="101"/>
                  </a:lnTo>
                  <a:lnTo>
                    <a:pt x="108" y="88"/>
                  </a:lnTo>
                  <a:lnTo>
                    <a:pt x="32" y="0"/>
                  </a:lnTo>
                  <a:lnTo>
                    <a:pt x="0" y="2"/>
                  </a:lnTo>
                  <a:lnTo>
                    <a:pt x="14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4" name="Freeform 45">
              <a:extLst>
                <a:ext uri="{FF2B5EF4-FFF2-40B4-BE49-F238E27FC236}">
                  <a16:creationId xmlns:a16="http://schemas.microsoft.com/office/drawing/2014/main" id="{B7B60A59-2CD7-4F92-A738-F0716108D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0298" y="5468715"/>
              <a:ext cx="212547" cy="217271"/>
            </a:xfrm>
            <a:custGeom>
              <a:avLst/>
              <a:gdLst>
                <a:gd name="T0" fmla="*/ 0 w 135"/>
                <a:gd name="T1" fmla="*/ 6 h 138"/>
                <a:gd name="T2" fmla="*/ 108 w 135"/>
                <a:gd name="T3" fmla="*/ 138 h 138"/>
                <a:gd name="T4" fmla="*/ 135 w 135"/>
                <a:gd name="T5" fmla="*/ 111 h 138"/>
                <a:gd name="T6" fmla="*/ 51 w 135"/>
                <a:gd name="T7" fmla="*/ 0 h 138"/>
                <a:gd name="T8" fmla="*/ 0 w 135"/>
                <a:gd name="T9" fmla="*/ 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8">
                  <a:moveTo>
                    <a:pt x="0" y="6"/>
                  </a:moveTo>
                  <a:lnTo>
                    <a:pt x="108" y="138"/>
                  </a:lnTo>
                  <a:lnTo>
                    <a:pt x="135" y="111"/>
                  </a:lnTo>
                  <a:lnTo>
                    <a:pt x="51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5" name="Freeform 46">
              <a:extLst>
                <a:ext uri="{FF2B5EF4-FFF2-40B4-BE49-F238E27FC236}">
                  <a16:creationId xmlns:a16="http://schemas.microsoft.com/office/drawing/2014/main" id="{99424F36-4994-4B8C-8445-60759DE5B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3704" y="5489182"/>
              <a:ext cx="210973" cy="204675"/>
            </a:xfrm>
            <a:custGeom>
              <a:avLst/>
              <a:gdLst>
                <a:gd name="T0" fmla="*/ 0 w 134"/>
                <a:gd name="T1" fmla="*/ 0 h 130"/>
                <a:gd name="T2" fmla="*/ 106 w 134"/>
                <a:gd name="T3" fmla="*/ 130 h 130"/>
                <a:gd name="T4" fmla="*/ 134 w 134"/>
                <a:gd name="T5" fmla="*/ 118 h 130"/>
                <a:gd name="T6" fmla="*/ 53 w 134"/>
                <a:gd name="T7" fmla="*/ 7 h 130"/>
                <a:gd name="T8" fmla="*/ 0 w 134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30">
                  <a:moveTo>
                    <a:pt x="0" y="0"/>
                  </a:moveTo>
                  <a:lnTo>
                    <a:pt x="106" y="130"/>
                  </a:lnTo>
                  <a:lnTo>
                    <a:pt x="134" y="118"/>
                  </a:lnTo>
                  <a:lnTo>
                    <a:pt x="5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6" name="Freeform 47">
              <a:extLst>
                <a:ext uri="{FF2B5EF4-FFF2-40B4-BE49-F238E27FC236}">
                  <a16:creationId xmlns:a16="http://schemas.microsoft.com/office/drawing/2014/main" id="{1C59021B-8B33-498A-8E5A-0151F9124AA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9792" y="5482884"/>
              <a:ext cx="240886" cy="242461"/>
            </a:xfrm>
            <a:custGeom>
              <a:avLst/>
              <a:gdLst>
                <a:gd name="T0" fmla="*/ 0 w 108"/>
                <a:gd name="T1" fmla="*/ 5 h 109"/>
                <a:gd name="T2" fmla="*/ 74 w 108"/>
                <a:gd name="T3" fmla="*/ 109 h 109"/>
                <a:gd name="T4" fmla="*/ 108 w 108"/>
                <a:gd name="T5" fmla="*/ 101 h 109"/>
                <a:gd name="T6" fmla="*/ 27 w 108"/>
                <a:gd name="T7" fmla="*/ 0 h 109"/>
                <a:gd name="T8" fmla="*/ 0 w 108"/>
                <a:gd name="T9" fmla="*/ 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09">
                  <a:moveTo>
                    <a:pt x="0" y="5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108" y="104"/>
                    <a:pt x="108" y="101"/>
                  </a:cubicBezTo>
                  <a:cubicBezTo>
                    <a:pt x="108" y="99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7" name="Freeform 48">
              <a:extLst>
                <a:ext uri="{FF2B5EF4-FFF2-40B4-BE49-F238E27FC236}">
                  <a16:creationId xmlns:a16="http://schemas.microsoft.com/office/drawing/2014/main" id="{01CEF01A-ECB3-4625-9B1E-D0FDAF4A1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3752" y="5500203"/>
              <a:ext cx="229866" cy="251908"/>
            </a:xfrm>
            <a:custGeom>
              <a:avLst/>
              <a:gdLst>
                <a:gd name="T0" fmla="*/ 0 w 146"/>
                <a:gd name="T1" fmla="*/ 10 h 160"/>
                <a:gd name="T2" fmla="*/ 105 w 146"/>
                <a:gd name="T3" fmla="*/ 160 h 160"/>
                <a:gd name="T4" fmla="*/ 146 w 146"/>
                <a:gd name="T5" fmla="*/ 142 h 160"/>
                <a:gd name="T6" fmla="*/ 50 w 146"/>
                <a:gd name="T7" fmla="*/ 0 h 160"/>
                <a:gd name="T8" fmla="*/ 0 w 146"/>
                <a:gd name="T9" fmla="*/ 1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60">
                  <a:moveTo>
                    <a:pt x="0" y="10"/>
                  </a:moveTo>
                  <a:lnTo>
                    <a:pt x="105" y="160"/>
                  </a:lnTo>
                  <a:lnTo>
                    <a:pt x="146" y="142"/>
                  </a:lnTo>
                  <a:lnTo>
                    <a:pt x="5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8" name="Freeform 50">
              <a:extLst>
                <a:ext uri="{FF2B5EF4-FFF2-40B4-BE49-F238E27FC236}">
                  <a16:creationId xmlns:a16="http://schemas.microsoft.com/office/drawing/2014/main" id="{CF8867B3-129D-4A71-B299-A692946804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8513" y="4949154"/>
              <a:ext cx="620323" cy="541602"/>
            </a:xfrm>
            <a:custGeom>
              <a:avLst/>
              <a:gdLst>
                <a:gd name="T0" fmla="*/ 52 w 278"/>
                <a:gd name="T1" fmla="*/ 63 h 243"/>
                <a:gd name="T2" fmla="*/ 100 w 278"/>
                <a:gd name="T3" fmla="*/ 26 h 243"/>
                <a:gd name="T4" fmla="*/ 144 w 278"/>
                <a:gd name="T5" fmla="*/ 1 h 243"/>
                <a:gd name="T6" fmla="*/ 223 w 278"/>
                <a:gd name="T7" fmla="*/ 30 h 243"/>
                <a:gd name="T8" fmla="*/ 252 w 278"/>
                <a:gd name="T9" fmla="*/ 73 h 243"/>
                <a:gd name="T10" fmla="*/ 273 w 278"/>
                <a:gd name="T11" fmla="*/ 118 h 243"/>
                <a:gd name="T12" fmla="*/ 271 w 278"/>
                <a:gd name="T13" fmla="*/ 166 h 243"/>
                <a:gd name="T14" fmla="*/ 216 w 278"/>
                <a:gd name="T15" fmla="*/ 206 h 243"/>
                <a:gd name="T16" fmla="*/ 153 w 278"/>
                <a:gd name="T17" fmla="*/ 211 h 243"/>
                <a:gd name="T18" fmla="*/ 85 w 278"/>
                <a:gd name="T19" fmla="*/ 229 h 243"/>
                <a:gd name="T20" fmla="*/ 2 w 278"/>
                <a:gd name="T21" fmla="*/ 164 h 243"/>
                <a:gd name="T22" fmla="*/ 19 w 278"/>
                <a:gd name="T23" fmla="*/ 93 h 243"/>
                <a:gd name="T24" fmla="*/ 52 w 278"/>
                <a:gd name="T25" fmla="*/ 6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" h="243">
                  <a:moveTo>
                    <a:pt x="52" y="63"/>
                  </a:moveTo>
                  <a:cubicBezTo>
                    <a:pt x="53" y="60"/>
                    <a:pt x="90" y="33"/>
                    <a:pt x="100" y="26"/>
                  </a:cubicBezTo>
                  <a:cubicBezTo>
                    <a:pt x="109" y="20"/>
                    <a:pt x="129" y="0"/>
                    <a:pt x="144" y="1"/>
                  </a:cubicBezTo>
                  <a:cubicBezTo>
                    <a:pt x="159" y="1"/>
                    <a:pt x="214" y="20"/>
                    <a:pt x="223" y="30"/>
                  </a:cubicBezTo>
                  <a:cubicBezTo>
                    <a:pt x="233" y="40"/>
                    <a:pt x="249" y="56"/>
                    <a:pt x="252" y="73"/>
                  </a:cubicBezTo>
                  <a:cubicBezTo>
                    <a:pt x="255" y="91"/>
                    <a:pt x="269" y="110"/>
                    <a:pt x="273" y="118"/>
                  </a:cubicBezTo>
                  <a:cubicBezTo>
                    <a:pt x="276" y="127"/>
                    <a:pt x="278" y="156"/>
                    <a:pt x="271" y="166"/>
                  </a:cubicBezTo>
                  <a:cubicBezTo>
                    <a:pt x="264" y="176"/>
                    <a:pt x="232" y="207"/>
                    <a:pt x="216" y="206"/>
                  </a:cubicBezTo>
                  <a:cubicBezTo>
                    <a:pt x="199" y="206"/>
                    <a:pt x="169" y="204"/>
                    <a:pt x="153" y="211"/>
                  </a:cubicBezTo>
                  <a:cubicBezTo>
                    <a:pt x="136" y="219"/>
                    <a:pt x="120" y="243"/>
                    <a:pt x="85" y="229"/>
                  </a:cubicBezTo>
                  <a:cubicBezTo>
                    <a:pt x="49" y="215"/>
                    <a:pt x="3" y="186"/>
                    <a:pt x="2" y="164"/>
                  </a:cubicBezTo>
                  <a:cubicBezTo>
                    <a:pt x="0" y="143"/>
                    <a:pt x="9" y="104"/>
                    <a:pt x="19" y="93"/>
                  </a:cubicBezTo>
                  <a:cubicBezTo>
                    <a:pt x="29" y="81"/>
                    <a:pt x="52" y="63"/>
                    <a:pt x="52" y="63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9" name="Freeform 51">
              <a:extLst>
                <a:ext uri="{FF2B5EF4-FFF2-40B4-BE49-F238E27FC236}">
                  <a16:creationId xmlns:a16="http://schemas.microsoft.com/office/drawing/2014/main" id="{C8EAAC9E-8E13-4635-9251-8979EE46F9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1061" y="4949154"/>
              <a:ext cx="155868" cy="214122"/>
            </a:xfrm>
            <a:custGeom>
              <a:avLst/>
              <a:gdLst>
                <a:gd name="T0" fmla="*/ 0 w 70"/>
                <a:gd name="T1" fmla="*/ 96 h 96"/>
                <a:gd name="T2" fmla="*/ 44 w 70"/>
                <a:gd name="T3" fmla="*/ 43 h 96"/>
                <a:gd name="T4" fmla="*/ 59 w 70"/>
                <a:gd name="T5" fmla="*/ 19 h 96"/>
                <a:gd name="T6" fmla="*/ 49 w 70"/>
                <a:gd name="T7" fmla="*/ 1 h 96"/>
                <a:gd name="T8" fmla="*/ 68 w 70"/>
                <a:gd name="T9" fmla="*/ 21 h 96"/>
                <a:gd name="T10" fmla="*/ 17 w 70"/>
                <a:gd name="T11" fmla="*/ 83 h 96"/>
                <a:gd name="T12" fmla="*/ 0 w 70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96">
                  <a:moveTo>
                    <a:pt x="0" y="96"/>
                  </a:moveTo>
                  <a:cubicBezTo>
                    <a:pt x="0" y="96"/>
                    <a:pt x="36" y="49"/>
                    <a:pt x="44" y="43"/>
                  </a:cubicBezTo>
                  <a:cubicBezTo>
                    <a:pt x="53" y="37"/>
                    <a:pt x="61" y="24"/>
                    <a:pt x="59" y="19"/>
                  </a:cubicBezTo>
                  <a:cubicBezTo>
                    <a:pt x="58" y="13"/>
                    <a:pt x="43" y="0"/>
                    <a:pt x="49" y="1"/>
                  </a:cubicBezTo>
                  <a:cubicBezTo>
                    <a:pt x="55" y="2"/>
                    <a:pt x="70" y="15"/>
                    <a:pt x="68" y="21"/>
                  </a:cubicBezTo>
                  <a:cubicBezTo>
                    <a:pt x="67" y="27"/>
                    <a:pt x="20" y="80"/>
                    <a:pt x="17" y="83"/>
                  </a:cubicBezTo>
                  <a:cubicBezTo>
                    <a:pt x="15" y="86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0" name="Freeform 52">
              <a:extLst>
                <a:ext uri="{FF2B5EF4-FFF2-40B4-BE49-F238E27FC236}">
                  <a16:creationId xmlns:a16="http://schemas.microsoft.com/office/drawing/2014/main" id="{496F8AB8-021B-4680-81C4-65C9A62EE6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7654" y="5089278"/>
              <a:ext cx="174761" cy="319608"/>
            </a:xfrm>
            <a:custGeom>
              <a:avLst/>
              <a:gdLst>
                <a:gd name="T0" fmla="*/ 30 w 78"/>
                <a:gd name="T1" fmla="*/ 1 h 143"/>
                <a:gd name="T2" fmla="*/ 64 w 78"/>
                <a:gd name="T3" fmla="*/ 33 h 143"/>
                <a:gd name="T4" fmla="*/ 49 w 78"/>
                <a:gd name="T5" fmla="*/ 80 h 143"/>
                <a:gd name="T6" fmla="*/ 10 w 78"/>
                <a:gd name="T7" fmla="*/ 96 h 143"/>
                <a:gd name="T8" fmla="*/ 2 w 78"/>
                <a:gd name="T9" fmla="*/ 126 h 143"/>
                <a:gd name="T10" fmla="*/ 17 w 78"/>
                <a:gd name="T11" fmla="*/ 140 h 143"/>
                <a:gd name="T12" fmla="*/ 47 w 78"/>
                <a:gd name="T13" fmla="*/ 143 h 143"/>
                <a:gd name="T14" fmla="*/ 10 w 78"/>
                <a:gd name="T15" fmla="*/ 119 h 143"/>
                <a:gd name="T16" fmla="*/ 47 w 78"/>
                <a:gd name="T17" fmla="*/ 88 h 143"/>
                <a:gd name="T18" fmla="*/ 71 w 78"/>
                <a:gd name="T19" fmla="*/ 43 h 143"/>
                <a:gd name="T20" fmla="*/ 72 w 78"/>
                <a:gd name="T21" fmla="*/ 2 h 143"/>
                <a:gd name="T22" fmla="*/ 30 w 78"/>
                <a:gd name="T23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43">
                  <a:moveTo>
                    <a:pt x="30" y="1"/>
                  </a:moveTo>
                  <a:cubicBezTo>
                    <a:pt x="31" y="1"/>
                    <a:pt x="62" y="28"/>
                    <a:pt x="64" y="33"/>
                  </a:cubicBezTo>
                  <a:cubicBezTo>
                    <a:pt x="66" y="37"/>
                    <a:pt x="56" y="76"/>
                    <a:pt x="49" y="80"/>
                  </a:cubicBezTo>
                  <a:cubicBezTo>
                    <a:pt x="42" y="85"/>
                    <a:pt x="16" y="87"/>
                    <a:pt x="10" y="96"/>
                  </a:cubicBezTo>
                  <a:cubicBezTo>
                    <a:pt x="4" y="104"/>
                    <a:pt x="0" y="124"/>
                    <a:pt x="2" y="126"/>
                  </a:cubicBezTo>
                  <a:cubicBezTo>
                    <a:pt x="4" y="127"/>
                    <a:pt x="3" y="139"/>
                    <a:pt x="17" y="140"/>
                  </a:cubicBezTo>
                  <a:cubicBezTo>
                    <a:pt x="31" y="140"/>
                    <a:pt x="47" y="143"/>
                    <a:pt x="47" y="143"/>
                  </a:cubicBezTo>
                  <a:cubicBezTo>
                    <a:pt x="47" y="143"/>
                    <a:pt x="9" y="124"/>
                    <a:pt x="10" y="119"/>
                  </a:cubicBezTo>
                  <a:cubicBezTo>
                    <a:pt x="12" y="114"/>
                    <a:pt x="41" y="91"/>
                    <a:pt x="47" y="88"/>
                  </a:cubicBezTo>
                  <a:cubicBezTo>
                    <a:pt x="53" y="85"/>
                    <a:pt x="71" y="47"/>
                    <a:pt x="71" y="43"/>
                  </a:cubicBezTo>
                  <a:cubicBezTo>
                    <a:pt x="71" y="40"/>
                    <a:pt x="78" y="3"/>
                    <a:pt x="72" y="2"/>
                  </a:cubicBezTo>
                  <a:cubicBezTo>
                    <a:pt x="65" y="0"/>
                    <a:pt x="30" y="1"/>
                    <a:pt x="30" y="1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1" name="Freeform 53">
              <a:extLst>
                <a:ext uri="{FF2B5EF4-FFF2-40B4-BE49-F238E27FC236}">
                  <a16:creationId xmlns:a16="http://schemas.microsoft.com/office/drawing/2014/main" id="{65ACF16A-9B9E-4406-93E4-C6E15C4A8AD1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3054" y="5153830"/>
              <a:ext cx="143272" cy="251908"/>
            </a:xfrm>
            <a:custGeom>
              <a:avLst/>
              <a:gdLst>
                <a:gd name="T0" fmla="*/ 64 w 64"/>
                <a:gd name="T1" fmla="*/ 0 h 113"/>
                <a:gd name="T2" fmla="*/ 50 w 64"/>
                <a:gd name="T3" fmla="*/ 53 h 113"/>
                <a:gd name="T4" fmla="*/ 0 w 64"/>
                <a:gd name="T5" fmla="*/ 113 h 113"/>
                <a:gd name="T6" fmla="*/ 49 w 64"/>
                <a:gd name="T7" fmla="*/ 70 h 113"/>
                <a:gd name="T8" fmla="*/ 64 w 64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3">
                  <a:moveTo>
                    <a:pt x="64" y="0"/>
                  </a:moveTo>
                  <a:cubicBezTo>
                    <a:pt x="64" y="0"/>
                    <a:pt x="52" y="49"/>
                    <a:pt x="50" y="53"/>
                  </a:cubicBezTo>
                  <a:cubicBezTo>
                    <a:pt x="48" y="58"/>
                    <a:pt x="0" y="113"/>
                    <a:pt x="0" y="113"/>
                  </a:cubicBezTo>
                  <a:cubicBezTo>
                    <a:pt x="0" y="113"/>
                    <a:pt x="44" y="75"/>
                    <a:pt x="49" y="70"/>
                  </a:cubicBezTo>
                  <a:cubicBezTo>
                    <a:pt x="54" y="66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2" name="Freeform 54">
              <a:extLst>
                <a:ext uri="{FF2B5EF4-FFF2-40B4-BE49-F238E27FC236}">
                  <a16:creationId xmlns:a16="http://schemas.microsoft.com/office/drawing/2014/main" id="{FB82AF9C-37D1-40B2-BCD3-6D7D7E7140C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6509" y="5167999"/>
              <a:ext cx="231440" cy="220419"/>
            </a:xfrm>
            <a:custGeom>
              <a:avLst/>
              <a:gdLst>
                <a:gd name="T0" fmla="*/ 99 w 104"/>
                <a:gd name="T1" fmla="*/ 31 h 99"/>
                <a:gd name="T2" fmla="*/ 74 w 104"/>
                <a:gd name="T3" fmla="*/ 22 h 99"/>
                <a:gd name="T4" fmla="*/ 81 w 104"/>
                <a:gd name="T5" fmla="*/ 2 h 99"/>
                <a:gd name="T6" fmla="*/ 69 w 104"/>
                <a:gd name="T7" fmla="*/ 18 h 99"/>
                <a:gd name="T8" fmla="*/ 46 w 104"/>
                <a:gd name="T9" fmla="*/ 63 h 99"/>
                <a:gd name="T10" fmla="*/ 0 w 104"/>
                <a:gd name="T11" fmla="*/ 99 h 99"/>
                <a:gd name="T12" fmla="*/ 25 w 104"/>
                <a:gd name="T13" fmla="*/ 88 h 99"/>
                <a:gd name="T14" fmla="*/ 61 w 104"/>
                <a:gd name="T15" fmla="*/ 85 h 99"/>
                <a:gd name="T16" fmla="*/ 72 w 104"/>
                <a:gd name="T17" fmla="*/ 79 h 99"/>
                <a:gd name="T18" fmla="*/ 99 w 104"/>
                <a:gd name="T19" fmla="*/ 55 h 99"/>
                <a:gd name="T20" fmla="*/ 99 w 104"/>
                <a:gd name="T21" fmla="*/ 3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99">
                  <a:moveTo>
                    <a:pt x="99" y="31"/>
                  </a:moveTo>
                  <a:cubicBezTo>
                    <a:pt x="96" y="24"/>
                    <a:pt x="80" y="22"/>
                    <a:pt x="74" y="22"/>
                  </a:cubicBezTo>
                  <a:cubicBezTo>
                    <a:pt x="78" y="11"/>
                    <a:pt x="81" y="3"/>
                    <a:pt x="81" y="2"/>
                  </a:cubicBezTo>
                  <a:cubicBezTo>
                    <a:pt x="81" y="0"/>
                    <a:pt x="76" y="5"/>
                    <a:pt x="69" y="18"/>
                  </a:cubicBezTo>
                  <a:cubicBezTo>
                    <a:pt x="62" y="30"/>
                    <a:pt x="58" y="55"/>
                    <a:pt x="46" y="63"/>
                  </a:cubicBezTo>
                  <a:cubicBezTo>
                    <a:pt x="33" y="70"/>
                    <a:pt x="0" y="99"/>
                    <a:pt x="0" y="99"/>
                  </a:cubicBezTo>
                  <a:cubicBezTo>
                    <a:pt x="1" y="99"/>
                    <a:pt x="13" y="94"/>
                    <a:pt x="25" y="88"/>
                  </a:cubicBezTo>
                  <a:cubicBezTo>
                    <a:pt x="36" y="86"/>
                    <a:pt x="54" y="84"/>
                    <a:pt x="61" y="85"/>
                  </a:cubicBezTo>
                  <a:cubicBezTo>
                    <a:pt x="72" y="88"/>
                    <a:pt x="73" y="80"/>
                    <a:pt x="72" y="79"/>
                  </a:cubicBezTo>
                  <a:cubicBezTo>
                    <a:pt x="71" y="77"/>
                    <a:pt x="94" y="57"/>
                    <a:pt x="99" y="55"/>
                  </a:cubicBezTo>
                  <a:cubicBezTo>
                    <a:pt x="104" y="54"/>
                    <a:pt x="103" y="39"/>
                    <a:pt x="99" y="31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3" name="Freeform 55">
              <a:extLst>
                <a:ext uri="{FF2B5EF4-FFF2-40B4-BE49-F238E27FC236}">
                  <a16:creationId xmlns:a16="http://schemas.microsoft.com/office/drawing/2014/main" id="{1115466D-ED10-4134-9D48-5B6DDBB5A2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8513" y="5163276"/>
              <a:ext cx="332203" cy="311736"/>
            </a:xfrm>
            <a:custGeom>
              <a:avLst/>
              <a:gdLst>
                <a:gd name="T0" fmla="*/ 133 w 149"/>
                <a:gd name="T1" fmla="*/ 122 h 140"/>
                <a:gd name="T2" fmla="*/ 106 w 149"/>
                <a:gd name="T3" fmla="*/ 133 h 140"/>
                <a:gd name="T4" fmla="*/ 42 w 149"/>
                <a:gd name="T5" fmla="*/ 108 h 140"/>
                <a:gd name="T6" fmla="*/ 25 w 149"/>
                <a:gd name="T7" fmla="*/ 84 h 140"/>
                <a:gd name="T8" fmla="*/ 15 w 149"/>
                <a:gd name="T9" fmla="*/ 36 h 140"/>
                <a:gd name="T10" fmla="*/ 15 w 149"/>
                <a:gd name="T11" fmla="*/ 0 h 140"/>
                <a:gd name="T12" fmla="*/ 5 w 149"/>
                <a:gd name="T13" fmla="*/ 29 h 140"/>
                <a:gd name="T14" fmla="*/ 0 w 149"/>
                <a:gd name="T15" fmla="*/ 61 h 140"/>
                <a:gd name="T16" fmla="*/ 11 w 149"/>
                <a:gd name="T17" fmla="*/ 87 h 140"/>
                <a:gd name="T18" fmla="*/ 52 w 149"/>
                <a:gd name="T19" fmla="*/ 119 h 140"/>
                <a:gd name="T20" fmla="*/ 49 w 149"/>
                <a:gd name="T21" fmla="*/ 114 h 140"/>
                <a:gd name="T22" fmla="*/ 66 w 149"/>
                <a:gd name="T23" fmla="*/ 125 h 140"/>
                <a:gd name="T24" fmla="*/ 105 w 149"/>
                <a:gd name="T25" fmla="*/ 138 h 140"/>
                <a:gd name="T26" fmla="*/ 140 w 149"/>
                <a:gd name="T27" fmla="*/ 123 h 140"/>
                <a:gd name="T28" fmla="*/ 149 w 149"/>
                <a:gd name="T29" fmla="*/ 117 h 140"/>
                <a:gd name="T30" fmla="*/ 133 w 149"/>
                <a:gd name="T31" fmla="*/ 12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9" h="140">
                  <a:moveTo>
                    <a:pt x="133" y="122"/>
                  </a:moveTo>
                  <a:cubicBezTo>
                    <a:pt x="124" y="127"/>
                    <a:pt x="126" y="140"/>
                    <a:pt x="106" y="133"/>
                  </a:cubicBezTo>
                  <a:cubicBezTo>
                    <a:pt x="89" y="128"/>
                    <a:pt x="55" y="114"/>
                    <a:pt x="42" y="108"/>
                  </a:cubicBezTo>
                  <a:cubicBezTo>
                    <a:pt x="37" y="102"/>
                    <a:pt x="30" y="94"/>
                    <a:pt x="25" y="84"/>
                  </a:cubicBezTo>
                  <a:cubicBezTo>
                    <a:pt x="18" y="69"/>
                    <a:pt x="15" y="45"/>
                    <a:pt x="15" y="36"/>
                  </a:cubicBezTo>
                  <a:cubicBezTo>
                    <a:pt x="15" y="26"/>
                    <a:pt x="15" y="0"/>
                    <a:pt x="15" y="0"/>
                  </a:cubicBezTo>
                  <a:cubicBezTo>
                    <a:pt x="15" y="0"/>
                    <a:pt x="6" y="26"/>
                    <a:pt x="5" y="29"/>
                  </a:cubicBezTo>
                  <a:cubicBezTo>
                    <a:pt x="4" y="32"/>
                    <a:pt x="0" y="55"/>
                    <a:pt x="0" y="61"/>
                  </a:cubicBezTo>
                  <a:cubicBezTo>
                    <a:pt x="0" y="67"/>
                    <a:pt x="6" y="83"/>
                    <a:pt x="11" y="87"/>
                  </a:cubicBezTo>
                  <a:cubicBezTo>
                    <a:pt x="17" y="92"/>
                    <a:pt x="52" y="119"/>
                    <a:pt x="52" y="119"/>
                  </a:cubicBezTo>
                  <a:cubicBezTo>
                    <a:pt x="52" y="119"/>
                    <a:pt x="52" y="116"/>
                    <a:pt x="49" y="114"/>
                  </a:cubicBezTo>
                  <a:cubicBezTo>
                    <a:pt x="58" y="121"/>
                    <a:pt x="66" y="125"/>
                    <a:pt x="66" y="125"/>
                  </a:cubicBezTo>
                  <a:cubicBezTo>
                    <a:pt x="67" y="126"/>
                    <a:pt x="97" y="140"/>
                    <a:pt x="105" y="138"/>
                  </a:cubicBezTo>
                  <a:cubicBezTo>
                    <a:pt x="113" y="137"/>
                    <a:pt x="126" y="133"/>
                    <a:pt x="140" y="123"/>
                  </a:cubicBezTo>
                  <a:cubicBezTo>
                    <a:pt x="144" y="120"/>
                    <a:pt x="146" y="118"/>
                    <a:pt x="149" y="117"/>
                  </a:cubicBezTo>
                  <a:cubicBezTo>
                    <a:pt x="143" y="119"/>
                    <a:pt x="137" y="120"/>
                    <a:pt x="133" y="122"/>
                  </a:cubicBezTo>
                  <a:close/>
                </a:path>
              </a:pathLst>
            </a:custGeom>
            <a:solidFill>
              <a:srgbClr val="A48A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4" name="Freeform 56">
              <a:extLst>
                <a:ext uri="{FF2B5EF4-FFF2-40B4-BE49-F238E27FC236}">
                  <a16:creationId xmlns:a16="http://schemas.microsoft.com/office/drawing/2014/main" id="{D48C7BA7-1E4B-4CB2-A13C-E74E23C0A20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0717" y="5410460"/>
              <a:ext cx="62977" cy="14169"/>
            </a:xfrm>
            <a:custGeom>
              <a:avLst/>
              <a:gdLst>
                <a:gd name="T0" fmla="*/ 21 w 28"/>
                <a:gd name="T1" fmla="*/ 0 h 6"/>
                <a:gd name="T2" fmla="*/ 0 w 28"/>
                <a:gd name="T3" fmla="*/ 6 h 6"/>
                <a:gd name="T4" fmla="*/ 21 w 2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6">
                  <a:moveTo>
                    <a:pt x="21" y="0"/>
                  </a:moveTo>
                  <a:cubicBezTo>
                    <a:pt x="14" y="0"/>
                    <a:pt x="9" y="1"/>
                    <a:pt x="0" y="6"/>
                  </a:cubicBezTo>
                  <a:cubicBezTo>
                    <a:pt x="13" y="2"/>
                    <a:pt x="28" y="0"/>
                    <a:pt x="21" y="0"/>
                  </a:cubicBezTo>
                  <a:close/>
                </a:path>
              </a:pathLst>
            </a:custGeom>
            <a:solidFill>
              <a:srgbClr val="A48A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5" name="Freeform 57">
              <a:extLst>
                <a:ext uri="{FF2B5EF4-FFF2-40B4-BE49-F238E27FC236}">
                  <a16:creationId xmlns:a16="http://schemas.microsoft.com/office/drawing/2014/main" id="{A60BC1F9-95C1-4262-B7DA-DDB8BD0FA6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0336" y="5725345"/>
              <a:ext cx="818006" cy="472327"/>
            </a:xfrm>
            <a:custGeom>
              <a:avLst/>
              <a:gdLst>
                <a:gd name="T0" fmla="*/ 0 w 387"/>
                <a:gd name="T1" fmla="*/ 126 h 223"/>
                <a:gd name="T2" fmla="*/ 69 w 387"/>
                <a:gd name="T3" fmla="*/ 211 h 223"/>
                <a:gd name="T4" fmla="*/ 212 w 387"/>
                <a:gd name="T5" fmla="*/ 148 h 223"/>
                <a:gd name="T6" fmla="*/ 380 w 387"/>
                <a:gd name="T7" fmla="*/ 138 h 223"/>
                <a:gd name="T8" fmla="*/ 309 w 387"/>
                <a:gd name="T9" fmla="*/ 24 h 223"/>
                <a:gd name="T10" fmla="*/ 147 w 387"/>
                <a:gd name="T11" fmla="*/ 14 h 223"/>
                <a:gd name="T12" fmla="*/ 0 w 387"/>
                <a:gd name="T13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" h="223">
                  <a:moveTo>
                    <a:pt x="0" y="126"/>
                  </a:moveTo>
                  <a:cubicBezTo>
                    <a:pt x="0" y="126"/>
                    <a:pt x="7" y="200"/>
                    <a:pt x="69" y="211"/>
                  </a:cubicBezTo>
                  <a:cubicBezTo>
                    <a:pt x="131" y="223"/>
                    <a:pt x="173" y="154"/>
                    <a:pt x="212" y="148"/>
                  </a:cubicBezTo>
                  <a:cubicBezTo>
                    <a:pt x="251" y="141"/>
                    <a:pt x="387" y="188"/>
                    <a:pt x="380" y="138"/>
                  </a:cubicBezTo>
                  <a:cubicBezTo>
                    <a:pt x="373" y="88"/>
                    <a:pt x="338" y="35"/>
                    <a:pt x="309" y="24"/>
                  </a:cubicBezTo>
                  <a:cubicBezTo>
                    <a:pt x="279" y="14"/>
                    <a:pt x="198" y="0"/>
                    <a:pt x="147" y="14"/>
                  </a:cubicBezTo>
                  <a:cubicBezTo>
                    <a:pt x="96" y="27"/>
                    <a:pt x="0" y="126"/>
                    <a:pt x="0" y="126"/>
                  </a:cubicBezTo>
                  <a:close/>
                </a:path>
              </a:pathLst>
            </a:custGeom>
            <a:solidFill>
              <a:srgbClr val="585C5E"/>
            </a:solidFill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6" name="Freeform 58">
              <a:extLst>
                <a:ext uri="{FF2B5EF4-FFF2-40B4-BE49-F238E27FC236}">
                  <a16:creationId xmlns:a16="http://schemas.microsoft.com/office/drawing/2014/main" id="{1D9EEB0A-952E-4540-99C6-8B639AF0E2B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7627" y="5560031"/>
              <a:ext cx="1237498" cy="541602"/>
            </a:xfrm>
            <a:custGeom>
              <a:avLst/>
              <a:gdLst>
                <a:gd name="T0" fmla="*/ 42 w 554"/>
                <a:gd name="T1" fmla="*/ 88 h 242"/>
                <a:gd name="T2" fmla="*/ 153 w 554"/>
                <a:gd name="T3" fmla="*/ 64 h 242"/>
                <a:gd name="T4" fmla="*/ 276 w 554"/>
                <a:gd name="T5" fmla="*/ 5 h 242"/>
                <a:gd name="T6" fmla="*/ 416 w 554"/>
                <a:gd name="T7" fmla="*/ 10 h 242"/>
                <a:gd name="T8" fmla="*/ 478 w 554"/>
                <a:gd name="T9" fmla="*/ 52 h 242"/>
                <a:gd name="T10" fmla="*/ 492 w 554"/>
                <a:gd name="T11" fmla="*/ 76 h 242"/>
                <a:gd name="T12" fmla="*/ 546 w 554"/>
                <a:gd name="T13" fmla="*/ 136 h 242"/>
                <a:gd name="T14" fmla="*/ 540 w 554"/>
                <a:gd name="T15" fmla="*/ 165 h 242"/>
                <a:gd name="T16" fmla="*/ 462 w 554"/>
                <a:gd name="T17" fmla="*/ 120 h 242"/>
                <a:gd name="T18" fmla="*/ 408 w 554"/>
                <a:gd name="T19" fmla="*/ 101 h 242"/>
                <a:gd name="T20" fmla="*/ 483 w 554"/>
                <a:gd name="T21" fmla="*/ 180 h 242"/>
                <a:gd name="T22" fmla="*/ 502 w 554"/>
                <a:gd name="T23" fmla="*/ 224 h 242"/>
                <a:gd name="T24" fmla="*/ 444 w 554"/>
                <a:gd name="T25" fmla="*/ 208 h 242"/>
                <a:gd name="T26" fmla="*/ 423 w 554"/>
                <a:gd name="T27" fmla="*/ 203 h 242"/>
                <a:gd name="T28" fmla="*/ 425 w 554"/>
                <a:gd name="T29" fmla="*/ 238 h 242"/>
                <a:gd name="T30" fmla="*/ 358 w 554"/>
                <a:gd name="T31" fmla="*/ 199 h 242"/>
                <a:gd name="T32" fmla="*/ 268 w 554"/>
                <a:gd name="T33" fmla="*/ 207 h 242"/>
                <a:gd name="T34" fmla="*/ 165 w 554"/>
                <a:gd name="T35" fmla="*/ 242 h 242"/>
                <a:gd name="T36" fmla="*/ 0 w 554"/>
                <a:gd name="T37" fmla="*/ 235 h 242"/>
                <a:gd name="T38" fmla="*/ 42 w 554"/>
                <a:gd name="T39" fmla="*/ 8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4" h="242">
                  <a:moveTo>
                    <a:pt x="42" y="88"/>
                  </a:moveTo>
                  <a:cubicBezTo>
                    <a:pt x="42" y="88"/>
                    <a:pt x="137" y="80"/>
                    <a:pt x="153" y="64"/>
                  </a:cubicBezTo>
                  <a:cubicBezTo>
                    <a:pt x="169" y="47"/>
                    <a:pt x="251" y="3"/>
                    <a:pt x="276" y="5"/>
                  </a:cubicBezTo>
                  <a:cubicBezTo>
                    <a:pt x="302" y="7"/>
                    <a:pt x="403" y="0"/>
                    <a:pt x="416" y="10"/>
                  </a:cubicBezTo>
                  <a:cubicBezTo>
                    <a:pt x="430" y="20"/>
                    <a:pt x="472" y="41"/>
                    <a:pt x="478" y="52"/>
                  </a:cubicBezTo>
                  <a:cubicBezTo>
                    <a:pt x="484" y="62"/>
                    <a:pt x="484" y="69"/>
                    <a:pt x="492" y="76"/>
                  </a:cubicBezTo>
                  <a:cubicBezTo>
                    <a:pt x="500" y="82"/>
                    <a:pt x="541" y="128"/>
                    <a:pt x="546" y="136"/>
                  </a:cubicBezTo>
                  <a:cubicBezTo>
                    <a:pt x="552" y="144"/>
                    <a:pt x="554" y="166"/>
                    <a:pt x="540" y="165"/>
                  </a:cubicBezTo>
                  <a:cubicBezTo>
                    <a:pt x="525" y="164"/>
                    <a:pt x="473" y="126"/>
                    <a:pt x="462" y="120"/>
                  </a:cubicBezTo>
                  <a:cubicBezTo>
                    <a:pt x="450" y="114"/>
                    <a:pt x="408" y="97"/>
                    <a:pt x="408" y="101"/>
                  </a:cubicBezTo>
                  <a:cubicBezTo>
                    <a:pt x="409" y="105"/>
                    <a:pt x="473" y="165"/>
                    <a:pt x="483" y="180"/>
                  </a:cubicBezTo>
                  <a:cubicBezTo>
                    <a:pt x="493" y="196"/>
                    <a:pt x="516" y="217"/>
                    <a:pt x="502" y="224"/>
                  </a:cubicBezTo>
                  <a:cubicBezTo>
                    <a:pt x="488" y="232"/>
                    <a:pt x="454" y="218"/>
                    <a:pt x="444" y="208"/>
                  </a:cubicBezTo>
                  <a:cubicBezTo>
                    <a:pt x="434" y="198"/>
                    <a:pt x="418" y="189"/>
                    <a:pt x="423" y="203"/>
                  </a:cubicBezTo>
                  <a:cubicBezTo>
                    <a:pt x="428" y="217"/>
                    <a:pt x="442" y="238"/>
                    <a:pt x="425" y="238"/>
                  </a:cubicBezTo>
                  <a:cubicBezTo>
                    <a:pt x="408" y="239"/>
                    <a:pt x="366" y="202"/>
                    <a:pt x="358" y="199"/>
                  </a:cubicBezTo>
                  <a:cubicBezTo>
                    <a:pt x="350" y="196"/>
                    <a:pt x="285" y="198"/>
                    <a:pt x="268" y="207"/>
                  </a:cubicBezTo>
                  <a:cubicBezTo>
                    <a:pt x="250" y="216"/>
                    <a:pt x="218" y="242"/>
                    <a:pt x="165" y="242"/>
                  </a:cubicBezTo>
                  <a:cubicBezTo>
                    <a:pt x="112" y="241"/>
                    <a:pt x="0" y="235"/>
                    <a:pt x="0" y="235"/>
                  </a:cubicBezTo>
                  <a:lnTo>
                    <a:pt x="42" y="88"/>
                  </a:ln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7" name="Freeform 59">
              <a:extLst>
                <a:ext uri="{FF2B5EF4-FFF2-40B4-BE49-F238E27FC236}">
                  <a16:creationId xmlns:a16="http://schemas.microsoft.com/office/drawing/2014/main" id="{036A84B6-DE8D-4D0A-AB3F-B6AC69C830CA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2034" y="5734792"/>
              <a:ext cx="563644" cy="196803"/>
            </a:xfrm>
            <a:custGeom>
              <a:avLst/>
              <a:gdLst>
                <a:gd name="T0" fmla="*/ 119 w 252"/>
                <a:gd name="T1" fmla="*/ 48 h 88"/>
                <a:gd name="T2" fmla="*/ 0 w 252"/>
                <a:gd name="T3" fmla="*/ 0 h 88"/>
                <a:gd name="T4" fmla="*/ 73 w 252"/>
                <a:gd name="T5" fmla="*/ 7 h 88"/>
                <a:gd name="T6" fmla="*/ 115 w 252"/>
                <a:gd name="T7" fmla="*/ 7 h 88"/>
                <a:gd name="T8" fmla="*/ 168 w 252"/>
                <a:gd name="T9" fmla="*/ 30 h 88"/>
                <a:gd name="T10" fmla="*/ 227 w 252"/>
                <a:gd name="T11" fmla="*/ 70 h 88"/>
                <a:gd name="T12" fmla="*/ 230 w 252"/>
                <a:gd name="T13" fmla="*/ 46 h 88"/>
                <a:gd name="T14" fmla="*/ 226 w 252"/>
                <a:gd name="T15" fmla="*/ 32 h 88"/>
                <a:gd name="T16" fmla="*/ 252 w 252"/>
                <a:gd name="T17" fmla="*/ 68 h 88"/>
                <a:gd name="T18" fmla="*/ 246 w 252"/>
                <a:gd name="T19" fmla="*/ 87 h 88"/>
                <a:gd name="T20" fmla="*/ 190 w 252"/>
                <a:gd name="T21" fmla="*/ 60 h 88"/>
                <a:gd name="T22" fmla="*/ 134 w 252"/>
                <a:gd name="T23" fmla="*/ 29 h 88"/>
                <a:gd name="T24" fmla="*/ 110 w 252"/>
                <a:gd name="T25" fmla="*/ 23 h 88"/>
                <a:gd name="T26" fmla="*/ 151 w 252"/>
                <a:gd name="T27" fmla="*/ 68 h 88"/>
                <a:gd name="T28" fmla="*/ 119 w 252"/>
                <a:gd name="T29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" h="88">
                  <a:moveTo>
                    <a:pt x="119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4" y="3"/>
                    <a:pt x="73" y="7"/>
                  </a:cubicBezTo>
                  <a:cubicBezTo>
                    <a:pt x="92" y="11"/>
                    <a:pt x="104" y="4"/>
                    <a:pt x="115" y="7"/>
                  </a:cubicBezTo>
                  <a:cubicBezTo>
                    <a:pt x="126" y="10"/>
                    <a:pt x="158" y="24"/>
                    <a:pt x="168" y="30"/>
                  </a:cubicBezTo>
                  <a:cubicBezTo>
                    <a:pt x="178" y="36"/>
                    <a:pt x="227" y="70"/>
                    <a:pt x="227" y="70"/>
                  </a:cubicBezTo>
                  <a:cubicBezTo>
                    <a:pt x="227" y="70"/>
                    <a:pt x="237" y="54"/>
                    <a:pt x="230" y="46"/>
                  </a:cubicBezTo>
                  <a:cubicBezTo>
                    <a:pt x="224" y="37"/>
                    <a:pt x="218" y="22"/>
                    <a:pt x="226" y="32"/>
                  </a:cubicBezTo>
                  <a:cubicBezTo>
                    <a:pt x="234" y="42"/>
                    <a:pt x="252" y="58"/>
                    <a:pt x="252" y="68"/>
                  </a:cubicBezTo>
                  <a:cubicBezTo>
                    <a:pt x="252" y="78"/>
                    <a:pt x="252" y="88"/>
                    <a:pt x="246" y="87"/>
                  </a:cubicBezTo>
                  <a:cubicBezTo>
                    <a:pt x="239" y="86"/>
                    <a:pt x="199" y="65"/>
                    <a:pt x="190" y="60"/>
                  </a:cubicBezTo>
                  <a:cubicBezTo>
                    <a:pt x="182" y="54"/>
                    <a:pt x="139" y="32"/>
                    <a:pt x="134" y="29"/>
                  </a:cubicBezTo>
                  <a:cubicBezTo>
                    <a:pt x="130" y="26"/>
                    <a:pt x="108" y="20"/>
                    <a:pt x="110" y="23"/>
                  </a:cubicBezTo>
                  <a:cubicBezTo>
                    <a:pt x="113" y="26"/>
                    <a:pt x="151" y="68"/>
                    <a:pt x="151" y="68"/>
                  </a:cubicBezTo>
                  <a:lnTo>
                    <a:pt x="119" y="48"/>
                  </a:ln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8" name="Freeform 60">
              <a:extLst>
                <a:ext uri="{FF2B5EF4-FFF2-40B4-BE49-F238E27FC236}">
                  <a16:creationId xmlns:a16="http://schemas.microsoft.com/office/drawing/2014/main" id="{DCDCB817-5488-4E5F-B933-ABDCB4A14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459" y="5830832"/>
              <a:ext cx="466030" cy="266077"/>
            </a:xfrm>
            <a:custGeom>
              <a:avLst/>
              <a:gdLst>
                <a:gd name="T0" fmla="*/ 0 w 209"/>
                <a:gd name="T1" fmla="*/ 0 h 119"/>
                <a:gd name="T2" fmla="*/ 88 w 209"/>
                <a:gd name="T3" fmla="*/ 25 h 119"/>
                <a:gd name="T4" fmla="*/ 153 w 209"/>
                <a:gd name="T5" fmla="*/ 83 h 119"/>
                <a:gd name="T6" fmla="*/ 192 w 209"/>
                <a:gd name="T7" fmla="*/ 97 h 119"/>
                <a:gd name="T8" fmla="*/ 197 w 209"/>
                <a:gd name="T9" fmla="*/ 79 h 119"/>
                <a:gd name="T10" fmla="*/ 209 w 209"/>
                <a:gd name="T11" fmla="*/ 96 h 119"/>
                <a:gd name="T12" fmla="*/ 189 w 209"/>
                <a:gd name="T13" fmla="*/ 105 h 119"/>
                <a:gd name="T14" fmla="*/ 147 w 209"/>
                <a:gd name="T15" fmla="*/ 87 h 119"/>
                <a:gd name="T16" fmla="*/ 126 w 209"/>
                <a:gd name="T17" fmla="*/ 74 h 119"/>
                <a:gd name="T18" fmla="*/ 134 w 209"/>
                <a:gd name="T19" fmla="*/ 103 h 119"/>
                <a:gd name="T20" fmla="*/ 123 w 209"/>
                <a:gd name="T21" fmla="*/ 116 h 119"/>
                <a:gd name="T22" fmla="*/ 93 w 209"/>
                <a:gd name="T23" fmla="*/ 100 h 119"/>
                <a:gd name="T24" fmla="*/ 121 w 209"/>
                <a:gd name="T25" fmla="*/ 99 h 119"/>
                <a:gd name="T26" fmla="*/ 105 w 209"/>
                <a:gd name="T27" fmla="*/ 59 h 119"/>
                <a:gd name="T28" fmla="*/ 38 w 209"/>
                <a:gd name="T29" fmla="*/ 16 h 119"/>
                <a:gd name="T30" fmla="*/ 0 w 209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9" h="119">
                  <a:moveTo>
                    <a:pt x="0" y="0"/>
                  </a:moveTo>
                  <a:cubicBezTo>
                    <a:pt x="0" y="0"/>
                    <a:pt x="80" y="21"/>
                    <a:pt x="88" y="25"/>
                  </a:cubicBezTo>
                  <a:cubicBezTo>
                    <a:pt x="96" y="30"/>
                    <a:pt x="153" y="83"/>
                    <a:pt x="153" y="83"/>
                  </a:cubicBezTo>
                  <a:cubicBezTo>
                    <a:pt x="153" y="83"/>
                    <a:pt x="190" y="103"/>
                    <a:pt x="192" y="97"/>
                  </a:cubicBezTo>
                  <a:cubicBezTo>
                    <a:pt x="194" y="92"/>
                    <a:pt x="186" y="71"/>
                    <a:pt x="197" y="79"/>
                  </a:cubicBezTo>
                  <a:cubicBezTo>
                    <a:pt x="206" y="85"/>
                    <a:pt x="209" y="90"/>
                    <a:pt x="209" y="96"/>
                  </a:cubicBezTo>
                  <a:cubicBezTo>
                    <a:pt x="209" y="102"/>
                    <a:pt x="195" y="107"/>
                    <a:pt x="189" y="105"/>
                  </a:cubicBezTo>
                  <a:cubicBezTo>
                    <a:pt x="183" y="103"/>
                    <a:pt x="153" y="93"/>
                    <a:pt x="147" y="87"/>
                  </a:cubicBezTo>
                  <a:cubicBezTo>
                    <a:pt x="141" y="81"/>
                    <a:pt x="126" y="66"/>
                    <a:pt x="126" y="74"/>
                  </a:cubicBezTo>
                  <a:cubicBezTo>
                    <a:pt x="126" y="82"/>
                    <a:pt x="133" y="93"/>
                    <a:pt x="134" y="103"/>
                  </a:cubicBezTo>
                  <a:cubicBezTo>
                    <a:pt x="135" y="113"/>
                    <a:pt x="132" y="119"/>
                    <a:pt x="123" y="116"/>
                  </a:cubicBezTo>
                  <a:cubicBezTo>
                    <a:pt x="115" y="113"/>
                    <a:pt x="93" y="100"/>
                    <a:pt x="93" y="100"/>
                  </a:cubicBezTo>
                  <a:cubicBezTo>
                    <a:pt x="93" y="100"/>
                    <a:pt x="123" y="109"/>
                    <a:pt x="121" y="99"/>
                  </a:cubicBezTo>
                  <a:cubicBezTo>
                    <a:pt x="120" y="89"/>
                    <a:pt x="116" y="71"/>
                    <a:pt x="105" y="59"/>
                  </a:cubicBezTo>
                  <a:cubicBezTo>
                    <a:pt x="95" y="48"/>
                    <a:pt x="49" y="20"/>
                    <a:pt x="38" y="16"/>
                  </a:cubicBezTo>
                  <a:cubicBezTo>
                    <a:pt x="27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9" name="Freeform 61">
              <a:extLst>
                <a:ext uri="{FF2B5EF4-FFF2-40B4-BE49-F238E27FC236}">
                  <a16:creationId xmlns:a16="http://schemas.microsoft.com/office/drawing/2014/main" id="{E2017D01-7155-4DC6-A20C-FC8736A2404E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3226" y="5564754"/>
              <a:ext cx="470752" cy="160591"/>
            </a:xfrm>
            <a:custGeom>
              <a:avLst/>
              <a:gdLst>
                <a:gd name="T0" fmla="*/ 211 w 211"/>
                <a:gd name="T1" fmla="*/ 72 h 72"/>
                <a:gd name="T2" fmla="*/ 202 w 211"/>
                <a:gd name="T3" fmla="*/ 50 h 72"/>
                <a:gd name="T4" fmla="*/ 174 w 211"/>
                <a:gd name="T5" fmla="*/ 28 h 72"/>
                <a:gd name="T6" fmla="*/ 119 w 211"/>
                <a:gd name="T7" fmla="*/ 2 h 72"/>
                <a:gd name="T8" fmla="*/ 65 w 211"/>
                <a:gd name="T9" fmla="*/ 0 h 72"/>
                <a:gd name="T10" fmla="*/ 0 w 211"/>
                <a:gd name="T11" fmla="*/ 3 h 72"/>
                <a:gd name="T12" fmla="*/ 54 w 211"/>
                <a:gd name="T13" fmla="*/ 8 h 72"/>
                <a:gd name="T14" fmla="*/ 131 w 211"/>
                <a:gd name="T15" fmla="*/ 14 h 72"/>
                <a:gd name="T16" fmla="*/ 211 w 211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72">
                  <a:moveTo>
                    <a:pt x="211" y="72"/>
                  </a:moveTo>
                  <a:cubicBezTo>
                    <a:pt x="211" y="72"/>
                    <a:pt x="208" y="58"/>
                    <a:pt x="202" y="50"/>
                  </a:cubicBezTo>
                  <a:cubicBezTo>
                    <a:pt x="195" y="41"/>
                    <a:pt x="178" y="31"/>
                    <a:pt x="174" y="28"/>
                  </a:cubicBezTo>
                  <a:cubicBezTo>
                    <a:pt x="169" y="26"/>
                    <a:pt x="134" y="3"/>
                    <a:pt x="119" y="2"/>
                  </a:cubicBezTo>
                  <a:cubicBezTo>
                    <a:pt x="104" y="2"/>
                    <a:pt x="67" y="0"/>
                    <a:pt x="65" y="0"/>
                  </a:cubicBezTo>
                  <a:cubicBezTo>
                    <a:pt x="63" y="0"/>
                    <a:pt x="0" y="3"/>
                    <a:pt x="0" y="3"/>
                  </a:cubicBezTo>
                  <a:cubicBezTo>
                    <a:pt x="0" y="3"/>
                    <a:pt x="24" y="8"/>
                    <a:pt x="54" y="8"/>
                  </a:cubicBezTo>
                  <a:cubicBezTo>
                    <a:pt x="84" y="8"/>
                    <a:pt x="108" y="3"/>
                    <a:pt x="131" y="14"/>
                  </a:cubicBezTo>
                  <a:cubicBezTo>
                    <a:pt x="154" y="26"/>
                    <a:pt x="211" y="72"/>
                    <a:pt x="211" y="72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0" name="Freeform 62">
              <a:extLst>
                <a:ext uri="{FF2B5EF4-FFF2-40B4-BE49-F238E27FC236}">
                  <a16:creationId xmlns:a16="http://schemas.microsoft.com/office/drawing/2014/main" id="{EE088EB9-6706-407B-89B2-336439F77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2635" y="5958360"/>
              <a:ext cx="404627" cy="129103"/>
            </a:xfrm>
            <a:custGeom>
              <a:avLst/>
              <a:gdLst>
                <a:gd name="T0" fmla="*/ 0 w 181"/>
                <a:gd name="T1" fmla="*/ 58 h 58"/>
                <a:gd name="T2" fmla="*/ 34 w 181"/>
                <a:gd name="T3" fmla="*/ 45 h 58"/>
                <a:gd name="T4" fmla="*/ 83 w 181"/>
                <a:gd name="T5" fmla="*/ 23 h 58"/>
                <a:gd name="T6" fmla="*/ 138 w 181"/>
                <a:gd name="T7" fmla="*/ 20 h 58"/>
                <a:gd name="T8" fmla="*/ 181 w 181"/>
                <a:gd name="T9" fmla="*/ 40 h 58"/>
                <a:gd name="T10" fmla="*/ 151 w 181"/>
                <a:gd name="T11" fmla="*/ 13 h 58"/>
                <a:gd name="T12" fmla="*/ 98 w 181"/>
                <a:gd name="T13" fmla="*/ 3 h 58"/>
                <a:gd name="T14" fmla="*/ 31 w 181"/>
                <a:gd name="T15" fmla="*/ 34 h 58"/>
                <a:gd name="T16" fmla="*/ 0 w 181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58">
                  <a:moveTo>
                    <a:pt x="0" y="58"/>
                  </a:moveTo>
                  <a:cubicBezTo>
                    <a:pt x="0" y="58"/>
                    <a:pt x="23" y="51"/>
                    <a:pt x="34" y="45"/>
                  </a:cubicBezTo>
                  <a:cubicBezTo>
                    <a:pt x="46" y="39"/>
                    <a:pt x="68" y="26"/>
                    <a:pt x="83" y="23"/>
                  </a:cubicBezTo>
                  <a:cubicBezTo>
                    <a:pt x="98" y="20"/>
                    <a:pt x="123" y="19"/>
                    <a:pt x="138" y="20"/>
                  </a:cubicBezTo>
                  <a:cubicBezTo>
                    <a:pt x="152" y="20"/>
                    <a:pt x="181" y="40"/>
                    <a:pt x="181" y="40"/>
                  </a:cubicBezTo>
                  <a:cubicBezTo>
                    <a:pt x="181" y="40"/>
                    <a:pt x="159" y="17"/>
                    <a:pt x="151" y="13"/>
                  </a:cubicBezTo>
                  <a:cubicBezTo>
                    <a:pt x="143" y="9"/>
                    <a:pt x="111" y="0"/>
                    <a:pt x="98" y="3"/>
                  </a:cubicBezTo>
                  <a:cubicBezTo>
                    <a:pt x="86" y="6"/>
                    <a:pt x="38" y="26"/>
                    <a:pt x="31" y="34"/>
                  </a:cubicBezTo>
                  <a:cubicBezTo>
                    <a:pt x="24" y="41"/>
                    <a:pt x="0" y="58"/>
                    <a:pt x="0" y="5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1" name="Freeform 63">
              <a:extLst>
                <a:ext uri="{FF2B5EF4-FFF2-40B4-BE49-F238E27FC236}">
                  <a16:creationId xmlns:a16="http://schemas.microsoft.com/office/drawing/2014/main" id="{FE071424-A7BC-44C0-A2D8-D86790E0CE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8172" y="1998683"/>
              <a:ext cx="1183967" cy="2001093"/>
            </a:xfrm>
            <a:custGeom>
              <a:avLst/>
              <a:gdLst>
                <a:gd name="T0" fmla="*/ 222 w 530"/>
                <a:gd name="T1" fmla="*/ 4 h 896"/>
                <a:gd name="T2" fmla="*/ 153 w 530"/>
                <a:gd name="T3" fmla="*/ 38 h 896"/>
                <a:gd name="T4" fmla="*/ 86 w 530"/>
                <a:gd name="T5" fmla="*/ 139 h 896"/>
                <a:gd name="T6" fmla="*/ 56 w 530"/>
                <a:gd name="T7" fmla="*/ 244 h 896"/>
                <a:gd name="T8" fmla="*/ 54 w 530"/>
                <a:gd name="T9" fmla="*/ 248 h 896"/>
                <a:gd name="T10" fmla="*/ 23 w 530"/>
                <a:gd name="T11" fmla="*/ 263 h 896"/>
                <a:gd name="T12" fmla="*/ 16 w 530"/>
                <a:gd name="T13" fmla="*/ 348 h 896"/>
                <a:gd name="T14" fmla="*/ 37 w 530"/>
                <a:gd name="T15" fmla="*/ 416 h 896"/>
                <a:gd name="T16" fmla="*/ 19 w 530"/>
                <a:gd name="T17" fmla="*/ 513 h 896"/>
                <a:gd name="T18" fmla="*/ 34 w 530"/>
                <a:gd name="T19" fmla="*/ 599 h 896"/>
                <a:gd name="T20" fmla="*/ 194 w 530"/>
                <a:gd name="T21" fmla="*/ 815 h 896"/>
                <a:gd name="T22" fmla="*/ 256 w 530"/>
                <a:gd name="T23" fmla="*/ 868 h 896"/>
                <a:gd name="T24" fmla="*/ 266 w 530"/>
                <a:gd name="T25" fmla="*/ 721 h 896"/>
                <a:gd name="T26" fmla="*/ 323 w 530"/>
                <a:gd name="T27" fmla="*/ 705 h 896"/>
                <a:gd name="T28" fmla="*/ 390 w 530"/>
                <a:gd name="T29" fmla="*/ 621 h 896"/>
                <a:gd name="T30" fmla="*/ 464 w 530"/>
                <a:gd name="T31" fmla="*/ 470 h 896"/>
                <a:gd name="T32" fmla="*/ 471 w 530"/>
                <a:gd name="T33" fmla="*/ 413 h 896"/>
                <a:gd name="T34" fmla="*/ 496 w 530"/>
                <a:gd name="T35" fmla="*/ 313 h 896"/>
                <a:gd name="T36" fmla="*/ 516 w 530"/>
                <a:gd name="T37" fmla="*/ 264 h 896"/>
                <a:gd name="T38" fmla="*/ 518 w 530"/>
                <a:gd name="T39" fmla="*/ 255 h 896"/>
                <a:gd name="T40" fmla="*/ 519 w 530"/>
                <a:gd name="T41" fmla="*/ 135 h 896"/>
                <a:gd name="T42" fmla="*/ 432 w 530"/>
                <a:gd name="T43" fmla="*/ 26 h 896"/>
                <a:gd name="T44" fmla="*/ 340 w 530"/>
                <a:gd name="T45" fmla="*/ 0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0" h="896">
                  <a:moveTo>
                    <a:pt x="222" y="4"/>
                  </a:moveTo>
                  <a:cubicBezTo>
                    <a:pt x="200" y="10"/>
                    <a:pt x="166" y="26"/>
                    <a:pt x="153" y="38"/>
                  </a:cubicBezTo>
                  <a:cubicBezTo>
                    <a:pt x="139" y="50"/>
                    <a:pt x="102" y="107"/>
                    <a:pt x="86" y="139"/>
                  </a:cubicBezTo>
                  <a:cubicBezTo>
                    <a:pt x="72" y="167"/>
                    <a:pt x="62" y="229"/>
                    <a:pt x="56" y="244"/>
                  </a:cubicBezTo>
                  <a:cubicBezTo>
                    <a:pt x="55" y="246"/>
                    <a:pt x="55" y="247"/>
                    <a:pt x="54" y="248"/>
                  </a:cubicBezTo>
                  <a:cubicBezTo>
                    <a:pt x="49" y="252"/>
                    <a:pt x="25" y="256"/>
                    <a:pt x="23" y="263"/>
                  </a:cubicBezTo>
                  <a:cubicBezTo>
                    <a:pt x="20" y="270"/>
                    <a:pt x="11" y="320"/>
                    <a:pt x="16" y="348"/>
                  </a:cubicBezTo>
                  <a:cubicBezTo>
                    <a:pt x="22" y="375"/>
                    <a:pt x="36" y="403"/>
                    <a:pt x="37" y="416"/>
                  </a:cubicBezTo>
                  <a:cubicBezTo>
                    <a:pt x="38" y="428"/>
                    <a:pt x="24" y="505"/>
                    <a:pt x="19" y="513"/>
                  </a:cubicBezTo>
                  <a:cubicBezTo>
                    <a:pt x="13" y="521"/>
                    <a:pt x="0" y="559"/>
                    <a:pt x="34" y="599"/>
                  </a:cubicBezTo>
                  <a:cubicBezTo>
                    <a:pt x="68" y="639"/>
                    <a:pt x="177" y="792"/>
                    <a:pt x="194" y="815"/>
                  </a:cubicBezTo>
                  <a:cubicBezTo>
                    <a:pt x="211" y="837"/>
                    <a:pt x="245" y="896"/>
                    <a:pt x="256" y="868"/>
                  </a:cubicBezTo>
                  <a:cubicBezTo>
                    <a:pt x="267" y="841"/>
                    <a:pt x="255" y="729"/>
                    <a:pt x="266" y="721"/>
                  </a:cubicBezTo>
                  <a:cubicBezTo>
                    <a:pt x="277" y="713"/>
                    <a:pt x="308" y="719"/>
                    <a:pt x="323" y="705"/>
                  </a:cubicBezTo>
                  <a:cubicBezTo>
                    <a:pt x="338" y="691"/>
                    <a:pt x="379" y="634"/>
                    <a:pt x="390" y="621"/>
                  </a:cubicBezTo>
                  <a:cubicBezTo>
                    <a:pt x="400" y="608"/>
                    <a:pt x="463" y="477"/>
                    <a:pt x="464" y="470"/>
                  </a:cubicBezTo>
                  <a:cubicBezTo>
                    <a:pt x="465" y="463"/>
                    <a:pt x="464" y="416"/>
                    <a:pt x="471" y="413"/>
                  </a:cubicBezTo>
                  <a:cubicBezTo>
                    <a:pt x="478" y="409"/>
                    <a:pt x="496" y="322"/>
                    <a:pt x="496" y="313"/>
                  </a:cubicBezTo>
                  <a:cubicBezTo>
                    <a:pt x="496" y="304"/>
                    <a:pt x="516" y="264"/>
                    <a:pt x="516" y="264"/>
                  </a:cubicBezTo>
                  <a:cubicBezTo>
                    <a:pt x="516" y="263"/>
                    <a:pt x="517" y="260"/>
                    <a:pt x="518" y="255"/>
                  </a:cubicBezTo>
                  <a:cubicBezTo>
                    <a:pt x="521" y="231"/>
                    <a:pt x="530" y="165"/>
                    <a:pt x="519" y="135"/>
                  </a:cubicBezTo>
                  <a:cubicBezTo>
                    <a:pt x="507" y="97"/>
                    <a:pt x="462" y="36"/>
                    <a:pt x="432" y="26"/>
                  </a:cubicBezTo>
                  <a:cubicBezTo>
                    <a:pt x="402" y="17"/>
                    <a:pt x="376" y="1"/>
                    <a:pt x="340" y="0"/>
                  </a:cubicBezTo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2" name="Freeform 64">
              <a:extLst>
                <a:ext uri="{FF2B5EF4-FFF2-40B4-BE49-F238E27FC236}">
                  <a16:creationId xmlns:a16="http://schemas.microsoft.com/office/drawing/2014/main" id="{B631A0E6-62CC-4BC7-86A0-96FB55D9D2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4446" y="1990810"/>
              <a:ext cx="1079268" cy="829721"/>
            </a:xfrm>
            <a:custGeom>
              <a:avLst/>
              <a:gdLst>
                <a:gd name="T0" fmla="*/ 167 w 474"/>
                <a:gd name="T1" fmla="*/ 5 h 371"/>
                <a:gd name="T2" fmla="*/ 97 w 474"/>
                <a:gd name="T3" fmla="*/ 39 h 371"/>
                <a:gd name="T4" fmla="*/ 31 w 474"/>
                <a:gd name="T5" fmla="*/ 139 h 371"/>
                <a:gd name="T6" fmla="*/ 0 w 474"/>
                <a:gd name="T7" fmla="*/ 244 h 371"/>
                <a:gd name="T8" fmla="*/ 1 w 474"/>
                <a:gd name="T9" fmla="*/ 245 h 371"/>
                <a:gd name="T10" fmla="*/ 30 w 474"/>
                <a:gd name="T11" fmla="*/ 356 h 371"/>
                <a:gd name="T12" fmla="*/ 45 w 474"/>
                <a:gd name="T13" fmla="*/ 273 h 371"/>
                <a:gd name="T14" fmla="*/ 163 w 474"/>
                <a:gd name="T15" fmla="*/ 148 h 371"/>
                <a:gd name="T16" fmla="*/ 292 w 474"/>
                <a:gd name="T17" fmla="*/ 129 h 371"/>
                <a:gd name="T18" fmla="*/ 344 w 474"/>
                <a:gd name="T19" fmla="*/ 164 h 371"/>
                <a:gd name="T20" fmla="*/ 436 w 474"/>
                <a:gd name="T21" fmla="*/ 208 h 371"/>
                <a:gd name="T22" fmla="*/ 462 w 474"/>
                <a:gd name="T23" fmla="*/ 255 h 371"/>
                <a:gd name="T24" fmla="*/ 464 w 474"/>
                <a:gd name="T25" fmla="*/ 135 h 371"/>
                <a:gd name="T26" fmla="*/ 377 w 474"/>
                <a:gd name="T27" fmla="*/ 27 h 371"/>
                <a:gd name="T28" fmla="*/ 284 w 474"/>
                <a:gd name="T29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4" h="371">
                  <a:moveTo>
                    <a:pt x="167" y="5"/>
                  </a:moveTo>
                  <a:cubicBezTo>
                    <a:pt x="145" y="10"/>
                    <a:pt x="111" y="27"/>
                    <a:pt x="97" y="39"/>
                  </a:cubicBezTo>
                  <a:cubicBezTo>
                    <a:pt x="84" y="50"/>
                    <a:pt x="47" y="107"/>
                    <a:pt x="31" y="139"/>
                  </a:cubicBezTo>
                  <a:cubicBezTo>
                    <a:pt x="17" y="167"/>
                    <a:pt x="6" y="229"/>
                    <a:pt x="0" y="244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1" y="245"/>
                    <a:pt x="30" y="341"/>
                    <a:pt x="30" y="356"/>
                  </a:cubicBezTo>
                  <a:cubicBezTo>
                    <a:pt x="30" y="371"/>
                    <a:pt x="43" y="296"/>
                    <a:pt x="45" y="273"/>
                  </a:cubicBezTo>
                  <a:cubicBezTo>
                    <a:pt x="47" y="250"/>
                    <a:pt x="138" y="163"/>
                    <a:pt x="163" y="148"/>
                  </a:cubicBezTo>
                  <a:cubicBezTo>
                    <a:pt x="189" y="133"/>
                    <a:pt x="265" y="123"/>
                    <a:pt x="292" y="129"/>
                  </a:cubicBezTo>
                  <a:cubicBezTo>
                    <a:pt x="319" y="136"/>
                    <a:pt x="329" y="164"/>
                    <a:pt x="344" y="164"/>
                  </a:cubicBezTo>
                  <a:cubicBezTo>
                    <a:pt x="358" y="164"/>
                    <a:pt x="428" y="193"/>
                    <a:pt x="436" y="208"/>
                  </a:cubicBezTo>
                  <a:cubicBezTo>
                    <a:pt x="441" y="217"/>
                    <a:pt x="452" y="236"/>
                    <a:pt x="462" y="255"/>
                  </a:cubicBezTo>
                  <a:cubicBezTo>
                    <a:pt x="466" y="231"/>
                    <a:pt x="474" y="166"/>
                    <a:pt x="464" y="135"/>
                  </a:cubicBezTo>
                  <a:cubicBezTo>
                    <a:pt x="451" y="98"/>
                    <a:pt x="407" y="36"/>
                    <a:pt x="377" y="27"/>
                  </a:cubicBezTo>
                  <a:cubicBezTo>
                    <a:pt x="347" y="17"/>
                    <a:pt x="320" y="1"/>
                    <a:pt x="28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3" name="Freeform 65">
              <a:extLst>
                <a:ext uri="{FF2B5EF4-FFF2-40B4-BE49-F238E27FC236}">
                  <a16:creationId xmlns:a16="http://schemas.microsoft.com/office/drawing/2014/main" id="{CA6D5D2B-F211-4B70-8047-2208045059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5213" y="2099446"/>
              <a:ext cx="177909" cy="225142"/>
            </a:xfrm>
            <a:custGeom>
              <a:avLst/>
              <a:gdLst>
                <a:gd name="T0" fmla="*/ 80 w 80"/>
                <a:gd name="T1" fmla="*/ 101 h 101"/>
                <a:gd name="T2" fmla="*/ 40 w 80"/>
                <a:gd name="T3" fmla="*/ 37 h 101"/>
                <a:gd name="T4" fmla="*/ 0 w 80"/>
                <a:gd name="T5" fmla="*/ 0 h 101"/>
                <a:gd name="T6" fmla="*/ 58 w 80"/>
                <a:gd name="T7" fmla="*/ 44 h 101"/>
                <a:gd name="T8" fmla="*/ 80 w 8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1">
                  <a:moveTo>
                    <a:pt x="80" y="101"/>
                  </a:moveTo>
                  <a:cubicBezTo>
                    <a:pt x="80" y="101"/>
                    <a:pt x="53" y="49"/>
                    <a:pt x="40" y="37"/>
                  </a:cubicBezTo>
                  <a:cubicBezTo>
                    <a:pt x="26" y="25"/>
                    <a:pt x="0" y="0"/>
                    <a:pt x="0" y="0"/>
                  </a:cubicBezTo>
                  <a:cubicBezTo>
                    <a:pt x="0" y="0"/>
                    <a:pt x="50" y="36"/>
                    <a:pt x="58" y="44"/>
                  </a:cubicBezTo>
                  <a:cubicBezTo>
                    <a:pt x="66" y="52"/>
                    <a:pt x="80" y="101"/>
                    <a:pt x="80" y="101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4" name="Freeform 66">
              <a:extLst>
                <a:ext uri="{FF2B5EF4-FFF2-40B4-BE49-F238E27FC236}">
                  <a16:creationId xmlns:a16="http://schemas.microsoft.com/office/drawing/2014/main" id="{1056486A-BAA2-4DF8-B1BC-7E415E3E5A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6960" y="2143530"/>
              <a:ext cx="160591" cy="154294"/>
            </a:xfrm>
            <a:custGeom>
              <a:avLst/>
              <a:gdLst>
                <a:gd name="T0" fmla="*/ 72 w 72"/>
                <a:gd name="T1" fmla="*/ 69 h 69"/>
                <a:gd name="T2" fmla="*/ 0 w 72"/>
                <a:gd name="T3" fmla="*/ 0 h 69"/>
                <a:gd name="T4" fmla="*/ 47 w 72"/>
                <a:gd name="T5" fmla="*/ 24 h 69"/>
                <a:gd name="T6" fmla="*/ 72 w 72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69">
                  <a:moveTo>
                    <a:pt x="72" y="69"/>
                  </a:moveTo>
                  <a:cubicBezTo>
                    <a:pt x="63" y="57"/>
                    <a:pt x="0" y="0"/>
                    <a:pt x="0" y="0"/>
                  </a:cubicBezTo>
                  <a:cubicBezTo>
                    <a:pt x="0" y="0"/>
                    <a:pt x="39" y="16"/>
                    <a:pt x="47" y="24"/>
                  </a:cubicBezTo>
                  <a:cubicBezTo>
                    <a:pt x="55" y="32"/>
                    <a:pt x="72" y="69"/>
                    <a:pt x="72" y="69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5" name="Freeform 67">
              <a:extLst>
                <a:ext uri="{FF2B5EF4-FFF2-40B4-BE49-F238E27FC236}">
                  <a16:creationId xmlns:a16="http://schemas.microsoft.com/office/drawing/2014/main" id="{C1BADFC4-EFB8-4B32-BA74-B2022C1FB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3992" y="2134083"/>
              <a:ext cx="358969" cy="107061"/>
            </a:xfrm>
            <a:custGeom>
              <a:avLst/>
              <a:gdLst>
                <a:gd name="T0" fmla="*/ 161 w 161"/>
                <a:gd name="T1" fmla="*/ 40 h 48"/>
                <a:gd name="T2" fmla="*/ 56 w 161"/>
                <a:gd name="T3" fmla="*/ 12 h 48"/>
                <a:gd name="T4" fmla="*/ 4 w 161"/>
                <a:gd name="T5" fmla="*/ 42 h 48"/>
                <a:gd name="T6" fmla="*/ 46 w 161"/>
                <a:gd name="T7" fmla="*/ 4 h 48"/>
                <a:gd name="T8" fmla="*/ 108 w 161"/>
                <a:gd name="T9" fmla="*/ 9 h 48"/>
                <a:gd name="T10" fmla="*/ 161 w 161"/>
                <a:gd name="T11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48">
                  <a:moveTo>
                    <a:pt x="161" y="40"/>
                  </a:moveTo>
                  <a:cubicBezTo>
                    <a:pt x="161" y="40"/>
                    <a:pt x="76" y="2"/>
                    <a:pt x="56" y="12"/>
                  </a:cubicBezTo>
                  <a:cubicBezTo>
                    <a:pt x="36" y="21"/>
                    <a:pt x="0" y="48"/>
                    <a:pt x="4" y="42"/>
                  </a:cubicBezTo>
                  <a:cubicBezTo>
                    <a:pt x="8" y="37"/>
                    <a:pt x="32" y="8"/>
                    <a:pt x="46" y="4"/>
                  </a:cubicBezTo>
                  <a:cubicBezTo>
                    <a:pt x="61" y="0"/>
                    <a:pt x="97" y="4"/>
                    <a:pt x="108" y="9"/>
                  </a:cubicBezTo>
                  <a:cubicBezTo>
                    <a:pt x="118" y="14"/>
                    <a:pt x="161" y="40"/>
                    <a:pt x="161" y="40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6" name="Freeform 68">
              <a:extLst>
                <a:ext uri="{FF2B5EF4-FFF2-40B4-BE49-F238E27FC236}">
                  <a16:creationId xmlns:a16="http://schemas.microsoft.com/office/drawing/2014/main" id="{DE1F2A50-E249-4458-B4FD-BCD147AD0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6626" y="2083702"/>
              <a:ext cx="264503" cy="151145"/>
            </a:xfrm>
            <a:custGeom>
              <a:avLst/>
              <a:gdLst>
                <a:gd name="T0" fmla="*/ 118 w 118"/>
                <a:gd name="T1" fmla="*/ 68 h 68"/>
                <a:gd name="T2" fmla="*/ 39 w 118"/>
                <a:gd name="T3" fmla="*/ 19 h 68"/>
                <a:gd name="T4" fmla="*/ 0 w 118"/>
                <a:gd name="T5" fmla="*/ 17 h 68"/>
                <a:gd name="T6" fmla="*/ 47 w 118"/>
                <a:gd name="T7" fmla="*/ 4 h 68"/>
                <a:gd name="T8" fmla="*/ 108 w 118"/>
                <a:gd name="T9" fmla="*/ 51 h 68"/>
                <a:gd name="T10" fmla="*/ 118 w 1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68">
                  <a:moveTo>
                    <a:pt x="118" y="68"/>
                  </a:moveTo>
                  <a:cubicBezTo>
                    <a:pt x="118" y="68"/>
                    <a:pt x="46" y="21"/>
                    <a:pt x="39" y="19"/>
                  </a:cubicBezTo>
                  <a:cubicBezTo>
                    <a:pt x="32" y="16"/>
                    <a:pt x="0" y="17"/>
                    <a:pt x="0" y="17"/>
                  </a:cubicBezTo>
                  <a:cubicBezTo>
                    <a:pt x="0" y="17"/>
                    <a:pt x="31" y="0"/>
                    <a:pt x="47" y="4"/>
                  </a:cubicBezTo>
                  <a:cubicBezTo>
                    <a:pt x="63" y="8"/>
                    <a:pt x="108" y="51"/>
                    <a:pt x="108" y="51"/>
                  </a:cubicBezTo>
                  <a:lnTo>
                    <a:pt x="118" y="68"/>
                  </a:ln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7" name="Freeform 69">
              <a:extLst>
                <a:ext uri="{FF2B5EF4-FFF2-40B4-BE49-F238E27FC236}">
                  <a16:creationId xmlns:a16="http://schemas.microsoft.com/office/drawing/2014/main" id="{5D6800B3-CC80-41E0-A663-D9214FC1ADD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0978" y="2885083"/>
              <a:ext cx="621897" cy="724235"/>
            </a:xfrm>
            <a:custGeom>
              <a:avLst/>
              <a:gdLst>
                <a:gd name="T0" fmla="*/ 20 w 278"/>
                <a:gd name="T1" fmla="*/ 0 h 324"/>
                <a:gd name="T2" fmla="*/ 24 w 278"/>
                <a:gd name="T3" fmla="*/ 154 h 324"/>
                <a:gd name="T4" fmla="*/ 211 w 278"/>
                <a:gd name="T5" fmla="*/ 324 h 324"/>
                <a:gd name="T6" fmla="*/ 230 w 278"/>
                <a:gd name="T7" fmla="*/ 318 h 324"/>
                <a:gd name="T8" fmla="*/ 273 w 278"/>
                <a:gd name="T9" fmla="*/ 302 h 324"/>
                <a:gd name="T10" fmla="*/ 214 w 278"/>
                <a:gd name="T11" fmla="*/ 294 h 324"/>
                <a:gd name="T12" fmla="*/ 33 w 278"/>
                <a:gd name="T13" fmla="*/ 150 h 324"/>
                <a:gd name="T14" fmla="*/ 20 w 278"/>
                <a:gd name="T15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" h="324">
                  <a:moveTo>
                    <a:pt x="20" y="0"/>
                  </a:moveTo>
                  <a:cubicBezTo>
                    <a:pt x="20" y="0"/>
                    <a:pt x="0" y="116"/>
                    <a:pt x="24" y="154"/>
                  </a:cubicBezTo>
                  <a:cubicBezTo>
                    <a:pt x="48" y="193"/>
                    <a:pt x="211" y="324"/>
                    <a:pt x="211" y="324"/>
                  </a:cubicBezTo>
                  <a:cubicBezTo>
                    <a:pt x="211" y="324"/>
                    <a:pt x="213" y="321"/>
                    <a:pt x="230" y="318"/>
                  </a:cubicBezTo>
                  <a:cubicBezTo>
                    <a:pt x="248" y="316"/>
                    <a:pt x="268" y="308"/>
                    <a:pt x="273" y="302"/>
                  </a:cubicBezTo>
                  <a:cubicBezTo>
                    <a:pt x="278" y="297"/>
                    <a:pt x="242" y="312"/>
                    <a:pt x="214" y="294"/>
                  </a:cubicBezTo>
                  <a:cubicBezTo>
                    <a:pt x="186" y="277"/>
                    <a:pt x="40" y="166"/>
                    <a:pt x="33" y="150"/>
                  </a:cubicBezTo>
                  <a:cubicBezTo>
                    <a:pt x="26" y="134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8" name="Freeform 70">
              <a:extLst>
                <a:ext uri="{FF2B5EF4-FFF2-40B4-BE49-F238E27FC236}">
                  <a16:creationId xmlns:a16="http://schemas.microsoft.com/office/drawing/2014/main" id="{08F315E6-3E73-48DC-993B-9C85B72C1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892477" y="3040952"/>
              <a:ext cx="960399" cy="1983775"/>
            </a:xfrm>
            <a:custGeom>
              <a:avLst/>
              <a:gdLst>
                <a:gd name="T0" fmla="*/ 124 w 430"/>
                <a:gd name="T1" fmla="*/ 0 h 888"/>
                <a:gd name="T2" fmla="*/ 126 w 430"/>
                <a:gd name="T3" fmla="*/ 42 h 888"/>
                <a:gd name="T4" fmla="*/ 336 w 430"/>
                <a:gd name="T5" fmla="*/ 331 h 888"/>
                <a:gd name="T6" fmla="*/ 344 w 430"/>
                <a:gd name="T7" fmla="*/ 268 h 888"/>
                <a:gd name="T8" fmla="*/ 368 w 430"/>
                <a:gd name="T9" fmla="*/ 362 h 888"/>
                <a:gd name="T10" fmla="*/ 408 w 430"/>
                <a:gd name="T11" fmla="*/ 439 h 888"/>
                <a:gd name="T12" fmla="*/ 421 w 430"/>
                <a:gd name="T13" fmla="*/ 539 h 888"/>
                <a:gd name="T14" fmla="*/ 409 w 430"/>
                <a:gd name="T15" fmla="*/ 635 h 888"/>
                <a:gd name="T16" fmla="*/ 409 w 430"/>
                <a:gd name="T17" fmla="*/ 867 h 888"/>
                <a:gd name="T18" fmla="*/ 321 w 430"/>
                <a:gd name="T19" fmla="*/ 776 h 888"/>
                <a:gd name="T20" fmla="*/ 213 w 430"/>
                <a:gd name="T21" fmla="*/ 498 h 888"/>
                <a:gd name="T22" fmla="*/ 78 w 430"/>
                <a:gd name="T23" fmla="*/ 222 h 888"/>
                <a:gd name="T24" fmla="*/ 17 w 430"/>
                <a:gd name="T25" fmla="*/ 74 h 888"/>
                <a:gd name="T26" fmla="*/ 60 w 430"/>
                <a:gd name="T27" fmla="*/ 71 h 888"/>
                <a:gd name="T28" fmla="*/ 124 w 430"/>
                <a:gd name="T29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0" h="888">
                  <a:moveTo>
                    <a:pt x="124" y="0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336" y="331"/>
                    <a:pt x="336" y="331"/>
                    <a:pt x="336" y="331"/>
                  </a:cubicBezTo>
                  <a:cubicBezTo>
                    <a:pt x="344" y="268"/>
                    <a:pt x="344" y="268"/>
                    <a:pt x="344" y="268"/>
                  </a:cubicBezTo>
                  <a:cubicBezTo>
                    <a:pt x="344" y="268"/>
                    <a:pt x="362" y="336"/>
                    <a:pt x="368" y="362"/>
                  </a:cubicBezTo>
                  <a:cubicBezTo>
                    <a:pt x="373" y="387"/>
                    <a:pt x="396" y="396"/>
                    <a:pt x="408" y="439"/>
                  </a:cubicBezTo>
                  <a:cubicBezTo>
                    <a:pt x="420" y="482"/>
                    <a:pt x="430" y="508"/>
                    <a:pt x="421" y="539"/>
                  </a:cubicBezTo>
                  <a:cubicBezTo>
                    <a:pt x="412" y="570"/>
                    <a:pt x="406" y="611"/>
                    <a:pt x="409" y="635"/>
                  </a:cubicBezTo>
                  <a:cubicBezTo>
                    <a:pt x="412" y="659"/>
                    <a:pt x="417" y="846"/>
                    <a:pt x="409" y="867"/>
                  </a:cubicBezTo>
                  <a:cubicBezTo>
                    <a:pt x="401" y="888"/>
                    <a:pt x="348" y="855"/>
                    <a:pt x="321" y="776"/>
                  </a:cubicBezTo>
                  <a:cubicBezTo>
                    <a:pt x="294" y="698"/>
                    <a:pt x="258" y="595"/>
                    <a:pt x="213" y="498"/>
                  </a:cubicBezTo>
                  <a:cubicBezTo>
                    <a:pt x="168" y="400"/>
                    <a:pt x="122" y="280"/>
                    <a:pt x="78" y="222"/>
                  </a:cubicBezTo>
                  <a:cubicBezTo>
                    <a:pt x="34" y="163"/>
                    <a:pt x="0" y="87"/>
                    <a:pt x="17" y="74"/>
                  </a:cubicBezTo>
                  <a:cubicBezTo>
                    <a:pt x="34" y="60"/>
                    <a:pt x="46" y="84"/>
                    <a:pt x="60" y="71"/>
                  </a:cubicBezTo>
                  <a:cubicBezTo>
                    <a:pt x="73" y="58"/>
                    <a:pt x="124" y="0"/>
                    <a:pt x="12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9" name="Freeform 71">
              <a:extLst>
                <a:ext uri="{FF2B5EF4-FFF2-40B4-BE49-F238E27FC236}">
                  <a16:creationId xmlns:a16="http://schemas.microsoft.com/office/drawing/2014/main" id="{77D9FB1D-AB22-49CB-8397-032FE8C9CCA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2332" y="3916332"/>
              <a:ext cx="114932" cy="464455"/>
            </a:xfrm>
            <a:custGeom>
              <a:avLst/>
              <a:gdLst>
                <a:gd name="T0" fmla="*/ 31 w 51"/>
                <a:gd name="T1" fmla="*/ 0 h 208"/>
                <a:gd name="T2" fmla="*/ 47 w 51"/>
                <a:gd name="T3" fmla="*/ 127 h 208"/>
                <a:gd name="T4" fmla="*/ 44 w 51"/>
                <a:gd name="T5" fmla="*/ 208 h 208"/>
                <a:gd name="T6" fmla="*/ 12 w 51"/>
                <a:gd name="T7" fmla="*/ 132 h 208"/>
                <a:gd name="T8" fmla="*/ 12 w 51"/>
                <a:gd name="T9" fmla="*/ 60 h 208"/>
                <a:gd name="T10" fmla="*/ 13 w 51"/>
                <a:gd name="T11" fmla="*/ 2 h 208"/>
                <a:gd name="T12" fmla="*/ 31 w 51"/>
                <a:gd name="T1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208">
                  <a:moveTo>
                    <a:pt x="31" y="0"/>
                  </a:moveTo>
                  <a:cubicBezTo>
                    <a:pt x="31" y="0"/>
                    <a:pt x="51" y="84"/>
                    <a:pt x="47" y="127"/>
                  </a:cubicBezTo>
                  <a:cubicBezTo>
                    <a:pt x="43" y="170"/>
                    <a:pt x="44" y="208"/>
                    <a:pt x="44" y="208"/>
                  </a:cubicBezTo>
                  <a:cubicBezTo>
                    <a:pt x="44" y="208"/>
                    <a:pt x="24" y="159"/>
                    <a:pt x="12" y="132"/>
                  </a:cubicBezTo>
                  <a:cubicBezTo>
                    <a:pt x="0" y="106"/>
                    <a:pt x="12" y="64"/>
                    <a:pt x="12" y="60"/>
                  </a:cubicBezTo>
                  <a:cubicBezTo>
                    <a:pt x="12" y="56"/>
                    <a:pt x="13" y="2"/>
                    <a:pt x="13" y="2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0" name="Freeform 72">
              <a:extLst>
                <a:ext uri="{FF2B5EF4-FFF2-40B4-BE49-F238E27FC236}">
                  <a16:creationId xmlns:a16="http://schemas.microsoft.com/office/drawing/2014/main" id="{DAEC993F-D6B7-48BD-A1B3-2E9FAAB2A8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4880" y="3932076"/>
              <a:ext cx="118081" cy="437690"/>
            </a:xfrm>
            <a:custGeom>
              <a:avLst/>
              <a:gdLst>
                <a:gd name="T0" fmla="*/ 29 w 53"/>
                <a:gd name="T1" fmla="*/ 33 h 196"/>
                <a:gd name="T2" fmla="*/ 52 w 53"/>
                <a:gd name="T3" fmla="*/ 101 h 196"/>
                <a:gd name="T4" fmla="*/ 38 w 53"/>
                <a:gd name="T5" fmla="*/ 180 h 196"/>
                <a:gd name="T6" fmla="*/ 6 w 53"/>
                <a:gd name="T7" fmla="*/ 85 h 196"/>
                <a:gd name="T8" fmla="*/ 13 w 53"/>
                <a:gd name="T9" fmla="*/ 0 h 196"/>
                <a:gd name="T10" fmla="*/ 29 w 53"/>
                <a:gd name="T11" fmla="*/ 3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96">
                  <a:moveTo>
                    <a:pt x="29" y="33"/>
                  </a:moveTo>
                  <a:cubicBezTo>
                    <a:pt x="29" y="33"/>
                    <a:pt x="53" y="80"/>
                    <a:pt x="52" y="101"/>
                  </a:cubicBezTo>
                  <a:cubicBezTo>
                    <a:pt x="50" y="123"/>
                    <a:pt x="38" y="196"/>
                    <a:pt x="38" y="180"/>
                  </a:cubicBezTo>
                  <a:cubicBezTo>
                    <a:pt x="38" y="164"/>
                    <a:pt x="13" y="123"/>
                    <a:pt x="6" y="85"/>
                  </a:cubicBezTo>
                  <a:cubicBezTo>
                    <a:pt x="0" y="48"/>
                    <a:pt x="13" y="0"/>
                    <a:pt x="13" y="0"/>
                  </a:cubicBezTo>
                  <a:lnTo>
                    <a:pt x="29" y="3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1" name="Freeform 73">
              <a:extLst>
                <a:ext uri="{FF2B5EF4-FFF2-40B4-BE49-F238E27FC236}">
                  <a16:creationId xmlns:a16="http://schemas.microsoft.com/office/drawing/2014/main" id="{56FF8460-D440-45F9-9543-D4FE2BC217F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816" y="3850206"/>
              <a:ext cx="55104" cy="100763"/>
            </a:xfrm>
            <a:custGeom>
              <a:avLst/>
              <a:gdLst>
                <a:gd name="T0" fmla="*/ 0 w 35"/>
                <a:gd name="T1" fmla="*/ 34 h 64"/>
                <a:gd name="T2" fmla="*/ 21 w 35"/>
                <a:gd name="T3" fmla="*/ 45 h 64"/>
                <a:gd name="T4" fmla="*/ 27 w 35"/>
                <a:gd name="T5" fmla="*/ 0 h 64"/>
                <a:gd name="T6" fmla="*/ 35 w 35"/>
                <a:gd name="T7" fmla="*/ 42 h 64"/>
                <a:gd name="T8" fmla="*/ 27 w 35"/>
                <a:gd name="T9" fmla="*/ 64 h 64"/>
                <a:gd name="T10" fmla="*/ 0 w 35"/>
                <a:gd name="T1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64">
                  <a:moveTo>
                    <a:pt x="0" y="34"/>
                  </a:moveTo>
                  <a:lnTo>
                    <a:pt x="21" y="45"/>
                  </a:lnTo>
                  <a:lnTo>
                    <a:pt x="27" y="0"/>
                  </a:lnTo>
                  <a:lnTo>
                    <a:pt x="35" y="42"/>
                  </a:lnTo>
                  <a:lnTo>
                    <a:pt x="27" y="6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788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2" name="Freeform 74">
              <a:extLst>
                <a:ext uri="{FF2B5EF4-FFF2-40B4-BE49-F238E27FC236}">
                  <a16:creationId xmlns:a16="http://schemas.microsoft.com/office/drawing/2014/main" id="{EE445A6D-5483-414E-B9FE-3E1906295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5233" y="3568384"/>
              <a:ext cx="365266" cy="393606"/>
            </a:xfrm>
            <a:custGeom>
              <a:avLst/>
              <a:gdLst>
                <a:gd name="T0" fmla="*/ 232 w 232"/>
                <a:gd name="T1" fmla="*/ 216 h 250"/>
                <a:gd name="T2" fmla="*/ 186 w 232"/>
                <a:gd name="T3" fmla="*/ 250 h 250"/>
                <a:gd name="T4" fmla="*/ 0 w 232"/>
                <a:gd name="T5" fmla="*/ 0 h 250"/>
                <a:gd name="T6" fmla="*/ 165 w 232"/>
                <a:gd name="T7" fmla="*/ 190 h 250"/>
                <a:gd name="T8" fmla="*/ 195 w 232"/>
                <a:gd name="T9" fmla="*/ 224 h 250"/>
                <a:gd name="T10" fmla="*/ 232 w 232"/>
                <a:gd name="T11" fmla="*/ 21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250">
                  <a:moveTo>
                    <a:pt x="232" y="216"/>
                  </a:moveTo>
                  <a:lnTo>
                    <a:pt x="186" y="250"/>
                  </a:lnTo>
                  <a:lnTo>
                    <a:pt x="0" y="0"/>
                  </a:lnTo>
                  <a:lnTo>
                    <a:pt x="165" y="190"/>
                  </a:lnTo>
                  <a:lnTo>
                    <a:pt x="195" y="224"/>
                  </a:lnTo>
                  <a:lnTo>
                    <a:pt x="232" y="21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3" name="Freeform 75">
              <a:extLst>
                <a:ext uri="{FF2B5EF4-FFF2-40B4-BE49-F238E27FC236}">
                  <a16:creationId xmlns:a16="http://schemas.microsoft.com/office/drawing/2014/main" id="{794C8AA4-754F-4E7B-AB8A-F91D4CCCD1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8544" y="3804547"/>
              <a:ext cx="310161" cy="1209158"/>
            </a:xfrm>
            <a:custGeom>
              <a:avLst/>
              <a:gdLst>
                <a:gd name="T0" fmla="*/ 12 w 139"/>
                <a:gd name="T1" fmla="*/ 92 h 541"/>
                <a:gd name="T2" fmla="*/ 20 w 139"/>
                <a:gd name="T3" fmla="*/ 34 h 541"/>
                <a:gd name="T4" fmla="*/ 59 w 139"/>
                <a:gd name="T5" fmla="*/ 5 h 541"/>
                <a:gd name="T6" fmla="*/ 79 w 139"/>
                <a:gd name="T7" fmla="*/ 88 h 541"/>
                <a:gd name="T8" fmla="*/ 79 w 139"/>
                <a:gd name="T9" fmla="*/ 161 h 541"/>
                <a:gd name="T10" fmla="*/ 131 w 139"/>
                <a:gd name="T11" fmla="*/ 340 h 541"/>
                <a:gd name="T12" fmla="*/ 115 w 139"/>
                <a:gd name="T13" fmla="*/ 512 h 541"/>
                <a:gd name="T14" fmla="*/ 72 w 139"/>
                <a:gd name="T15" fmla="*/ 437 h 541"/>
                <a:gd name="T16" fmla="*/ 12 w 139"/>
                <a:gd name="T17" fmla="*/ 222 h 541"/>
                <a:gd name="T18" fmla="*/ 12 w 139"/>
                <a:gd name="T19" fmla="*/ 9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541">
                  <a:moveTo>
                    <a:pt x="12" y="92"/>
                  </a:moveTo>
                  <a:cubicBezTo>
                    <a:pt x="12" y="92"/>
                    <a:pt x="0" y="46"/>
                    <a:pt x="20" y="34"/>
                  </a:cubicBezTo>
                  <a:cubicBezTo>
                    <a:pt x="40" y="22"/>
                    <a:pt x="53" y="0"/>
                    <a:pt x="59" y="5"/>
                  </a:cubicBezTo>
                  <a:cubicBezTo>
                    <a:pt x="64" y="10"/>
                    <a:pt x="77" y="76"/>
                    <a:pt x="79" y="88"/>
                  </a:cubicBezTo>
                  <a:cubicBezTo>
                    <a:pt x="80" y="100"/>
                    <a:pt x="75" y="145"/>
                    <a:pt x="79" y="161"/>
                  </a:cubicBezTo>
                  <a:cubicBezTo>
                    <a:pt x="83" y="177"/>
                    <a:pt x="123" y="320"/>
                    <a:pt x="131" y="340"/>
                  </a:cubicBezTo>
                  <a:cubicBezTo>
                    <a:pt x="139" y="360"/>
                    <a:pt x="123" y="482"/>
                    <a:pt x="115" y="512"/>
                  </a:cubicBezTo>
                  <a:cubicBezTo>
                    <a:pt x="107" y="541"/>
                    <a:pt x="104" y="518"/>
                    <a:pt x="72" y="437"/>
                  </a:cubicBezTo>
                  <a:cubicBezTo>
                    <a:pt x="40" y="356"/>
                    <a:pt x="11" y="240"/>
                    <a:pt x="12" y="222"/>
                  </a:cubicBezTo>
                  <a:cubicBezTo>
                    <a:pt x="13" y="205"/>
                    <a:pt x="12" y="92"/>
                    <a:pt x="12" y="92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4" name="Freeform 76">
              <a:extLst>
                <a:ext uri="{FF2B5EF4-FFF2-40B4-BE49-F238E27FC236}">
                  <a16:creationId xmlns:a16="http://schemas.microsoft.com/office/drawing/2014/main" id="{1D825E8F-BC9C-474B-B6A6-222CD07606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89" y="3869099"/>
              <a:ext cx="155868" cy="212547"/>
            </a:xfrm>
            <a:custGeom>
              <a:avLst/>
              <a:gdLst>
                <a:gd name="T0" fmla="*/ 25 w 70"/>
                <a:gd name="T1" fmla="*/ 13 h 95"/>
                <a:gd name="T2" fmla="*/ 28 w 70"/>
                <a:gd name="T3" fmla="*/ 68 h 95"/>
                <a:gd name="T4" fmla="*/ 70 w 70"/>
                <a:gd name="T5" fmla="*/ 67 h 95"/>
                <a:gd name="T6" fmla="*/ 70 w 70"/>
                <a:gd name="T7" fmla="*/ 93 h 95"/>
                <a:gd name="T8" fmla="*/ 5 w 70"/>
                <a:gd name="T9" fmla="*/ 95 h 95"/>
                <a:gd name="T10" fmla="*/ 0 w 70"/>
                <a:gd name="T11" fmla="*/ 44 h 95"/>
                <a:gd name="T12" fmla="*/ 13 w 70"/>
                <a:gd name="T13" fmla="*/ 5 h 95"/>
                <a:gd name="T14" fmla="*/ 25 w 70"/>
                <a:gd name="T15" fmla="*/ 1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95">
                  <a:moveTo>
                    <a:pt x="25" y="13"/>
                  </a:moveTo>
                  <a:cubicBezTo>
                    <a:pt x="25" y="13"/>
                    <a:pt x="14" y="60"/>
                    <a:pt x="28" y="68"/>
                  </a:cubicBezTo>
                  <a:cubicBezTo>
                    <a:pt x="41" y="76"/>
                    <a:pt x="70" y="67"/>
                    <a:pt x="70" y="67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5" y="95"/>
                    <a:pt x="0" y="48"/>
                    <a:pt x="0" y="44"/>
                  </a:cubicBezTo>
                  <a:cubicBezTo>
                    <a:pt x="0" y="40"/>
                    <a:pt x="4" y="11"/>
                    <a:pt x="13" y="5"/>
                  </a:cubicBezTo>
                  <a:cubicBezTo>
                    <a:pt x="22" y="0"/>
                    <a:pt x="25" y="13"/>
                    <a:pt x="25" y="13"/>
                  </a:cubicBezTo>
                  <a:close/>
                </a:path>
              </a:pathLst>
            </a:custGeom>
            <a:solidFill>
              <a:srgbClr val="45B1CB">
                <a:lumMod val="50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5" name="Freeform 77">
              <a:extLst>
                <a:ext uri="{FF2B5EF4-FFF2-40B4-BE49-F238E27FC236}">
                  <a16:creationId xmlns:a16="http://schemas.microsoft.com/office/drawing/2014/main" id="{11A4B9A9-776B-44A4-83AF-C9BC3BEACD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6134" y="3092907"/>
              <a:ext cx="3476329" cy="3761300"/>
            </a:xfrm>
            <a:custGeom>
              <a:avLst/>
              <a:gdLst>
                <a:gd name="T0" fmla="*/ 752 w 1557"/>
                <a:gd name="T1" fmla="*/ 0 h 1684"/>
                <a:gd name="T2" fmla="*/ 717 w 1557"/>
                <a:gd name="T3" fmla="*/ 51 h 1684"/>
                <a:gd name="T4" fmla="*/ 1013 w 1557"/>
                <a:gd name="T5" fmla="*/ 721 h 1684"/>
                <a:gd name="T6" fmla="*/ 1058 w 1557"/>
                <a:gd name="T7" fmla="*/ 813 h 1684"/>
                <a:gd name="T8" fmla="*/ 1066 w 1557"/>
                <a:gd name="T9" fmla="*/ 668 h 1684"/>
                <a:gd name="T10" fmla="*/ 1052 w 1557"/>
                <a:gd name="T11" fmla="*/ 519 h 1684"/>
                <a:gd name="T12" fmla="*/ 1016 w 1557"/>
                <a:gd name="T13" fmla="*/ 365 h 1684"/>
                <a:gd name="T14" fmla="*/ 1005 w 1557"/>
                <a:gd name="T15" fmla="*/ 260 h 1684"/>
                <a:gd name="T16" fmla="*/ 1068 w 1557"/>
                <a:gd name="T17" fmla="*/ 359 h 1684"/>
                <a:gd name="T18" fmla="*/ 1093 w 1557"/>
                <a:gd name="T19" fmla="*/ 503 h 1684"/>
                <a:gd name="T20" fmla="*/ 1080 w 1557"/>
                <a:gd name="T21" fmla="*/ 569 h 1684"/>
                <a:gd name="T22" fmla="*/ 1110 w 1557"/>
                <a:gd name="T23" fmla="*/ 636 h 1684"/>
                <a:gd name="T24" fmla="*/ 1136 w 1557"/>
                <a:gd name="T25" fmla="*/ 681 h 1684"/>
                <a:gd name="T26" fmla="*/ 1148 w 1557"/>
                <a:gd name="T27" fmla="*/ 727 h 1684"/>
                <a:gd name="T28" fmla="*/ 1174 w 1557"/>
                <a:gd name="T29" fmla="*/ 767 h 1684"/>
                <a:gd name="T30" fmla="*/ 1274 w 1557"/>
                <a:gd name="T31" fmla="*/ 845 h 1684"/>
                <a:gd name="T32" fmla="*/ 1313 w 1557"/>
                <a:gd name="T33" fmla="*/ 853 h 1684"/>
                <a:gd name="T34" fmla="*/ 1397 w 1557"/>
                <a:gd name="T35" fmla="*/ 863 h 1684"/>
                <a:gd name="T36" fmla="*/ 1486 w 1557"/>
                <a:gd name="T37" fmla="*/ 885 h 1684"/>
                <a:gd name="T38" fmla="*/ 1445 w 1557"/>
                <a:gd name="T39" fmla="*/ 940 h 1684"/>
                <a:gd name="T40" fmla="*/ 1454 w 1557"/>
                <a:gd name="T41" fmla="*/ 1017 h 1684"/>
                <a:gd name="T42" fmla="*/ 1500 w 1557"/>
                <a:gd name="T43" fmla="*/ 1052 h 1684"/>
                <a:gd name="T44" fmla="*/ 1546 w 1557"/>
                <a:gd name="T45" fmla="*/ 1065 h 1684"/>
                <a:gd name="T46" fmla="*/ 1426 w 1557"/>
                <a:gd name="T47" fmla="*/ 1084 h 1684"/>
                <a:gd name="T48" fmla="*/ 1142 w 1557"/>
                <a:gd name="T49" fmla="*/ 1059 h 1684"/>
                <a:gd name="T50" fmla="*/ 1044 w 1557"/>
                <a:gd name="T51" fmla="*/ 1037 h 1684"/>
                <a:gd name="T52" fmla="*/ 972 w 1557"/>
                <a:gd name="T53" fmla="*/ 1125 h 1684"/>
                <a:gd name="T54" fmla="*/ 1034 w 1557"/>
                <a:gd name="T55" fmla="*/ 1141 h 1684"/>
                <a:gd name="T56" fmla="*/ 1069 w 1557"/>
                <a:gd name="T57" fmla="*/ 1157 h 1684"/>
                <a:gd name="T58" fmla="*/ 1102 w 1557"/>
                <a:gd name="T59" fmla="*/ 1132 h 1684"/>
                <a:gd name="T60" fmla="*/ 1193 w 1557"/>
                <a:gd name="T61" fmla="*/ 1148 h 1684"/>
                <a:gd name="T62" fmla="*/ 1376 w 1557"/>
                <a:gd name="T63" fmla="*/ 1175 h 1684"/>
                <a:gd name="T64" fmla="*/ 1380 w 1557"/>
                <a:gd name="T65" fmla="*/ 1219 h 1684"/>
                <a:gd name="T66" fmla="*/ 1324 w 1557"/>
                <a:gd name="T67" fmla="*/ 1421 h 1684"/>
                <a:gd name="T68" fmla="*/ 1296 w 1557"/>
                <a:gd name="T69" fmla="*/ 1525 h 1684"/>
                <a:gd name="T70" fmla="*/ 1004 w 1557"/>
                <a:gd name="T71" fmla="*/ 1440 h 1684"/>
                <a:gd name="T72" fmla="*/ 869 w 1557"/>
                <a:gd name="T73" fmla="*/ 1428 h 1684"/>
                <a:gd name="T74" fmla="*/ 952 w 1557"/>
                <a:gd name="T75" fmla="*/ 1588 h 1684"/>
                <a:gd name="T76" fmla="*/ 952 w 1557"/>
                <a:gd name="T77" fmla="*/ 1659 h 1684"/>
                <a:gd name="T78" fmla="*/ 4 w 1557"/>
                <a:gd name="T79" fmla="*/ 1673 h 1684"/>
                <a:gd name="T80" fmla="*/ 28 w 1557"/>
                <a:gd name="T81" fmla="*/ 1455 h 1684"/>
                <a:gd name="T82" fmla="*/ 142 w 1557"/>
                <a:gd name="T83" fmla="*/ 1281 h 1684"/>
                <a:gd name="T84" fmla="*/ 126 w 1557"/>
                <a:gd name="T85" fmla="*/ 1089 h 1684"/>
                <a:gd name="T86" fmla="*/ 184 w 1557"/>
                <a:gd name="T87" fmla="*/ 985 h 1684"/>
                <a:gd name="T88" fmla="*/ 190 w 1557"/>
                <a:gd name="T89" fmla="*/ 799 h 1684"/>
                <a:gd name="T90" fmla="*/ 174 w 1557"/>
                <a:gd name="T91" fmla="*/ 619 h 1684"/>
                <a:gd name="T92" fmla="*/ 192 w 1557"/>
                <a:gd name="T93" fmla="*/ 535 h 1684"/>
                <a:gd name="T94" fmla="*/ 290 w 1557"/>
                <a:gd name="T95" fmla="*/ 329 h 1684"/>
                <a:gd name="T96" fmla="*/ 445 w 1557"/>
                <a:gd name="T97" fmla="*/ 200 h 1684"/>
                <a:gd name="T98" fmla="*/ 606 w 1557"/>
                <a:gd name="T99" fmla="*/ 109 h 1684"/>
                <a:gd name="T100" fmla="*/ 676 w 1557"/>
                <a:gd name="T101" fmla="*/ 15 h 1684"/>
                <a:gd name="T102" fmla="*/ 752 w 1557"/>
                <a:gd name="T103" fmla="*/ 0 h 1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57" h="1684">
                  <a:moveTo>
                    <a:pt x="752" y="0"/>
                  </a:moveTo>
                  <a:cubicBezTo>
                    <a:pt x="717" y="51"/>
                    <a:pt x="717" y="51"/>
                    <a:pt x="717" y="51"/>
                  </a:cubicBezTo>
                  <a:cubicBezTo>
                    <a:pt x="717" y="51"/>
                    <a:pt x="1000" y="672"/>
                    <a:pt x="1013" y="721"/>
                  </a:cubicBezTo>
                  <a:cubicBezTo>
                    <a:pt x="1026" y="771"/>
                    <a:pt x="1057" y="848"/>
                    <a:pt x="1058" y="813"/>
                  </a:cubicBezTo>
                  <a:cubicBezTo>
                    <a:pt x="1060" y="779"/>
                    <a:pt x="1074" y="703"/>
                    <a:pt x="1066" y="668"/>
                  </a:cubicBezTo>
                  <a:cubicBezTo>
                    <a:pt x="1058" y="633"/>
                    <a:pt x="1048" y="531"/>
                    <a:pt x="1052" y="519"/>
                  </a:cubicBezTo>
                  <a:cubicBezTo>
                    <a:pt x="1056" y="507"/>
                    <a:pt x="1025" y="369"/>
                    <a:pt x="1016" y="365"/>
                  </a:cubicBezTo>
                  <a:cubicBezTo>
                    <a:pt x="1006" y="361"/>
                    <a:pt x="1005" y="260"/>
                    <a:pt x="1005" y="260"/>
                  </a:cubicBezTo>
                  <a:cubicBezTo>
                    <a:pt x="1005" y="260"/>
                    <a:pt x="1060" y="341"/>
                    <a:pt x="1068" y="359"/>
                  </a:cubicBezTo>
                  <a:cubicBezTo>
                    <a:pt x="1076" y="376"/>
                    <a:pt x="1097" y="477"/>
                    <a:pt x="1093" y="503"/>
                  </a:cubicBezTo>
                  <a:cubicBezTo>
                    <a:pt x="1089" y="528"/>
                    <a:pt x="1068" y="541"/>
                    <a:pt x="1080" y="569"/>
                  </a:cubicBezTo>
                  <a:cubicBezTo>
                    <a:pt x="1092" y="597"/>
                    <a:pt x="1108" y="623"/>
                    <a:pt x="1110" y="636"/>
                  </a:cubicBezTo>
                  <a:cubicBezTo>
                    <a:pt x="1113" y="649"/>
                    <a:pt x="1134" y="660"/>
                    <a:pt x="1136" y="681"/>
                  </a:cubicBezTo>
                  <a:cubicBezTo>
                    <a:pt x="1137" y="703"/>
                    <a:pt x="1134" y="720"/>
                    <a:pt x="1148" y="727"/>
                  </a:cubicBezTo>
                  <a:cubicBezTo>
                    <a:pt x="1161" y="733"/>
                    <a:pt x="1174" y="767"/>
                    <a:pt x="1174" y="767"/>
                  </a:cubicBezTo>
                  <a:cubicBezTo>
                    <a:pt x="1174" y="767"/>
                    <a:pt x="1266" y="840"/>
                    <a:pt x="1274" y="845"/>
                  </a:cubicBezTo>
                  <a:cubicBezTo>
                    <a:pt x="1282" y="851"/>
                    <a:pt x="1306" y="853"/>
                    <a:pt x="1313" y="853"/>
                  </a:cubicBezTo>
                  <a:cubicBezTo>
                    <a:pt x="1320" y="853"/>
                    <a:pt x="1370" y="852"/>
                    <a:pt x="1397" y="863"/>
                  </a:cubicBezTo>
                  <a:cubicBezTo>
                    <a:pt x="1424" y="873"/>
                    <a:pt x="1486" y="885"/>
                    <a:pt x="1486" y="885"/>
                  </a:cubicBezTo>
                  <a:cubicBezTo>
                    <a:pt x="1486" y="885"/>
                    <a:pt x="1453" y="912"/>
                    <a:pt x="1445" y="940"/>
                  </a:cubicBezTo>
                  <a:cubicBezTo>
                    <a:pt x="1437" y="968"/>
                    <a:pt x="1446" y="1007"/>
                    <a:pt x="1454" y="1017"/>
                  </a:cubicBezTo>
                  <a:cubicBezTo>
                    <a:pt x="1462" y="1028"/>
                    <a:pt x="1487" y="1046"/>
                    <a:pt x="1500" y="1052"/>
                  </a:cubicBezTo>
                  <a:cubicBezTo>
                    <a:pt x="1513" y="1059"/>
                    <a:pt x="1557" y="1063"/>
                    <a:pt x="1546" y="1065"/>
                  </a:cubicBezTo>
                  <a:cubicBezTo>
                    <a:pt x="1536" y="1068"/>
                    <a:pt x="1461" y="1085"/>
                    <a:pt x="1426" y="1084"/>
                  </a:cubicBezTo>
                  <a:cubicBezTo>
                    <a:pt x="1392" y="1083"/>
                    <a:pt x="1156" y="1060"/>
                    <a:pt x="1142" y="1059"/>
                  </a:cubicBezTo>
                  <a:cubicBezTo>
                    <a:pt x="1129" y="1057"/>
                    <a:pt x="1044" y="1037"/>
                    <a:pt x="1044" y="1037"/>
                  </a:cubicBezTo>
                  <a:cubicBezTo>
                    <a:pt x="1044" y="1037"/>
                    <a:pt x="976" y="1116"/>
                    <a:pt x="972" y="1125"/>
                  </a:cubicBezTo>
                  <a:cubicBezTo>
                    <a:pt x="968" y="1135"/>
                    <a:pt x="1018" y="1129"/>
                    <a:pt x="1034" y="1141"/>
                  </a:cubicBezTo>
                  <a:cubicBezTo>
                    <a:pt x="1050" y="1153"/>
                    <a:pt x="1052" y="1175"/>
                    <a:pt x="1069" y="1157"/>
                  </a:cubicBezTo>
                  <a:cubicBezTo>
                    <a:pt x="1086" y="1140"/>
                    <a:pt x="1060" y="1120"/>
                    <a:pt x="1102" y="1132"/>
                  </a:cubicBezTo>
                  <a:cubicBezTo>
                    <a:pt x="1145" y="1144"/>
                    <a:pt x="1150" y="1147"/>
                    <a:pt x="1193" y="1148"/>
                  </a:cubicBezTo>
                  <a:cubicBezTo>
                    <a:pt x="1236" y="1149"/>
                    <a:pt x="1364" y="1163"/>
                    <a:pt x="1376" y="1175"/>
                  </a:cubicBezTo>
                  <a:cubicBezTo>
                    <a:pt x="1388" y="1187"/>
                    <a:pt x="1390" y="1188"/>
                    <a:pt x="1380" y="1219"/>
                  </a:cubicBezTo>
                  <a:cubicBezTo>
                    <a:pt x="1369" y="1249"/>
                    <a:pt x="1333" y="1383"/>
                    <a:pt x="1324" y="1421"/>
                  </a:cubicBezTo>
                  <a:cubicBezTo>
                    <a:pt x="1314" y="1460"/>
                    <a:pt x="1296" y="1525"/>
                    <a:pt x="1296" y="1525"/>
                  </a:cubicBezTo>
                  <a:cubicBezTo>
                    <a:pt x="1296" y="1525"/>
                    <a:pt x="1060" y="1447"/>
                    <a:pt x="1004" y="1440"/>
                  </a:cubicBezTo>
                  <a:cubicBezTo>
                    <a:pt x="948" y="1433"/>
                    <a:pt x="866" y="1415"/>
                    <a:pt x="869" y="1428"/>
                  </a:cubicBezTo>
                  <a:cubicBezTo>
                    <a:pt x="872" y="1441"/>
                    <a:pt x="952" y="1588"/>
                    <a:pt x="952" y="1588"/>
                  </a:cubicBezTo>
                  <a:cubicBezTo>
                    <a:pt x="952" y="1588"/>
                    <a:pt x="961" y="1633"/>
                    <a:pt x="952" y="1659"/>
                  </a:cubicBezTo>
                  <a:cubicBezTo>
                    <a:pt x="942" y="1684"/>
                    <a:pt x="4" y="1673"/>
                    <a:pt x="4" y="1673"/>
                  </a:cubicBezTo>
                  <a:cubicBezTo>
                    <a:pt x="4" y="1673"/>
                    <a:pt x="0" y="1505"/>
                    <a:pt x="28" y="1455"/>
                  </a:cubicBezTo>
                  <a:cubicBezTo>
                    <a:pt x="56" y="1404"/>
                    <a:pt x="138" y="1297"/>
                    <a:pt x="142" y="1281"/>
                  </a:cubicBezTo>
                  <a:cubicBezTo>
                    <a:pt x="146" y="1265"/>
                    <a:pt x="125" y="1128"/>
                    <a:pt x="126" y="1089"/>
                  </a:cubicBezTo>
                  <a:cubicBezTo>
                    <a:pt x="128" y="1051"/>
                    <a:pt x="173" y="989"/>
                    <a:pt x="184" y="985"/>
                  </a:cubicBezTo>
                  <a:cubicBezTo>
                    <a:pt x="194" y="981"/>
                    <a:pt x="188" y="828"/>
                    <a:pt x="190" y="799"/>
                  </a:cubicBezTo>
                  <a:cubicBezTo>
                    <a:pt x="193" y="769"/>
                    <a:pt x="178" y="657"/>
                    <a:pt x="174" y="619"/>
                  </a:cubicBezTo>
                  <a:cubicBezTo>
                    <a:pt x="170" y="580"/>
                    <a:pt x="173" y="551"/>
                    <a:pt x="192" y="535"/>
                  </a:cubicBezTo>
                  <a:cubicBezTo>
                    <a:pt x="210" y="519"/>
                    <a:pt x="272" y="351"/>
                    <a:pt x="290" y="329"/>
                  </a:cubicBezTo>
                  <a:cubicBezTo>
                    <a:pt x="309" y="308"/>
                    <a:pt x="400" y="213"/>
                    <a:pt x="445" y="200"/>
                  </a:cubicBezTo>
                  <a:cubicBezTo>
                    <a:pt x="490" y="187"/>
                    <a:pt x="596" y="128"/>
                    <a:pt x="606" y="109"/>
                  </a:cubicBezTo>
                  <a:cubicBezTo>
                    <a:pt x="617" y="91"/>
                    <a:pt x="656" y="24"/>
                    <a:pt x="676" y="15"/>
                  </a:cubicBezTo>
                  <a:cubicBezTo>
                    <a:pt x="696" y="5"/>
                    <a:pt x="752" y="0"/>
                    <a:pt x="752" y="0"/>
                  </a:cubicBezTo>
                  <a:close/>
                </a:path>
              </a:pathLst>
            </a:custGeom>
            <a:solidFill>
              <a:srgbClr val="45B1CB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6" name="Freeform 78">
              <a:extLst>
                <a:ext uri="{FF2B5EF4-FFF2-40B4-BE49-F238E27FC236}">
                  <a16:creationId xmlns:a16="http://schemas.microsoft.com/office/drawing/2014/main" id="{9203C1A9-6C37-43FE-BCC7-041C107A9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6818" y="3332220"/>
              <a:ext cx="902145" cy="2012115"/>
            </a:xfrm>
            <a:custGeom>
              <a:avLst/>
              <a:gdLst>
                <a:gd name="T0" fmla="*/ 0 w 404"/>
                <a:gd name="T1" fmla="*/ 0 h 901"/>
                <a:gd name="T2" fmla="*/ 104 w 404"/>
                <a:gd name="T3" fmla="*/ 181 h 901"/>
                <a:gd name="T4" fmla="*/ 192 w 404"/>
                <a:gd name="T5" fmla="*/ 370 h 901"/>
                <a:gd name="T6" fmla="*/ 284 w 404"/>
                <a:gd name="T7" fmla="*/ 520 h 901"/>
                <a:gd name="T8" fmla="*/ 404 w 404"/>
                <a:gd name="T9" fmla="*/ 897 h 901"/>
                <a:gd name="T10" fmla="*/ 341 w 404"/>
                <a:gd name="T11" fmla="*/ 761 h 901"/>
                <a:gd name="T12" fmla="*/ 245 w 404"/>
                <a:gd name="T13" fmla="*/ 490 h 901"/>
                <a:gd name="T14" fmla="*/ 97 w 404"/>
                <a:gd name="T15" fmla="*/ 212 h 901"/>
                <a:gd name="T16" fmla="*/ 0 w 404"/>
                <a:gd name="T17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4" h="901">
                  <a:moveTo>
                    <a:pt x="0" y="0"/>
                  </a:moveTo>
                  <a:cubicBezTo>
                    <a:pt x="0" y="0"/>
                    <a:pt x="93" y="156"/>
                    <a:pt x="104" y="181"/>
                  </a:cubicBezTo>
                  <a:cubicBezTo>
                    <a:pt x="114" y="206"/>
                    <a:pt x="181" y="361"/>
                    <a:pt x="192" y="370"/>
                  </a:cubicBezTo>
                  <a:cubicBezTo>
                    <a:pt x="202" y="380"/>
                    <a:pt x="272" y="493"/>
                    <a:pt x="284" y="520"/>
                  </a:cubicBezTo>
                  <a:cubicBezTo>
                    <a:pt x="296" y="546"/>
                    <a:pt x="404" y="893"/>
                    <a:pt x="404" y="897"/>
                  </a:cubicBezTo>
                  <a:cubicBezTo>
                    <a:pt x="404" y="901"/>
                    <a:pt x="361" y="812"/>
                    <a:pt x="341" y="761"/>
                  </a:cubicBezTo>
                  <a:cubicBezTo>
                    <a:pt x="321" y="710"/>
                    <a:pt x="256" y="505"/>
                    <a:pt x="245" y="490"/>
                  </a:cubicBezTo>
                  <a:cubicBezTo>
                    <a:pt x="234" y="476"/>
                    <a:pt x="106" y="241"/>
                    <a:pt x="97" y="212"/>
                  </a:cubicBezTo>
                  <a:cubicBezTo>
                    <a:pt x="88" y="18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7" name="Freeform 79">
              <a:extLst>
                <a:ext uri="{FF2B5EF4-FFF2-40B4-BE49-F238E27FC236}">
                  <a16:creationId xmlns:a16="http://schemas.microsoft.com/office/drawing/2014/main" id="{769952B1-2955-4555-9971-3A3A85001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3133" y="4761797"/>
              <a:ext cx="107061" cy="582537"/>
            </a:xfrm>
            <a:custGeom>
              <a:avLst/>
              <a:gdLst>
                <a:gd name="T0" fmla="*/ 48 w 48"/>
                <a:gd name="T1" fmla="*/ 0 h 261"/>
                <a:gd name="T2" fmla="*/ 16 w 48"/>
                <a:gd name="T3" fmla="*/ 145 h 261"/>
                <a:gd name="T4" fmla="*/ 22 w 48"/>
                <a:gd name="T5" fmla="*/ 225 h 261"/>
                <a:gd name="T6" fmla="*/ 0 w 48"/>
                <a:gd name="T7" fmla="*/ 261 h 261"/>
                <a:gd name="T8" fmla="*/ 38 w 48"/>
                <a:gd name="T9" fmla="*/ 208 h 261"/>
                <a:gd name="T10" fmla="*/ 26 w 48"/>
                <a:gd name="T11" fmla="*/ 122 h 261"/>
                <a:gd name="T12" fmla="*/ 48 w 48"/>
                <a:gd name="T1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61">
                  <a:moveTo>
                    <a:pt x="48" y="0"/>
                  </a:moveTo>
                  <a:cubicBezTo>
                    <a:pt x="48" y="0"/>
                    <a:pt x="8" y="122"/>
                    <a:pt x="16" y="145"/>
                  </a:cubicBezTo>
                  <a:cubicBezTo>
                    <a:pt x="24" y="168"/>
                    <a:pt x="31" y="209"/>
                    <a:pt x="22" y="225"/>
                  </a:cubicBezTo>
                  <a:cubicBezTo>
                    <a:pt x="12" y="241"/>
                    <a:pt x="0" y="261"/>
                    <a:pt x="0" y="261"/>
                  </a:cubicBezTo>
                  <a:cubicBezTo>
                    <a:pt x="0" y="261"/>
                    <a:pt x="42" y="250"/>
                    <a:pt x="38" y="208"/>
                  </a:cubicBezTo>
                  <a:cubicBezTo>
                    <a:pt x="34" y="165"/>
                    <a:pt x="19" y="144"/>
                    <a:pt x="26" y="122"/>
                  </a:cubicBezTo>
                  <a:cubicBezTo>
                    <a:pt x="32" y="101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8" name="Freeform 80">
              <a:extLst>
                <a:ext uri="{FF2B5EF4-FFF2-40B4-BE49-F238E27FC236}">
                  <a16:creationId xmlns:a16="http://schemas.microsoft.com/office/drawing/2014/main" id="{D63DA33B-D488-4B69-BEAA-055197C242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7086" y="4012371"/>
              <a:ext cx="1231200" cy="1851523"/>
            </a:xfrm>
            <a:custGeom>
              <a:avLst/>
              <a:gdLst>
                <a:gd name="T0" fmla="*/ 268 w 551"/>
                <a:gd name="T1" fmla="*/ 232 h 829"/>
                <a:gd name="T2" fmla="*/ 170 w 551"/>
                <a:gd name="T3" fmla="*/ 56 h 829"/>
                <a:gd name="T4" fmla="*/ 118 w 551"/>
                <a:gd name="T5" fmla="*/ 0 h 829"/>
                <a:gd name="T6" fmla="*/ 206 w 551"/>
                <a:gd name="T7" fmla="*/ 71 h 829"/>
                <a:gd name="T8" fmla="*/ 276 w 551"/>
                <a:gd name="T9" fmla="*/ 195 h 829"/>
                <a:gd name="T10" fmla="*/ 287 w 551"/>
                <a:gd name="T11" fmla="*/ 124 h 829"/>
                <a:gd name="T12" fmla="*/ 319 w 551"/>
                <a:gd name="T13" fmla="*/ 201 h 829"/>
                <a:gd name="T14" fmla="*/ 330 w 551"/>
                <a:gd name="T15" fmla="*/ 343 h 829"/>
                <a:gd name="T16" fmla="*/ 292 w 551"/>
                <a:gd name="T17" fmla="*/ 441 h 829"/>
                <a:gd name="T18" fmla="*/ 324 w 551"/>
                <a:gd name="T19" fmla="*/ 617 h 829"/>
                <a:gd name="T20" fmla="*/ 492 w 551"/>
                <a:gd name="T21" fmla="*/ 693 h 829"/>
                <a:gd name="T22" fmla="*/ 551 w 551"/>
                <a:gd name="T23" fmla="*/ 719 h 829"/>
                <a:gd name="T24" fmla="*/ 482 w 551"/>
                <a:gd name="T25" fmla="*/ 704 h 829"/>
                <a:gd name="T26" fmla="*/ 294 w 551"/>
                <a:gd name="T27" fmla="*/ 651 h 829"/>
                <a:gd name="T28" fmla="*/ 243 w 551"/>
                <a:gd name="T29" fmla="*/ 753 h 829"/>
                <a:gd name="T30" fmla="*/ 247 w 551"/>
                <a:gd name="T31" fmla="*/ 680 h 829"/>
                <a:gd name="T32" fmla="*/ 155 w 551"/>
                <a:gd name="T33" fmla="*/ 772 h 829"/>
                <a:gd name="T34" fmla="*/ 151 w 551"/>
                <a:gd name="T35" fmla="*/ 736 h 829"/>
                <a:gd name="T36" fmla="*/ 91 w 551"/>
                <a:gd name="T37" fmla="*/ 787 h 829"/>
                <a:gd name="T38" fmla="*/ 91 w 551"/>
                <a:gd name="T39" fmla="*/ 769 h 829"/>
                <a:gd name="T40" fmla="*/ 68 w 551"/>
                <a:gd name="T41" fmla="*/ 756 h 829"/>
                <a:gd name="T42" fmla="*/ 123 w 551"/>
                <a:gd name="T43" fmla="*/ 705 h 829"/>
                <a:gd name="T44" fmla="*/ 268 w 551"/>
                <a:gd name="T45" fmla="*/ 625 h 829"/>
                <a:gd name="T46" fmla="*/ 280 w 551"/>
                <a:gd name="T47" fmla="*/ 501 h 829"/>
                <a:gd name="T48" fmla="*/ 159 w 551"/>
                <a:gd name="T49" fmla="*/ 420 h 829"/>
                <a:gd name="T50" fmla="*/ 47 w 551"/>
                <a:gd name="T51" fmla="*/ 361 h 829"/>
                <a:gd name="T52" fmla="*/ 256 w 551"/>
                <a:gd name="T53" fmla="*/ 328 h 829"/>
                <a:gd name="T54" fmla="*/ 107 w 551"/>
                <a:gd name="T55" fmla="*/ 371 h 829"/>
                <a:gd name="T56" fmla="*/ 255 w 551"/>
                <a:gd name="T57" fmla="*/ 436 h 829"/>
                <a:gd name="T58" fmla="*/ 288 w 551"/>
                <a:gd name="T59" fmla="*/ 341 h 829"/>
                <a:gd name="T60" fmla="*/ 195 w 551"/>
                <a:gd name="T61" fmla="*/ 272 h 829"/>
                <a:gd name="T62" fmla="*/ 31 w 551"/>
                <a:gd name="T63" fmla="*/ 259 h 829"/>
                <a:gd name="T64" fmla="*/ 196 w 551"/>
                <a:gd name="T65" fmla="*/ 252 h 829"/>
                <a:gd name="T66" fmla="*/ 104 w 551"/>
                <a:gd name="T67" fmla="*/ 183 h 829"/>
                <a:gd name="T68" fmla="*/ 206 w 551"/>
                <a:gd name="T69" fmla="*/ 225 h 829"/>
                <a:gd name="T70" fmla="*/ 268 w 551"/>
                <a:gd name="T71" fmla="*/ 232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1" h="829">
                  <a:moveTo>
                    <a:pt x="268" y="232"/>
                  </a:moveTo>
                  <a:cubicBezTo>
                    <a:pt x="262" y="205"/>
                    <a:pt x="188" y="76"/>
                    <a:pt x="170" y="56"/>
                  </a:cubicBezTo>
                  <a:cubicBezTo>
                    <a:pt x="151" y="36"/>
                    <a:pt x="118" y="0"/>
                    <a:pt x="118" y="0"/>
                  </a:cubicBezTo>
                  <a:cubicBezTo>
                    <a:pt x="118" y="0"/>
                    <a:pt x="195" y="55"/>
                    <a:pt x="206" y="71"/>
                  </a:cubicBezTo>
                  <a:cubicBezTo>
                    <a:pt x="216" y="87"/>
                    <a:pt x="276" y="195"/>
                    <a:pt x="276" y="195"/>
                  </a:cubicBezTo>
                  <a:cubicBezTo>
                    <a:pt x="276" y="195"/>
                    <a:pt x="296" y="168"/>
                    <a:pt x="287" y="124"/>
                  </a:cubicBezTo>
                  <a:cubicBezTo>
                    <a:pt x="278" y="80"/>
                    <a:pt x="311" y="141"/>
                    <a:pt x="319" y="201"/>
                  </a:cubicBezTo>
                  <a:cubicBezTo>
                    <a:pt x="327" y="261"/>
                    <a:pt x="350" y="311"/>
                    <a:pt x="330" y="343"/>
                  </a:cubicBezTo>
                  <a:cubicBezTo>
                    <a:pt x="310" y="375"/>
                    <a:pt x="290" y="423"/>
                    <a:pt x="292" y="441"/>
                  </a:cubicBezTo>
                  <a:cubicBezTo>
                    <a:pt x="295" y="460"/>
                    <a:pt x="308" y="600"/>
                    <a:pt x="324" y="617"/>
                  </a:cubicBezTo>
                  <a:cubicBezTo>
                    <a:pt x="340" y="635"/>
                    <a:pt x="482" y="685"/>
                    <a:pt x="492" y="693"/>
                  </a:cubicBezTo>
                  <a:cubicBezTo>
                    <a:pt x="503" y="701"/>
                    <a:pt x="551" y="719"/>
                    <a:pt x="551" y="719"/>
                  </a:cubicBezTo>
                  <a:cubicBezTo>
                    <a:pt x="551" y="719"/>
                    <a:pt x="540" y="713"/>
                    <a:pt x="482" y="704"/>
                  </a:cubicBezTo>
                  <a:cubicBezTo>
                    <a:pt x="423" y="695"/>
                    <a:pt x="303" y="637"/>
                    <a:pt x="294" y="651"/>
                  </a:cubicBezTo>
                  <a:cubicBezTo>
                    <a:pt x="284" y="664"/>
                    <a:pt x="247" y="748"/>
                    <a:pt x="243" y="753"/>
                  </a:cubicBezTo>
                  <a:cubicBezTo>
                    <a:pt x="239" y="759"/>
                    <a:pt x="247" y="680"/>
                    <a:pt x="247" y="680"/>
                  </a:cubicBezTo>
                  <a:cubicBezTo>
                    <a:pt x="247" y="680"/>
                    <a:pt x="183" y="727"/>
                    <a:pt x="155" y="772"/>
                  </a:cubicBezTo>
                  <a:cubicBezTo>
                    <a:pt x="127" y="817"/>
                    <a:pt x="122" y="781"/>
                    <a:pt x="151" y="736"/>
                  </a:cubicBezTo>
                  <a:cubicBezTo>
                    <a:pt x="180" y="691"/>
                    <a:pt x="108" y="744"/>
                    <a:pt x="91" y="787"/>
                  </a:cubicBezTo>
                  <a:cubicBezTo>
                    <a:pt x="74" y="829"/>
                    <a:pt x="66" y="800"/>
                    <a:pt x="91" y="769"/>
                  </a:cubicBezTo>
                  <a:cubicBezTo>
                    <a:pt x="116" y="739"/>
                    <a:pt x="76" y="744"/>
                    <a:pt x="68" y="756"/>
                  </a:cubicBezTo>
                  <a:cubicBezTo>
                    <a:pt x="60" y="768"/>
                    <a:pt x="75" y="741"/>
                    <a:pt x="123" y="705"/>
                  </a:cubicBezTo>
                  <a:cubicBezTo>
                    <a:pt x="171" y="669"/>
                    <a:pt x="259" y="632"/>
                    <a:pt x="268" y="625"/>
                  </a:cubicBezTo>
                  <a:cubicBezTo>
                    <a:pt x="278" y="619"/>
                    <a:pt x="291" y="513"/>
                    <a:pt x="280" y="501"/>
                  </a:cubicBezTo>
                  <a:cubicBezTo>
                    <a:pt x="270" y="489"/>
                    <a:pt x="187" y="427"/>
                    <a:pt x="159" y="420"/>
                  </a:cubicBezTo>
                  <a:cubicBezTo>
                    <a:pt x="131" y="413"/>
                    <a:pt x="0" y="369"/>
                    <a:pt x="47" y="361"/>
                  </a:cubicBezTo>
                  <a:cubicBezTo>
                    <a:pt x="94" y="353"/>
                    <a:pt x="262" y="327"/>
                    <a:pt x="256" y="328"/>
                  </a:cubicBezTo>
                  <a:cubicBezTo>
                    <a:pt x="251" y="329"/>
                    <a:pt x="88" y="340"/>
                    <a:pt x="107" y="371"/>
                  </a:cubicBezTo>
                  <a:cubicBezTo>
                    <a:pt x="126" y="401"/>
                    <a:pt x="234" y="444"/>
                    <a:pt x="255" y="436"/>
                  </a:cubicBezTo>
                  <a:cubicBezTo>
                    <a:pt x="276" y="428"/>
                    <a:pt x="290" y="347"/>
                    <a:pt x="288" y="341"/>
                  </a:cubicBezTo>
                  <a:cubicBezTo>
                    <a:pt x="287" y="336"/>
                    <a:pt x="207" y="273"/>
                    <a:pt x="195" y="272"/>
                  </a:cubicBezTo>
                  <a:cubicBezTo>
                    <a:pt x="183" y="271"/>
                    <a:pt x="34" y="263"/>
                    <a:pt x="31" y="259"/>
                  </a:cubicBezTo>
                  <a:cubicBezTo>
                    <a:pt x="28" y="255"/>
                    <a:pt x="196" y="252"/>
                    <a:pt x="196" y="252"/>
                  </a:cubicBezTo>
                  <a:cubicBezTo>
                    <a:pt x="104" y="183"/>
                    <a:pt x="104" y="183"/>
                    <a:pt x="104" y="183"/>
                  </a:cubicBezTo>
                  <a:cubicBezTo>
                    <a:pt x="104" y="183"/>
                    <a:pt x="179" y="208"/>
                    <a:pt x="206" y="225"/>
                  </a:cubicBezTo>
                  <a:cubicBezTo>
                    <a:pt x="232" y="243"/>
                    <a:pt x="268" y="232"/>
                    <a:pt x="268" y="232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9" name="Freeform 81">
              <a:extLst>
                <a:ext uri="{FF2B5EF4-FFF2-40B4-BE49-F238E27FC236}">
                  <a16:creationId xmlns:a16="http://schemas.microsoft.com/office/drawing/2014/main" id="{668FDCB3-035B-4A24-885E-41164537AC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2631" y="3925778"/>
              <a:ext cx="1465789" cy="2353764"/>
            </a:xfrm>
            <a:custGeom>
              <a:avLst/>
              <a:gdLst>
                <a:gd name="T0" fmla="*/ 194 w 656"/>
                <a:gd name="T1" fmla="*/ 0 h 1054"/>
                <a:gd name="T2" fmla="*/ 26 w 656"/>
                <a:gd name="T3" fmla="*/ 98 h 1054"/>
                <a:gd name="T4" fmla="*/ 14 w 656"/>
                <a:gd name="T5" fmla="*/ 315 h 1054"/>
                <a:gd name="T6" fmla="*/ 112 w 656"/>
                <a:gd name="T7" fmla="*/ 595 h 1054"/>
                <a:gd name="T8" fmla="*/ 218 w 656"/>
                <a:gd name="T9" fmla="*/ 871 h 1054"/>
                <a:gd name="T10" fmla="*/ 407 w 656"/>
                <a:gd name="T11" fmla="*/ 1003 h 1054"/>
                <a:gd name="T12" fmla="*/ 656 w 656"/>
                <a:gd name="T13" fmla="*/ 1054 h 1054"/>
                <a:gd name="T14" fmla="*/ 512 w 656"/>
                <a:gd name="T15" fmla="*/ 1007 h 1054"/>
                <a:gd name="T16" fmla="*/ 267 w 656"/>
                <a:gd name="T17" fmla="*/ 899 h 1054"/>
                <a:gd name="T18" fmla="*/ 171 w 656"/>
                <a:gd name="T19" fmla="*/ 714 h 1054"/>
                <a:gd name="T20" fmla="*/ 46 w 656"/>
                <a:gd name="T21" fmla="*/ 354 h 1054"/>
                <a:gd name="T22" fmla="*/ 24 w 656"/>
                <a:gd name="T23" fmla="*/ 136 h 1054"/>
                <a:gd name="T24" fmla="*/ 79 w 656"/>
                <a:gd name="T25" fmla="*/ 60 h 1054"/>
                <a:gd name="T26" fmla="*/ 194 w 656"/>
                <a:gd name="T27" fmla="*/ 0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6" h="1054">
                  <a:moveTo>
                    <a:pt x="194" y="0"/>
                  </a:moveTo>
                  <a:cubicBezTo>
                    <a:pt x="194" y="0"/>
                    <a:pt x="39" y="52"/>
                    <a:pt x="26" y="98"/>
                  </a:cubicBezTo>
                  <a:cubicBezTo>
                    <a:pt x="12" y="143"/>
                    <a:pt x="0" y="284"/>
                    <a:pt x="14" y="315"/>
                  </a:cubicBezTo>
                  <a:cubicBezTo>
                    <a:pt x="27" y="346"/>
                    <a:pt x="110" y="588"/>
                    <a:pt x="112" y="595"/>
                  </a:cubicBezTo>
                  <a:cubicBezTo>
                    <a:pt x="115" y="602"/>
                    <a:pt x="207" y="846"/>
                    <a:pt x="218" y="871"/>
                  </a:cubicBezTo>
                  <a:cubicBezTo>
                    <a:pt x="228" y="896"/>
                    <a:pt x="378" y="1002"/>
                    <a:pt x="407" y="1003"/>
                  </a:cubicBezTo>
                  <a:cubicBezTo>
                    <a:pt x="436" y="1004"/>
                    <a:pt x="656" y="1054"/>
                    <a:pt x="656" y="1054"/>
                  </a:cubicBezTo>
                  <a:cubicBezTo>
                    <a:pt x="656" y="1054"/>
                    <a:pt x="555" y="1019"/>
                    <a:pt x="512" y="1007"/>
                  </a:cubicBezTo>
                  <a:cubicBezTo>
                    <a:pt x="470" y="995"/>
                    <a:pt x="314" y="939"/>
                    <a:pt x="267" y="899"/>
                  </a:cubicBezTo>
                  <a:cubicBezTo>
                    <a:pt x="220" y="859"/>
                    <a:pt x="184" y="743"/>
                    <a:pt x="171" y="714"/>
                  </a:cubicBezTo>
                  <a:cubicBezTo>
                    <a:pt x="158" y="684"/>
                    <a:pt x="59" y="376"/>
                    <a:pt x="46" y="354"/>
                  </a:cubicBezTo>
                  <a:cubicBezTo>
                    <a:pt x="32" y="331"/>
                    <a:pt x="22" y="150"/>
                    <a:pt x="24" y="136"/>
                  </a:cubicBezTo>
                  <a:cubicBezTo>
                    <a:pt x="27" y="123"/>
                    <a:pt x="44" y="75"/>
                    <a:pt x="79" y="60"/>
                  </a:cubicBezTo>
                  <a:cubicBezTo>
                    <a:pt x="114" y="46"/>
                    <a:pt x="194" y="0"/>
                    <a:pt x="194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9CDA1DB9-C394-4C1C-BDD2-565C8EE92F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4673" y="4327256"/>
              <a:ext cx="458157" cy="617174"/>
            </a:xfrm>
            <a:custGeom>
              <a:avLst/>
              <a:gdLst>
                <a:gd name="T0" fmla="*/ 40 w 205"/>
                <a:gd name="T1" fmla="*/ 16 h 276"/>
                <a:gd name="T2" fmla="*/ 160 w 205"/>
                <a:gd name="T3" fmla="*/ 80 h 276"/>
                <a:gd name="T4" fmla="*/ 124 w 205"/>
                <a:gd name="T5" fmla="*/ 80 h 276"/>
                <a:gd name="T6" fmla="*/ 10 w 205"/>
                <a:gd name="T7" fmla="*/ 35 h 276"/>
                <a:gd name="T8" fmla="*/ 17 w 205"/>
                <a:gd name="T9" fmla="*/ 108 h 276"/>
                <a:gd name="T10" fmla="*/ 148 w 205"/>
                <a:gd name="T11" fmla="*/ 211 h 276"/>
                <a:gd name="T12" fmla="*/ 190 w 205"/>
                <a:gd name="T13" fmla="*/ 262 h 276"/>
                <a:gd name="T14" fmla="*/ 60 w 205"/>
                <a:gd name="T15" fmla="*/ 172 h 276"/>
                <a:gd name="T16" fmla="*/ 26 w 205"/>
                <a:gd name="T17" fmla="*/ 172 h 276"/>
                <a:gd name="T18" fmla="*/ 0 w 205"/>
                <a:gd name="T19" fmla="*/ 67 h 276"/>
                <a:gd name="T20" fmla="*/ 8 w 205"/>
                <a:gd name="T21" fmla="*/ 0 h 276"/>
                <a:gd name="T22" fmla="*/ 40 w 205"/>
                <a:gd name="T23" fmla="*/ 1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276">
                  <a:moveTo>
                    <a:pt x="40" y="16"/>
                  </a:moveTo>
                  <a:cubicBezTo>
                    <a:pt x="44" y="20"/>
                    <a:pt x="132" y="72"/>
                    <a:pt x="160" y="80"/>
                  </a:cubicBezTo>
                  <a:cubicBezTo>
                    <a:pt x="188" y="88"/>
                    <a:pt x="165" y="90"/>
                    <a:pt x="124" y="80"/>
                  </a:cubicBezTo>
                  <a:cubicBezTo>
                    <a:pt x="82" y="71"/>
                    <a:pt x="9" y="26"/>
                    <a:pt x="10" y="35"/>
                  </a:cubicBezTo>
                  <a:cubicBezTo>
                    <a:pt x="12" y="44"/>
                    <a:pt x="12" y="83"/>
                    <a:pt x="17" y="108"/>
                  </a:cubicBezTo>
                  <a:cubicBezTo>
                    <a:pt x="22" y="134"/>
                    <a:pt x="117" y="183"/>
                    <a:pt x="148" y="211"/>
                  </a:cubicBezTo>
                  <a:cubicBezTo>
                    <a:pt x="178" y="239"/>
                    <a:pt x="205" y="276"/>
                    <a:pt x="190" y="262"/>
                  </a:cubicBezTo>
                  <a:cubicBezTo>
                    <a:pt x="176" y="247"/>
                    <a:pt x="70" y="179"/>
                    <a:pt x="60" y="172"/>
                  </a:cubicBezTo>
                  <a:cubicBezTo>
                    <a:pt x="49" y="166"/>
                    <a:pt x="26" y="172"/>
                    <a:pt x="26" y="1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0" y="16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9923BFD4-4D55-4ADF-A462-7AA26DCEBE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2810" y="5605689"/>
              <a:ext cx="1013929" cy="500667"/>
            </a:xfrm>
            <a:custGeom>
              <a:avLst/>
              <a:gdLst>
                <a:gd name="T0" fmla="*/ 208 w 454"/>
                <a:gd name="T1" fmla="*/ 0 h 224"/>
                <a:gd name="T2" fmla="*/ 262 w 454"/>
                <a:gd name="T3" fmla="*/ 15 h 224"/>
                <a:gd name="T4" fmla="*/ 296 w 454"/>
                <a:gd name="T5" fmla="*/ 38 h 224"/>
                <a:gd name="T6" fmla="*/ 316 w 454"/>
                <a:gd name="T7" fmla="*/ 7 h 224"/>
                <a:gd name="T8" fmla="*/ 366 w 454"/>
                <a:gd name="T9" fmla="*/ 16 h 224"/>
                <a:gd name="T10" fmla="*/ 454 w 454"/>
                <a:gd name="T11" fmla="*/ 23 h 224"/>
                <a:gd name="T12" fmla="*/ 273 w 454"/>
                <a:gd name="T13" fmla="*/ 74 h 224"/>
                <a:gd name="T14" fmla="*/ 50 w 454"/>
                <a:gd name="T15" fmla="*/ 219 h 224"/>
                <a:gd name="T16" fmla="*/ 90 w 454"/>
                <a:gd name="T17" fmla="*/ 172 h 224"/>
                <a:gd name="T18" fmla="*/ 208 w 454"/>
                <a:gd name="T19" fmla="*/ 88 h 224"/>
                <a:gd name="T20" fmla="*/ 109 w 454"/>
                <a:gd name="T21" fmla="*/ 71 h 224"/>
                <a:gd name="T22" fmla="*/ 152 w 454"/>
                <a:gd name="T23" fmla="*/ 48 h 224"/>
                <a:gd name="T24" fmla="*/ 208 w 4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4" h="224">
                  <a:moveTo>
                    <a:pt x="208" y="0"/>
                  </a:moveTo>
                  <a:cubicBezTo>
                    <a:pt x="208" y="0"/>
                    <a:pt x="246" y="7"/>
                    <a:pt x="262" y="15"/>
                  </a:cubicBezTo>
                  <a:cubicBezTo>
                    <a:pt x="278" y="23"/>
                    <a:pt x="282" y="43"/>
                    <a:pt x="296" y="38"/>
                  </a:cubicBezTo>
                  <a:cubicBezTo>
                    <a:pt x="309" y="32"/>
                    <a:pt x="301" y="11"/>
                    <a:pt x="316" y="7"/>
                  </a:cubicBezTo>
                  <a:cubicBezTo>
                    <a:pt x="330" y="3"/>
                    <a:pt x="342" y="11"/>
                    <a:pt x="366" y="16"/>
                  </a:cubicBezTo>
                  <a:cubicBezTo>
                    <a:pt x="390" y="22"/>
                    <a:pt x="454" y="23"/>
                    <a:pt x="454" y="23"/>
                  </a:cubicBezTo>
                  <a:cubicBezTo>
                    <a:pt x="454" y="23"/>
                    <a:pt x="324" y="46"/>
                    <a:pt x="273" y="74"/>
                  </a:cubicBezTo>
                  <a:cubicBezTo>
                    <a:pt x="222" y="102"/>
                    <a:pt x="101" y="214"/>
                    <a:pt x="50" y="219"/>
                  </a:cubicBezTo>
                  <a:cubicBezTo>
                    <a:pt x="0" y="224"/>
                    <a:pt x="33" y="200"/>
                    <a:pt x="90" y="172"/>
                  </a:cubicBezTo>
                  <a:cubicBezTo>
                    <a:pt x="148" y="144"/>
                    <a:pt x="208" y="88"/>
                    <a:pt x="208" y="88"/>
                  </a:cubicBezTo>
                  <a:cubicBezTo>
                    <a:pt x="208" y="88"/>
                    <a:pt x="114" y="74"/>
                    <a:pt x="109" y="71"/>
                  </a:cubicBezTo>
                  <a:cubicBezTo>
                    <a:pt x="104" y="68"/>
                    <a:pt x="98" y="56"/>
                    <a:pt x="152" y="48"/>
                  </a:cubicBezTo>
                  <a:cubicBezTo>
                    <a:pt x="205" y="40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5D455D0C-1D12-4151-AB2C-1957F4E832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0665" y="3658126"/>
              <a:ext cx="744702" cy="571516"/>
            </a:xfrm>
            <a:custGeom>
              <a:avLst/>
              <a:gdLst>
                <a:gd name="T0" fmla="*/ 0 w 334"/>
                <a:gd name="T1" fmla="*/ 38 h 256"/>
                <a:gd name="T2" fmla="*/ 202 w 334"/>
                <a:gd name="T3" fmla="*/ 68 h 256"/>
                <a:gd name="T4" fmla="*/ 334 w 334"/>
                <a:gd name="T5" fmla="*/ 256 h 256"/>
                <a:gd name="T6" fmla="*/ 252 w 334"/>
                <a:gd name="T7" fmla="*/ 76 h 256"/>
                <a:gd name="T8" fmla="*/ 78 w 334"/>
                <a:gd name="T9" fmla="*/ 7 h 256"/>
                <a:gd name="T10" fmla="*/ 0 w 334"/>
                <a:gd name="T11" fmla="*/ 3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56">
                  <a:moveTo>
                    <a:pt x="0" y="38"/>
                  </a:moveTo>
                  <a:cubicBezTo>
                    <a:pt x="0" y="38"/>
                    <a:pt x="152" y="26"/>
                    <a:pt x="202" y="68"/>
                  </a:cubicBezTo>
                  <a:cubicBezTo>
                    <a:pt x="253" y="111"/>
                    <a:pt x="334" y="256"/>
                    <a:pt x="334" y="256"/>
                  </a:cubicBezTo>
                  <a:cubicBezTo>
                    <a:pt x="334" y="256"/>
                    <a:pt x="316" y="123"/>
                    <a:pt x="252" y="76"/>
                  </a:cubicBezTo>
                  <a:cubicBezTo>
                    <a:pt x="188" y="30"/>
                    <a:pt x="108" y="0"/>
                    <a:pt x="78" y="7"/>
                  </a:cubicBezTo>
                  <a:cubicBezTo>
                    <a:pt x="49" y="14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A39E1060-BAA5-4840-AA6A-784DC349D8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1868" y="5560031"/>
              <a:ext cx="574664" cy="478625"/>
            </a:xfrm>
            <a:custGeom>
              <a:avLst/>
              <a:gdLst>
                <a:gd name="T0" fmla="*/ 257 w 257"/>
                <a:gd name="T1" fmla="*/ 166 h 214"/>
                <a:gd name="T2" fmla="*/ 224 w 257"/>
                <a:gd name="T3" fmla="*/ 207 h 214"/>
                <a:gd name="T4" fmla="*/ 133 w 257"/>
                <a:gd name="T5" fmla="*/ 175 h 214"/>
                <a:gd name="T6" fmla="*/ 3 w 257"/>
                <a:gd name="T7" fmla="*/ 74 h 214"/>
                <a:gd name="T8" fmla="*/ 17 w 257"/>
                <a:gd name="T9" fmla="*/ 0 h 214"/>
                <a:gd name="T10" fmla="*/ 19 w 257"/>
                <a:gd name="T11" fmla="*/ 74 h 214"/>
                <a:gd name="T12" fmla="*/ 75 w 257"/>
                <a:gd name="T13" fmla="*/ 135 h 214"/>
                <a:gd name="T14" fmla="*/ 171 w 257"/>
                <a:gd name="T15" fmla="*/ 182 h 214"/>
                <a:gd name="T16" fmla="*/ 229 w 257"/>
                <a:gd name="T17" fmla="*/ 188 h 214"/>
                <a:gd name="T18" fmla="*/ 257 w 257"/>
                <a:gd name="T19" fmla="*/ 166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214">
                  <a:moveTo>
                    <a:pt x="257" y="166"/>
                  </a:moveTo>
                  <a:cubicBezTo>
                    <a:pt x="257" y="166"/>
                    <a:pt x="244" y="200"/>
                    <a:pt x="224" y="207"/>
                  </a:cubicBezTo>
                  <a:cubicBezTo>
                    <a:pt x="204" y="214"/>
                    <a:pt x="157" y="188"/>
                    <a:pt x="133" y="175"/>
                  </a:cubicBezTo>
                  <a:cubicBezTo>
                    <a:pt x="109" y="162"/>
                    <a:pt x="5" y="118"/>
                    <a:pt x="3" y="74"/>
                  </a:cubicBezTo>
                  <a:cubicBezTo>
                    <a:pt x="0" y="30"/>
                    <a:pt x="17" y="0"/>
                    <a:pt x="17" y="0"/>
                  </a:cubicBezTo>
                  <a:cubicBezTo>
                    <a:pt x="17" y="0"/>
                    <a:pt x="16" y="62"/>
                    <a:pt x="19" y="74"/>
                  </a:cubicBezTo>
                  <a:cubicBezTo>
                    <a:pt x="21" y="86"/>
                    <a:pt x="57" y="124"/>
                    <a:pt x="75" y="135"/>
                  </a:cubicBezTo>
                  <a:cubicBezTo>
                    <a:pt x="92" y="146"/>
                    <a:pt x="159" y="178"/>
                    <a:pt x="171" y="182"/>
                  </a:cubicBezTo>
                  <a:cubicBezTo>
                    <a:pt x="183" y="186"/>
                    <a:pt x="217" y="195"/>
                    <a:pt x="229" y="188"/>
                  </a:cubicBezTo>
                  <a:cubicBezTo>
                    <a:pt x="241" y="182"/>
                    <a:pt x="257" y="166"/>
                    <a:pt x="257" y="16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83A6C04C-311F-46DE-90DE-D4144B68A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654" y="5210509"/>
              <a:ext cx="420371" cy="300715"/>
            </a:xfrm>
            <a:custGeom>
              <a:avLst/>
              <a:gdLst>
                <a:gd name="T0" fmla="*/ 142 w 188"/>
                <a:gd name="T1" fmla="*/ 4 h 135"/>
                <a:gd name="T2" fmla="*/ 123 w 188"/>
                <a:gd name="T3" fmla="*/ 28 h 135"/>
                <a:gd name="T4" fmla="*/ 16 w 188"/>
                <a:gd name="T5" fmla="*/ 0 h 135"/>
                <a:gd name="T6" fmla="*/ 35 w 188"/>
                <a:gd name="T7" fmla="*/ 40 h 135"/>
                <a:gd name="T8" fmla="*/ 98 w 188"/>
                <a:gd name="T9" fmla="*/ 72 h 135"/>
                <a:gd name="T10" fmla="*/ 6 w 188"/>
                <a:gd name="T11" fmla="*/ 113 h 135"/>
                <a:gd name="T12" fmla="*/ 80 w 188"/>
                <a:gd name="T13" fmla="*/ 112 h 135"/>
                <a:gd name="T14" fmla="*/ 166 w 188"/>
                <a:gd name="T15" fmla="*/ 117 h 135"/>
                <a:gd name="T16" fmla="*/ 188 w 188"/>
                <a:gd name="T17" fmla="*/ 135 h 135"/>
                <a:gd name="T18" fmla="*/ 162 w 188"/>
                <a:gd name="T19" fmla="*/ 64 h 135"/>
                <a:gd name="T20" fmla="*/ 142 w 188"/>
                <a:gd name="T21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35">
                  <a:moveTo>
                    <a:pt x="142" y="4"/>
                  </a:moveTo>
                  <a:cubicBezTo>
                    <a:pt x="142" y="4"/>
                    <a:pt x="148" y="32"/>
                    <a:pt x="123" y="28"/>
                  </a:cubicBezTo>
                  <a:cubicBezTo>
                    <a:pt x="98" y="24"/>
                    <a:pt x="16" y="0"/>
                    <a:pt x="16" y="0"/>
                  </a:cubicBezTo>
                  <a:cubicBezTo>
                    <a:pt x="16" y="0"/>
                    <a:pt x="6" y="31"/>
                    <a:pt x="35" y="40"/>
                  </a:cubicBezTo>
                  <a:cubicBezTo>
                    <a:pt x="64" y="49"/>
                    <a:pt x="111" y="60"/>
                    <a:pt x="98" y="72"/>
                  </a:cubicBezTo>
                  <a:cubicBezTo>
                    <a:pt x="84" y="84"/>
                    <a:pt x="0" y="95"/>
                    <a:pt x="6" y="113"/>
                  </a:cubicBezTo>
                  <a:cubicBezTo>
                    <a:pt x="11" y="132"/>
                    <a:pt x="44" y="125"/>
                    <a:pt x="80" y="112"/>
                  </a:cubicBezTo>
                  <a:cubicBezTo>
                    <a:pt x="116" y="99"/>
                    <a:pt x="160" y="108"/>
                    <a:pt x="166" y="117"/>
                  </a:cubicBezTo>
                  <a:cubicBezTo>
                    <a:pt x="171" y="127"/>
                    <a:pt x="188" y="135"/>
                    <a:pt x="188" y="135"/>
                  </a:cubicBezTo>
                  <a:cubicBezTo>
                    <a:pt x="162" y="64"/>
                    <a:pt x="162" y="64"/>
                    <a:pt x="162" y="64"/>
                  </a:cubicBezTo>
                  <a:lnTo>
                    <a:pt x="142" y="4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6AD674DE-F859-46D7-A8A2-E9B51C897F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217" y="6252778"/>
              <a:ext cx="69275" cy="91317"/>
            </a:xfrm>
            <a:custGeom>
              <a:avLst/>
              <a:gdLst>
                <a:gd name="T0" fmla="*/ 31 w 31"/>
                <a:gd name="T1" fmla="*/ 6 h 41"/>
                <a:gd name="T2" fmla="*/ 2 w 31"/>
                <a:gd name="T3" fmla="*/ 16 h 41"/>
                <a:gd name="T4" fmla="*/ 19 w 31"/>
                <a:gd name="T5" fmla="*/ 41 h 41"/>
                <a:gd name="T6" fmla="*/ 15 w 31"/>
                <a:gd name="T7" fmla="*/ 18 h 41"/>
                <a:gd name="T8" fmla="*/ 31 w 31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6"/>
                  </a:moveTo>
                  <a:cubicBezTo>
                    <a:pt x="31" y="6"/>
                    <a:pt x="0" y="0"/>
                    <a:pt x="2" y="16"/>
                  </a:cubicBezTo>
                  <a:cubicBezTo>
                    <a:pt x="3" y="32"/>
                    <a:pt x="10" y="41"/>
                    <a:pt x="19" y="41"/>
                  </a:cubicBezTo>
                  <a:cubicBezTo>
                    <a:pt x="28" y="41"/>
                    <a:pt x="7" y="18"/>
                    <a:pt x="15" y="18"/>
                  </a:cubicBezTo>
                  <a:cubicBezTo>
                    <a:pt x="23" y="18"/>
                    <a:pt x="31" y="6"/>
                    <a:pt x="31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8B7E2D62-F07D-4652-93C6-E364895421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8620" y="6263799"/>
              <a:ext cx="69275" cy="91317"/>
            </a:xfrm>
            <a:custGeom>
              <a:avLst/>
              <a:gdLst>
                <a:gd name="T0" fmla="*/ 31 w 31"/>
                <a:gd name="T1" fmla="*/ 7 h 41"/>
                <a:gd name="T2" fmla="*/ 1 w 31"/>
                <a:gd name="T3" fmla="*/ 16 h 41"/>
                <a:gd name="T4" fmla="*/ 19 w 31"/>
                <a:gd name="T5" fmla="*/ 41 h 41"/>
                <a:gd name="T6" fmla="*/ 15 w 31"/>
                <a:gd name="T7" fmla="*/ 19 h 41"/>
                <a:gd name="T8" fmla="*/ 31 w 31"/>
                <a:gd name="T9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7"/>
                  </a:moveTo>
                  <a:cubicBezTo>
                    <a:pt x="31" y="7"/>
                    <a:pt x="0" y="0"/>
                    <a:pt x="1" y="16"/>
                  </a:cubicBezTo>
                  <a:cubicBezTo>
                    <a:pt x="3" y="32"/>
                    <a:pt x="9" y="41"/>
                    <a:pt x="19" y="41"/>
                  </a:cubicBezTo>
                  <a:cubicBezTo>
                    <a:pt x="28" y="41"/>
                    <a:pt x="7" y="19"/>
                    <a:pt x="15" y="19"/>
                  </a:cubicBezTo>
                  <a:cubicBezTo>
                    <a:pt x="23" y="19"/>
                    <a:pt x="31" y="7"/>
                    <a:pt x="31" y="7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BB9586E0-0AD2-4385-8AB1-4DA7FB30B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3171" y="6279543"/>
              <a:ext cx="69275" cy="91317"/>
            </a:xfrm>
            <a:custGeom>
              <a:avLst/>
              <a:gdLst>
                <a:gd name="T0" fmla="*/ 31 w 31"/>
                <a:gd name="T1" fmla="*/ 6 h 41"/>
                <a:gd name="T2" fmla="*/ 2 w 31"/>
                <a:gd name="T3" fmla="*/ 16 h 41"/>
                <a:gd name="T4" fmla="*/ 19 w 31"/>
                <a:gd name="T5" fmla="*/ 41 h 41"/>
                <a:gd name="T6" fmla="*/ 15 w 31"/>
                <a:gd name="T7" fmla="*/ 18 h 41"/>
                <a:gd name="T8" fmla="*/ 31 w 31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6"/>
                  </a:moveTo>
                  <a:cubicBezTo>
                    <a:pt x="31" y="6"/>
                    <a:pt x="0" y="0"/>
                    <a:pt x="2" y="16"/>
                  </a:cubicBezTo>
                  <a:cubicBezTo>
                    <a:pt x="3" y="32"/>
                    <a:pt x="10" y="41"/>
                    <a:pt x="19" y="41"/>
                  </a:cubicBezTo>
                  <a:cubicBezTo>
                    <a:pt x="28" y="41"/>
                    <a:pt x="7" y="18"/>
                    <a:pt x="15" y="18"/>
                  </a:cubicBezTo>
                  <a:cubicBezTo>
                    <a:pt x="23" y="18"/>
                    <a:pt x="31" y="6"/>
                    <a:pt x="31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D1D1278B-85A8-49DC-A726-F6DB17D100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8743" y="6298436"/>
              <a:ext cx="66126" cy="91317"/>
            </a:xfrm>
            <a:custGeom>
              <a:avLst/>
              <a:gdLst>
                <a:gd name="T0" fmla="*/ 30 w 30"/>
                <a:gd name="T1" fmla="*/ 6 h 41"/>
                <a:gd name="T2" fmla="*/ 1 w 30"/>
                <a:gd name="T3" fmla="*/ 16 h 41"/>
                <a:gd name="T4" fmla="*/ 18 w 30"/>
                <a:gd name="T5" fmla="*/ 41 h 41"/>
                <a:gd name="T6" fmla="*/ 14 w 30"/>
                <a:gd name="T7" fmla="*/ 18 h 41"/>
                <a:gd name="T8" fmla="*/ 30 w 30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1">
                  <a:moveTo>
                    <a:pt x="30" y="6"/>
                  </a:moveTo>
                  <a:cubicBezTo>
                    <a:pt x="30" y="6"/>
                    <a:pt x="0" y="0"/>
                    <a:pt x="1" y="16"/>
                  </a:cubicBezTo>
                  <a:cubicBezTo>
                    <a:pt x="2" y="32"/>
                    <a:pt x="9" y="41"/>
                    <a:pt x="18" y="41"/>
                  </a:cubicBezTo>
                  <a:cubicBezTo>
                    <a:pt x="28" y="41"/>
                    <a:pt x="6" y="18"/>
                    <a:pt x="14" y="18"/>
                  </a:cubicBezTo>
                  <a:cubicBezTo>
                    <a:pt x="22" y="18"/>
                    <a:pt x="30" y="6"/>
                    <a:pt x="30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E2DCE6C4-2A02-4007-8B44-DACA8609E0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9593" y="6315755"/>
              <a:ext cx="67700" cy="91317"/>
            </a:xfrm>
            <a:custGeom>
              <a:avLst/>
              <a:gdLst>
                <a:gd name="T0" fmla="*/ 30 w 30"/>
                <a:gd name="T1" fmla="*/ 6 h 41"/>
                <a:gd name="T2" fmla="*/ 1 w 30"/>
                <a:gd name="T3" fmla="*/ 16 h 41"/>
                <a:gd name="T4" fmla="*/ 18 w 30"/>
                <a:gd name="T5" fmla="*/ 41 h 41"/>
                <a:gd name="T6" fmla="*/ 14 w 30"/>
                <a:gd name="T7" fmla="*/ 18 h 41"/>
                <a:gd name="T8" fmla="*/ 30 w 30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1">
                  <a:moveTo>
                    <a:pt x="30" y="6"/>
                  </a:moveTo>
                  <a:cubicBezTo>
                    <a:pt x="30" y="6"/>
                    <a:pt x="0" y="0"/>
                    <a:pt x="1" y="16"/>
                  </a:cubicBezTo>
                  <a:cubicBezTo>
                    <a:pt x="2" y="32"/>
                    <a:pt x="9" y="41"/>
                    <a:pt x="18" y="41"/>
                  </a:cubicBezTo>
                  <a:cubicBezTo>
                    <a:pt x="28" y="41"/>
                    <a:pt x="6" y="18"/>
                    <a:pt x="14" y="18"/>
                  </a:cubicBezTo>
                  <a:cubicBezTo>
                    <a:pt x="22" y="18"/>
                    <a:pt x="30" y="6"/>
                    <a:pt x="30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FF6567F2-A82E-437D-A454-21D555FDD6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856" y="6370859"/>
              <a:ext cx="395180" cy="530581"/>
            </a:xfrm>
            <a:custGeom>
              <a:avLst/>
              <a:gdLst>
                <a:gd name="T0" fmla="*/ 177 w 177"/>
                <a:gd name="T1" fmla="*/ 0 h 237"/>
                <a:gd name="T2" fmla="*/ 58 w 177"/>
                <a:gd name="T3" fmla="*/ 112 h 237"/>
                <a:gd name="T4" fmla="*/ 32 w 177"/>
                <a:gd name="T5" fmla="*/ 157 h 237"/>
                <a:gd name="T6" fmla="*/ 73 w 177"/>
                <a:gd name="T7" fmla="*/ 33 h 237"/>
                <a:gd name="T8" fmla="*/ 177 w 177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37">
                  <a:moveTo>
                    <a:pt x="177" y="0"/>
                  </a:moveTo>
                  <a:cubicBezTo>
                    <a:pt x="177" y="0"/>
                    <a:pt x="84" y="49"/>
                    <a:pt x="58" y="112"/>
                  </a:cubicBezTo>
                  <a:cubicBezTo>
                    <a:pt x="33" y="175"/>
                    <a:pt x="0" y="237"/>
                    <a:pt x="32" y="157"/>
                  </a:cubicBezTo>
                  <a:cubicBezTo>
                    <a:pt x="64" y="77"/>
                    <a:pt x="29" y="49"/>
                    <a:pt x="73" y="33"/>
                  </a:cubicBezTo>
                  <a:cubicBezTo>
                    <a:pt x="117" y="17"/>
                    <a:pt x="177" y="0"/>
                    <a:pt x="177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1" name="Freeform 93">
              <a:extLst>
                <a:ext uri="{FF2B5EF4-FFF2-40B4-BE49-F238E27FC236}">
                  <a16:creationId xmlns:a16="http://schemas.microsoft.com/office/drawing/2014/main" id="{2A38F0C5-5438-4E9D-948C-87FA3367CD7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929" y="6284267"/>
              <a:ext cx="1242220" cy="107061"/>
            </a:xfrm>
            <a:custGeom>
              <a:avLst/>
              <a:gdLst>
                <a:gd name="T0" fmla="*/ 556 w 556"/>
                <a:gd name="T1" fmla="*/ 31 h 48"/>
                <a:gd name="T2" fmla="*/ 316 w 556"/>
                <a:gd name="T3" fmla="*/ 26 h 48"/>
                <a:gd name="T4" fmla="*/ 4 w 556"/>
                <a:gd name="T5" fmla="*/ 46 h 48"/>
                <a:gd name="T6" fmla="*/ 76 w 556"/>
                <a:gd name="T7" fmla="*/ 14 h 48"/>
                <a:gd name="T8" fmla="*/ 261 w 556"/>
                <a:gd name="T9" fmla="*/ 8 h 48"/>
                <a:gd name="T10" fmla="*/ 443 w 556"/>
                <a:gd name="T11" fmla="*/ 11 h 48"/>
                <a:gd name="T12" fmla="*/ 556 w 556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48">
                  <a:moveTo>
                    <a:pt x="556" y="31"/>
                  </a:moveTo>
                  <a:cubicBezTo>
                    <a:pt x="556" y="31"/>
                    <a:pt x="373" y="26"/>
                    <a:pt x="316" y="26"/>
                  </a:cubicBezTo>
                  <a:cubicBezTo>
                    <a:pt x="259" y="26"/>
                    <a:pt x="8" y="43"/>
                    <a:pt x="4" y="46"/>
                  </a:cubicBezTo>
                  <a:cubicBezTo>
                    <a:pt x="0" y="48"/>
                    <a:pt x="16" y="18"/>
                    <a:pt x="76" y="14"/>
                  </a:cubicBezTo>
                  <a:cubicBezTo>
                    <a:pt x="136" y="10"/>
                    <a:pt x="231" y="7"/>
                    <a:pt x="261" y="8"/>
                  </a:cubicBezTo>
                  <a:cubicBezTo>
                    <a:pt x="292" y="10"/>
                    <a:pt x="387" y="0"/>
                    <a:pt x="443" y="11"/>
                  </a:cubicBezTo>
                  <a:cubicBezTo>
                    <a:pt x="499" y="22"/>
                    <a:pt x="556" y="31"/>
                    <a:pt x="556" y="31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2" name="Freeform 94">
              <a:extLst>
                <a:ext uri="{FF2B5EF4-FFF2-40B4-BE49-F238E27FC236}">
                  <a16:creationId xmlns:a16="http://schemas.microsoft.com/office/drawing/2014/main" id="{D3712C10-D596-4E71-A32F-E8F3BC41B4B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4254" y="6466900"/>
              <a:ext cx="204675" cy="297566"/>
            </a:xfrm>
            <a:custGeom>
              <a:avLst/>
              <a:gdLst>
                <a:gd name="T0" fmla="*/ 0 w 92"/>
                <a:gd name="T1" fmla="*/ 133 h 133"/>
                <a:gd name="T2" fmla="*/ 47 w 92"/>
                <a:gd name="T3" fmla="*/ 34 h 133"/>
                <a:gd name="T4" fmla="*/ 92 w 92"/>
                <a:gd name="T5" fmla="*/ 0 h 133"/>
                <a:gd name="T6" fmla="*/ 24 w 92"/>
                <a:gd name="T7" fmla="*/ 29 h 133"/>
                <a:gd name="T8" fmla="*/ 0 w 92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33">
                  <a:moveTo>
                    <a:pt x="0" y="133"/>
                  </a:moveTo>
                  <a:cubicBezTo>
                    <a:pt x="12" y="100"/>
                    <a:pt x="21" y="56"/>
                    <a:pt x="47" y="34"/>
                  </a:cubicBezTo>
                  <a:cubicBezTo>
                    <a:pt x="72" y="13"/>
                    <a:pt x="92" y="0"/>
                    <a:pt x="92" y="0"/>
                  </a:cubicBezTo>
                  <a:cubicBezTo>
                    <a:pt x="92" y="0"/>
                    <a:pt x="39" y="9"/>
                    <a:pt x="24" y="29"/>
                  </a:cubicBezTo>
                  <a:cubicBezTo>
                    <a:pt x="9" y="49"/>
                    <a:pt x="0" y="133"/>
                    <a:pt x="0" y="133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3" name="Freeform 95">
              <a:extLst>
                <a:ext uri="{FF2B5EF4-FFF2-40B4-BE49-F238E27FC236}">
                  <a16:creationId xmlns:a16="http://schemas.microsoft.com/office/drawing/2014/main" id="{8D139DBE-1BBD-4753-873A-B38E8FA3BC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7857" y="5229402"/>
              <a:ext cx="1105246" cy="286545"/>
            </a:xfrm>
            <a:custGeom>
              <a:avLst/>
              <a:gdLst>
                <a:gd name="T0" fmla="*/ 0 w 495"/>
                <a:gd name="T1" fmla="*/ 80 h 128"/>
                <a:gd name="T2" fmla="*/ 97 w 495"/>
                <a:gd name="T3" fmla="*/ 60 h 128"/>
                <a:gd name="T4" fmla="*/ 162 w 495"/>
                <a:gd name="T5" fmla="*/ 26 h 128"/>
                <a:gd name="T6" fmla="*/ 176 w 495"/>
                <a:gd name="T7" fmla="*/ 66 h 128"/>
                <a:gd name="T8" fmla="*/ 212 w 495"/>
                <a:gd name="T9" fmla="*/ 64 h 128"/>
                <a:gd name="T10" fmla="*/ 234 w 495"/>
                <a:gd name="T11" fmla="*/ 39 h 128"/>
                <a:gd name="T12" fmla="*/ 306 w 495"/>
                <a:gd name="T13" fmla="*/ 92 h 128"/>
                <a:gd name="T14" fmla="*/ 432 w 495"/>
                <a:gd name="T15" fmla="*/ 78 h 128"/>
                <a:gd name="T16" fmla="*/ 488 w 495"/>
                <a:gd name="T17" fmla="*/ 107 h 128"/>
                <a:gd name="T18" fmla="*/ 422 w 495"/>
                <a:gd name="T19" fmla="*/ 128 h 128"/>
                <a:gd name="T20" fmla="*/ 297 w 495"/>
                <a:gd name="T21" fmla="*/ 126 h 128"/>
                <a:gd name="T22" fmla="*/ 146 w 495"/>
                <a:gd name="T23" fmla="*/ 110 h 128"/>
                <a:gd name="T24" fmla="*/ 0 w 495"/>
                <a:gd name="T25" fmla="*/ 8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5" h="128">
                  <a:moveTo>
                    <a:pt x="0" y="80"/>
                  </a:moveTo>
                  <a:cubicBezTo>
                    <a:pt x="0" y="80"/>
                    <a:pt x="78" y="72"/>
                    <a:pt x="97" y="60"/>
                  </a:cubicBezTo>
                  <a:cubicBezTo>
                    <a:pt x="116" y="48"/>
                    <a:pt x="152" y="0"/>
                    <a:pt x="162" y="26"/>
                  </a:cubicBezTo>
                  <a:cubicBezTo>
                    <a:pt x="173" y="51"/>
                    <a:pt x="170" y="62"/>
                    <a:pt x="176" y="66"/>
                  </a:cubicBezTo>
                  <a:cubicBezTo>
                    <a:pt x="181" y="70"/>
                    <a:pt x="206" y="76"/>
                    <a:pt x="212" y="64"/>
                  </a:cubicBezTo>
                  <a:cubicBezTo>
                    <a:pt x="217" y="52"/>
                    <a:pt x="221" y="12"/>
                    <a:pt x="234" y="39"/>
                  </a:cubicBezTo>
                  <a:cubicBezTo>
                    <a:pt x="248" y="66"/>
                    <a:pt x="273" y="87"/>
                    <a:pt x="306" y="92"/>
                  </a:cubicBezTo>
                  <a:cubicBezTo>
                    <a:pt x="340" y="98"/>
                    <a:pt x="432" y="78"/>
                    <a:pt x="432" y="78"/>
                  </a:cubicBezTo>
                  <a:cubicBezTo>
                    <a:pt x="432" y="78"/>
                    <a:pt x="480" y="106"/>
                    <a:pt x="488" y="107"/>
                  </a:cubicBezTo>
                  <a:cubicBezTo>
                    <a:pt x="495" y="108"/>
                    <a:pt x="448" y="128"/>
                    <a:pt x="422" y="128"/>
                  </a:cubicBezTo>
                  <a:cubicBezTo>
                    <a:pt x="397" y="128"/>
                    <a:pt x="317" y="126"/>
                    <a:pt x="297" y="126"/>
                  </a:cubicBezTo>
                  <a:cubicBezTo>
                    <a:pt x="277" y="126"/>
                    <a:pt x="160" y="112"/>
                    <a:pt x="146" y="110"/>
                  </a:cubicBezTo>
                  <a:cubicBezTo>
                    <a:pt x="133" y="107"/>
                    <a:pt x="0" y="80"/>
                    <a:pt x="0" y="8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4" name="Freeform 96">
              <a:extLst>
                <a:ext uri="{FF2B5EF4-FFF2-40B4-BE49-F238E27FC236}">
                  <a16:creationId xmlns:a16="http://schemas.microsoft.com/office/drawing/2014/main" id="{1EF8CF6E-11DE-4DA3-ABEC-60B7890F7D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5385" y="4513038"/>
              <a:ext cx="247184" cy="590409"/>
            </a:xfrm>
            <a:custGeom>
              <a:avLst/>
              <a:gdLst>
                <a:gd name="T0" fmla="*/ 41 w 111"/>
                <a:gd name="T1" fmla="*/ 87 h 264"/>
                <a:gd name="T2" fmla="*/ 63 w 111"/>
                <a:gd name="T3" fmla="*/ 111 h 264"/>
                <a:gd name="T4" fmla="*/ 93 w 111"/>
                <a:gd name="T5" fmla="*/ 148 h 264"/>
                <a:gd name="T6" fmla="*/ 81 w 111"/>
                <a:gd name="T7" fmla="*/ 195 h 264"/>
                <a:gd name="T8" fmla="*/ 43 w 111"/>
                <a:gd name="T9" fmla="*/ 237 h 264"/>
                <a:gd name="T10" fmla="*/ 56 w 111"/>
                <a:gd name="T11" fmla="*/ 175 h 264"/>
                <a:gd name="T12" fmla="*/ 16 w 111"/>
                <a:gd name="T13" fmla="*/ 191 h 264"/>
                <a:gd name="T14" fmla="*/ 44 w 111"/>
                <a:gd name="T15" fmla="*/ 141 h 264"/>
                <a:gd name="T16" fmla="*/ 17 w 111"/>
                <a:gd name="T17" fmla="*/ 147 h 264"/>
                <a:gd name="T18" fmla="*/ 23 w 111"/>
                <a:gd name="T19" fmla="*/ 95 h 264"/>
                <a:gd name="T20" fmla="*/ 7 w 111"/>
                <a:gd name="T21" fmla="*/ 60 h 264"/>
                <a:gd name="T22" fmla="*/ 9 w 111"/>
                <a:gd name="T23" fmla="*/ 0 h 264"/>
                <a:gd name="T24" fmla="*/ 31 w 111"/>
                <a:gd name="T25" fmla="*/ 29 h 264"/>
                <a:gd name="T26" fmla="*/ 36 w 111"/>
                <a:gd name="T27" fmla="*/ 75 h 264"/>
                <a:gd name="T28" fmla="*/ 41 w 111"/>
                <a:gd name="T29" fmla="*/ 8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64">
                  <a:moveTo>
                    <a:pt x="41" y="87"/>
                  </a:moveTo>
                  <a:cubicBezTo>
                    <a:pt x="41" y="87"/>
                    <a:pt x="57" y="97"/>
                    <a:pt x="63" y="111"/>
                  </a:cubicBezTo>
                  <a:cubicBezTo>
                    <a:pt x="68" y="124"/>
                    <a:pt x="80" y="141"/>
                    <a:pt x="93" y="148"/>
                  </a:cubicBezTo>
                  <a:cubicBezTo>
                    <a:pt x="107" y="155"/>
                    <a:pt x="111" y="160"/>
                    <a:pt x="81" y="195"/>
                  </a:cubicBezTo>
                  <a:cubicBezTo>
                    <a:pt x="52" y="229"/>
                    <a:pt x="33" y="264"/>
                    <a:pt x="43" y="237"/>
                  </a:cubicBezTo>
                  <a:cubicBezTo>
                    <a:pt x="52" y="211"/>
                    <a:pt x="64" y="176"/>
                    <a:pt x="56" y="175"/>
                  </a:cubicBezTo>
                  <a:cubicBezTo>
                    <a:pt x="48" y="173"/>
                    <a:pt x="0" y="212"/>
                    <a:pt x="16" y="191"/>
                  </a:cubicBezTo>
                  <a:cubicBezTo>
                    <a:pt x="32" y="169"/>
                    <a:pt x="52" y="141"/>
                    <a:pt x="44" y="141"/>
                  </a:cubicBezTo>
                  <a:cubicBezTo>
                    <a:pt x="36" y="141"/>
                    <a:pt x="8" y="180"/>
                    <a:pt x="17" y="147"/>
                  </a:cubicBezTo>
                  <a:cubicBezTo>
                    <a:pt x="27" y="113"/>
                    <a:pt x="40" y="107"/>
                    <a:pt x="23" y="95"/>
                  </a:cubicBezTo>
                  <a:cubicBezTo>
                    <a:pt x="5" y="83"/>
                    <a:pt x="3" y="75"/>
                    <a:pt x="7" y="60"/>
                  </a:cubicBezTo>
                  <a:cubicBezTo>
                    <a:pt x="11" y="45"/>
                    <a:pt x="9" y="0"/>
                    <a:pt x="9" y="0"/>
                  </a:cubicBezTo>
                  <a:cubicBezTo>
                    <a:pt x="9" y="0"/>
                    <a:pt x="27" y="17"/>
                    <a:pt x="31" y="29"/>
                  </a:cubicBezTo>
                  <a:cubicBezTo>
                    <a:pt x="35" y="41"/>
                    <a:pt x="36" y="75"/>
                    <a:pt x="36" y="75"/>
                  </a:cubicBezTo>
                  <a:lnTo>
                    <a:pt x="41" y="87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5" name="Freeform 97">
              <a:extLst>
                <a:ext uri="{FF2B5EF4-FFF2-40B4-BE49-F238E27FC236}">
                  <a16:creationId xmlns:a16="http://schemas.microsoft.com/office/drawing/2014/main" id="{DBC44D50-30CE-4BB3-9752-3139817B228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4182" y="4988515"/>
              <a:ext cx="440839" cy="152719"/>
            </a:xfrm>
            <a:custGeom>
              <a:avLst/>
              <a:gdLst>
                <a:gd name="T0" fmla="*/ 0 w 197"/>
                <a:gd name="T1" fmla="*/ 0 h 68"/>
                <a:gd name="T2" fmla="*/ 35 w 197"/>
                <a:gd name="T3" fmla="*/ 2 h 68"/>
                <a:gd name="T4" fmla="*/ 93 w 197"/>
                <a:gd name="T5" fmla="*/ 7 h 68"/>
                <a:gd name="T6" fmla="*/ 152 w 197"/>
                <a:gd name="T7" fmla="*/ 26 h 68"/>
                <a:gd name="T8" fmla="*/ 197 w 197"/>
                <a:gd name="T9" fmla="*/ 36 h 68"/>
                <a:gd name="T10" fmla="*/ 129 w 197"/>
                <a:gd name="T11" fmla="*/ 59 h 68"/>
                <a:gd name="T12" fmla="*/ 116 w 197"/>
                <a:gd name="T13" fmla="*/ 43 h 68"/>
                <a:gd name="T14" fmla="*/ 51 w 197"/>
                <a:gd name="T15" fmla="*/ 38 h 68"/>
                <a:gd name="T16" fmla="*/ 41 w 197"/>
                <a:gd name="T17" fmla="*/ 18 h 68"/>
                <a:gd name="T18" fmla="*/ 0 w 197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68">
                  <a:moveTo>
                    <a:pt x="0" y="0"/>
                  </a:moveTo>
                  <a:cubicBezTo>
                    <a:pt x="0" y="0"/>
                    <a:pt x="27" y="2"/>
                    <a:pt x="35" y="2"/>
                  </a:cubicBezTo>
                  <a:cubicBezTo>
                    <a:pt x="43" y="2"/>
                    <a:pt x="79" y="0"/>
                    <a:pt x="93" y="7"/>
                  </a:cubicBezTo>
                  <a:cubicBezTo>
                    <a:pt x="108" y="14"/>
                    <a:pt x="152" y="26"/>
                    <a:pt x="152" y="26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6"/>
                    <a:pt x="143" y="50"/>
                    <a:pt x="129" y="59"/>
                  </a:cubicBezTo>
                  <a:cubicBezTo>
                    <a:pt x="116" y="68"/>
                    <a:pt x="116" y="43"/>
                    <a:pt x="116" y="43"/>
                  </a:cubicBezTo>
                  <a:cubicBezTo>
                    <a:pt x="116" y="43"/>
                    <a:pt x="71" y="34"/>
                    <a:pt x="51" y="38"/>
                  </a:cubicBezTo>
                  <a:cubicBezTo>
                    <a:pt x="31" y="42"/>
                    <a:pt x="41" y="18"/>
                    <a:pt x="41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6" name="Freeform 98">
              <a:extLst>
                <a:ext uri="{FF2B5EF4-FFF2-40B4-BE49-F238E27FC236}">
                  <a16:creationId xmlns:a16="http://schemas.microsoft.com/office/drawing/2014/main" id="{73C5927F-9BAB-4824-8B71-DB17C3C3C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99159" y="5967807"/>
              <a:ext cx="2117601" cy="861210"/>
            </a:xfrm>
            <a:custGeom>
              <a:avLst/>
              <a:gdLst>
                <a:gd name="T0" fmla="*/ 2 w 948"/>
                <a:gd name="T1" fmla="*/ 0 h 386"/>
                <a:gd name="T2" fmla="*/ 208 w 948"/>
                <a:gd name="T3" fmla="*/ 92 h 386"/>
                <a:gd name="T4" fmla="*/ 600 w 948"/>
                <a:gd name="T5" fmla="*/ 242 h 386"/>
                <a:gd name="T6" fmla="*/ 948 w 948"/>
                <a:gd name="T7" fmla="*/ 386 h 386"/>
                <a:gd name="T8" fmla="*/ 596 w 948"/>
                <a:gd name="T9" fmla="*/ 382 h 386"/>
                <a:gd name="T10" fmla="*/ 206 w 948"/>
                <a:gd name="T11" fmla="*/ 242 h 386"/>
                <a:gd name="T12" fmla="*/ 0 w 948"/>
                <a:gd name="T13" fmla="*/ 136 h 386"/>
                <a:gd name="T14" fmla="*/ 2 w 948"/>
                <a:gd name="T15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8" h="386">
                  <a:moveTo>
                    <a:pt x="2" y="0"/>
                  </a:moveTo>
                  <a:cubicBezTo>
                    <a:pt x="2" y="0"/>
                    <a:pt x="150" y="78"/>
                    <a:pt x="208" y="92"/>
                  </a:cubicBezTo>
                  <a:cubicBezTo>
                    <a:pt x="266" y="106"/>
                    <a:pt x="584" y="230"/>
                    <a:pt x="600" y="242"/>
                  </a:cubicBezTo>
                  <a:cubicBezTo>
                    <a:pt x="616" y="254"/>
                    <a:pt x="948" y="386"/>
                    <a:pt x="948" y="386"/>
                  </a:cubicBezTo>
                  <a:cubicBezTo>
                    <a:pt x="596" y="382"/>
                    <a:pt x="596" y="382"/>
                    <a:pt x="596" y="382"/>
                  </a:cubicBezTo>
                  <a:cubicBezTo>
                    <a:pt x="596" y="382"/>
                    <a:pt x="246" y="256"/>
                    <a:pt x="206" y="242"/>
                  </a:cubicBezTo>
                  <a:cubicBezTo>
                    <a:pt x="166" y="228"/>
                    <a:pt x="0" y="136"/>
                    <a:pt x="0" y="136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ysClr val="windowText" lastClr="000000">
                <a:lumMod val="65000"/>
                <a:lumOff val="3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7" name="Freeform 99">
              <a:extLst>
                <a:ext uri="{FF2B5EF4-FFF2-40B4-BE49-F238E27FC236}">
                  <a16:creationId xmlns:a16="http://schemas.microsoft.com/office/drawing/2014/main" id="{828CFE85-C767-4221-8700-55AF112B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4817" y="6087463"/>
              <a:ext cx="1678337" cy="634493"/>
            </a:xfrm>
            <a:custGeom>
              <a:avLst/>
              <a:gdLst>
                <a:gd name="T0" fmla="*/ 752 w 752"/>
                <a:gd name="T1" fmla="*/ 284 h 284"/>
                <a:gd name="T2" fmla="*/ 136 w 752"/>
                <a:gd name="T3" fmla="*/ 52 h 284"/>
                <a:gd name="T4" fmla="*/ 8 w 752"/>
                <a:gd name="T5" fmla="*/ 28 h 284"/>
                <a:gd name="T6" fmla="*/ 66 w 752"/>
                <a:gd name="T7" fmla="*/ 108 h 284"/>
                <a:gd name="T8" fmla="*/ 62 w 752"/>
                <a:gd name="T9" fmla="*/ 50 h 284"/>
                <a:gd name="T10" fmla="*/ 554 w 752"/>
                <a:gd name="T11" fmla="*/ 220 h 284"/>
                <a:gd name="T12" fmla="*/ 752 w 752"/>
                <a:gd name="T1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2" h="284">
                  <a:moveTo>
                    <a:pt x="752" y="284"/>
                  </a:moveTo>
                  <a:cubicBezTo>
                    <a:pt x="752" y="284"/>
                    <a:pt x="152" y="60"/>
                    <a:pt x="136" y="52"/>
                  </a:cubicBezTo>
                  <a:cubicBezTo>
                    <a:pt x="120" y="44"/>
                    <a:pt x="16" y="0"/>
                    <a:pt x="8" y="28"/>
                  </a:cubicBezTo>
                  <a:cubicBezTo>
                    <a:pt x="0" y="56"/>
                    <a:pt x="66" y="108"/>
                    <a:pt x="66" y="108"/>
                  </a:cubicBezTo>
                  <a:cubicBezTo>
                    <a:pt x="66" y="108"/>
                    <a:pt x="0" y="32"/>
                    <a:pt x="62" y="50"/>
                  </a:cubicBezTo>
                  <a:cubicBezTo>
                    <a:pt x="124" y="68"/>
                    <a:pt x="514" y="202"/>
                    <a:pt x="554" y="220"/>
                  </a:cubicBezTo>
                  <a:cubicBezTo>
                    <a:pt x="594" y="238"/>
                    <a:pt x="752" y="284"/>
                    <a:pt x="752" y="284"/>
                  </a:cubicBezTo>
                  <a:close/>
                </a:path>
              </a:pathLst>
            </a:custGeom>
            <a:solidFill>
              <a:srgbClr val="4F4F4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358" name="Gruppieren 210">
              <a:extLst>
                <a:ext uri="{FF2B5EF4-FFF2-40B4-BE49-F238E27FC236}">
                  <a16:creationId xmlns:a16="http://schemas.microsoft.com/office/drawing/2014/main" id="{DD11DAD0-D081-46AC-BBA0-B30DF3D60991}"/>
                </a:ext>
              </a:extLst>
            </p:cNvPr>
            <p:cNvGrpSpPr/>
            <p:nvPr/>
          </p:nvGrpSpPr>
          <p:grpSpPr bwMode="gray">
            <a:xfrm>
              <a:off x="7845396" y="2875637"/>
              <a:ext cx="1560255" cy="2950471"/>
              <a:chOff x="7845396" y="2875637"/>
              <a:chExt cx="1560255" cy="2950471"/>
            </a:xfrm>
            <a:effectLst/>
          </p:grpSpPr>
          <p:sp>
            <p:nvSpPr>
              <p:cNvPr id="359" name="Freeform 12">
                <a:extLst>
                  <a:ext uri="{FF2B5EF4-FFF2-40B4-BE49-F238E27FC236}">
                    <a16:creationId xmlns:a16="http://schemas.microsoft.com/office/drawing/2014/main" id="{2482F7C2-8696-40F3-95AB-DA4084E5A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10711" y="2929167"/>
                <a:ext cx="1394940" cy="2896941"/>
              </a:xfrm>
              <a:custGeom>
                <a:avLst/>
                <a:gdLst>
                  <a:gd name="T0" fmla="*/ 594 w 625"/>
                  <a:gd name="T1" fmla="*/ 1201 h 1297"/>
                  <a:gd name="T2" fmla="*/ 529 w 625"/>
                  <a:gd name="T3" fmla="*/ 1020 h 1297"/>
                  <a:gd name="T4" fmla="*/ 570 w 625"/>
                  <a:gd name="T5" fmla="*/ 562 h 1297"/>
                  <a:gd name="T6" fmla="*/ 601 w 625"/>
                  <a:gd name="T7" fmla="*/ 22 h 1297"/>
                  <a:gd name="T8" fmla="*/ 325 w 625"/>
                  <a:gd name="T9" fmla="*/ 0 h 1297"/>
                  <a:gd name="T10" fmla="*/ 402 w 625"/>
                  <a:gd name="T11" fmla="*/ 934 h 1297"/>
                  <a:gd name="T12" fmla="*/ 406 w 625"/>
                  <a:gd name="T13" fmla="*/ 1126 h 1297"/>
                  <a:gd name="T14" fmla="*/ 423 w 625"/>
                  <a:gd name="T15" fmla="*/ 1135 h 1297"/>
                  <a:gd name="T16" fmla="*/ 380 w 625"/>
                  <a:gd name="T17" fmla="*/ 1161 h 1297"/>
                  <a:gd name="T18" fmla="*/ 121 w 625"/>
                  <a:gd name="T19" fmla="*/ 1172 h 1297"/>
                  <a:gd name="T20" fmla="*/ 2 w 625"/>
                  <a:gd name="T21" fmla="*/ 1202 h 1297"/>
                  <a:gd name="T22" fmla="*/ 121 w 625"/>
                  <a:gd name="T23" fmla="*/ 1289 h 1297"/>
                  <a:gd name="T24" fmla="*/ 394 w 625"/>
                  <a:gd name="T25" fmla="*/ 1280 h 1297"/>
                  <a:gd name="T26" fmla="*/ 568 w 625"/>
                  <a:gd name="T27" fmla="*/ 1250 h 1297"/>
                  <a:gd name="T28" fmla="*/ 594 w 625"/>
                  <a:gd name="T29" fmla="*/ 1201 h 1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5" h="1297">
                    <a:moveTo>
                      <a:pt x="594" y="1201"/>
                    </a:moveTo>
                    <a:cubicBezTo>
                      <a:pt x="529" y="1020"/>
                      <a:pt x="529" y="1020"/>
                      <a:pt x="529" y="1020"/>
                    </a:cubicBezTo>
                    <a:cubicBezTo>
                      <a:pt x="545" y="852"/>
                      <a:pt x="570" y="562"/>
                      <a:pt x="570" y="562"/>
                    </a:cubicBezTo>
                    <a:cubicBezTo>
                      <a:pt x="570" y="562"/>
                      <a:pt x="610" y="38"/>
                      <a:pt x="601" y="22"/>
                    </a:cubicBezTo>
                    <a:cubicBezTo>
                      <a:pt x="592" y="6"/>
                      <a:pt x="325" y="0"/>
                      <a:pt x="325" y="0"/>
                    </a:cubicBezTo>
                    <a:cubicBezTo>
                      <a:pt x="402" y="934"/>
                      <a:pt x="402" y="934"/>
                      <a:pt x="402" y="934"/>
                    </a:cubicBezTo>
                    <a:cubicBezTo>
                      <a:pt x="406" y="1126"/>
                      <a:pt x="406" y="1126"/>
                      <a:pt x="406" y="1126"/>
                    </a:cubicBezTo>
                    <a:cubicBezTo>
                      <a:pt x="406" y="1126"/>
                      <a:pt x="413" y="1130"/>
                      <a:pt x="423" y="1135"/>
                    </a:cubicBezTo>
                    <a:cubicBezTo>
                      <a:pt x="418" y="1163"/>
                      <a:pt x="388" y="1161"/>
                      <a:pt x="380" y="1161"/>
                    </a:cubicBezTo>
                    <a:cubicBezTo>
                      <a:pt x="370" y="1161"/>
                      <a:pt x="156" y="1172"/>
                      <a:pt x="121" y="1172"/>
                    </a:cubicBezTo>
                    <a:cubicBezTo>
                      <a:pt x="86" y="1172"/>
                      <a:pt x="0" y="1193"/>
                      <a:pt x="2" y="1202"/>
                    </a:cubicBezTo>
                    <a:cubicBezTo>
                      <a:pt x="5" y="1212"/>
                      <a:pt x="96" y="1281"/>
                      <a:pt x="121" y="1289"/>
                    </a:cubicBezTo>
                    <a:cubicBezTo>
                      <a:pt x="146" y="1297"/>
                      <a:pt x="394" y="1280"/>
                      <a:pt x="394" y="1280"/>
                    </a:cubicBezTo>
                    <a:cubicBezTo>
                      <a:pt x="394" y="1280"/>
                      <a:pt x="510" y="1261"/>
                      <a:pt x="568" y="1250"/>
                    </a:cubicBezTo>
                    <a:cubicBezTo>
                      <a:pt x="625" y="1240"/>
                      <a:pt x="594" y="1201"/>
                      <a:pt x="594" y="1201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0" name="Freeform 13">
                <a:extLst>
                  <a:ext uri="{FF2B5EF4-FFF2-40B4-BE49-F238E27FC236}">
                    <a16:creationId xmlns:a16="http://schemas.microsoft.com/office/drawing/2014/main" id="{576B9B63-9129-4FDA-8281-65092AF700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21492" y="5190041"/>
                <a:ext cx="171612" cy="314885"/>
              </a:xfrm>
              <a:custGeom>
                <a:avLst/>
                <a:gdLst>
                  <a:gd name="T0" fmla="*/ 73 w 77"/>
                  <a:gd name="T1" fmla="*/ 0 h 141"/>
                  <a:gd name="T2" fmla="*/ 56 w 77"/>
                  <a:gd name="T3" fmla="*/ 137 h 141"/>
                  <a:gd name="T4" fmla="*/ 0 w 77"/>
                  <a:gd name="T5" fmla="*/ 133 h 141"/>
                  <a:gd name="T6" fmla="*/ 56 w 77"/>
                  <a:gd name="T7" fmla="*/ 110 h 141"/>
                  <a:gd name="T8" fmla="*/ 73 w 77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141">
                    <a:moveTo>
                      <a:pt x="73" y="0"/>
                    </a:moveTo>
                    <a:cubicBezTo>
                      <a:pt x="73" y="0"/>
                      <a:pt x="77" y="133"/>
                      <a:pt x="56" y="137"/>
                    </a:cubicBezTo>
                    <a:cubicBezTo>
                      <a:pt x="35" y="141"/>
                      <a:pt x="0" y="133"/>
                      <a:pt x="0" y="133"/>
                    </a:cubicBezTo>
                    <a:cubicBezTo>
                      <a:pt x="0" y="133"/>
                      <a:pt x="53" y="138"/>
                      <a:pt x="56" y="110"/>
                    </a:cubicBezTo>
                    <a:cubicBezTo>
                      <a:pt x="59" y="82"/>
                      <a:pt x="73" y="0"/>
                      <a:pt x="73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1" name="Freeform 14">
                <a:extLst>
                  <a:ext uri="{FF2B5EF4-FFF2-40B4-BE49-F238E27FC236}">
                    <a16:creationId xmlns:a16="http://schemas.microsoft.com/office/drawing/2014/main" id="{36768436-D332-40E0-B5A4-A072B2C6C6D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45396" y="2875637"/>
                <a:ext cx="1410684" cy="2671798"/>
              </a:xfrm>
              <a:custGeom>
                <a:avLst/>
                <a:gdLst>
                  <a:gd name="T0" fmla="*/ 78 w 632"/>
                  <a:gd name="T1" fmla="*/ 0 h 1196"/>
                  <a:gd name="T2" fmla="*/ 65 w 632"/>
                  <a:gd name="T3" fmla="*/ 58 h 1196"/>
                  <a:gd name="T4" fmla="*/ 0 w 632"/>
                  <a:gd name="T5" fmla="*/ 886 h 1196"/>
                  <a:gd name="T6" fmla="*/ 538 w 632"/>
                  <a:gd name="T7" fmla="*/ 1172 h 1196"/>
                  <a:gd name="T8" fmla="*/ 632 w 632"/>
                  <a:gd name="T9" fmla="*/ 46 h 1196"/>
                  <a:gd name="T10" fmla="*/ 78 w 632"/>
                  <a:gd name="T11" fmla="*/ 0 h 1196"/>
                  <a:gd name="T12" fmla="*/ 511 w 632"/>
                  <a:gd name="T13" fmla="*/ 1072 h 1196"/>
                  <a:gd name="T14" fmla="*/ 28 w 632"/>
                  <a:gd name="T15" fmla="*/ 820 h 1196"/>
                  <a:gd name="T16" fmla="*/ 92 w 632"/>
                  <a:gd name="T17" fmla="*/ 57 h 1196"/>
                  <a:gd name="T18" fmla="*/ 599 w 632"/>
                  <a:gd name="T19" fmla="*/ 120 h 1196"/>
                  <a:gd name="T20" fmla="*/ 511 w 632"/>
                  <a:gd name="T21" fmla="*/ 1072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2" h="1196">
                    <a:moveTo>
                      <a:pt x="78" y="0"/>
                    </a:moveTo>
                    <a:cubicBezTo>
                      <a:pt x="67" y="6"/>
                      <a:pt x="65" y="58"/>
                      <a:pt x="65" y="58"/>
                    </a:cubicBezTo>
                    <a:cubicBezTo>
                      <a:pt x="0" y="886"/>
                      <a:pt x="0" y="886"/>
                      <a:pt x="0" y="886"/>
                    </a:cubicBezTo>
                    <a:cubicBezTo>
                      <a:pt x="0" y="886"/>
                      <a:pt x="534" y="1196"/>
                      <a:pt x="538" y="1172"/>
                    </a:cubicBezTo>
                    <a:cubicBezTo>
                      <a:pt x="545" y="1129"/>
                      <a:pt x="632" y="46"/>
                      <a:pt x="632" y="46"/>
                    </a:cubicBezTo>
                    <a:lnTo>
                      <a:pt x="78" y="0"/>
                    </a:lnTo>
                    <a:close/>
                    <a:moveTo>
                      <a:pt x="511" y="1072"/>
                    </a:moveTo>
                    <a:cubicBezTo>
                      <a:pt x="28" y="820"/>
                      <a:pt x="28" y="820"/>
                      <a:pt x="28" y="820"/>
                    </a:cubicBezTo>
                    <a:cubicBezTo>
                      <a:pt x="92" y="57"/>
                      <a:pt x="92" y="57"/>
                      <a:pt x="92" y="57"/>
                    </a:cubicBezTo>
                    <a:cubicBezTo>
                      <a:pt x="599" y="120"/>
                      <a:pt x="599" y="120"/>
                      <a:pt x="599" y="120"/>
                    </a:cubicBezTo>
                    <a:lnTo>
                      <a:pt x="511" y="1072"/>
                    </a:ln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2" name="Freeform 15">
                <a:extLst>
                  <a:ext uri="{FF2B5EF4-FFF2-40B4-BE49-F238E27FC236}">
                    <a16:creationId xmlns:a16="http://schemas.microsoft.com/office/drawing/2014/main" id="{6ADCF330-3F9D-414E-BAA7-DA088D1FE8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06799" y="3003166"/>
                <a:ext cx="1275284" cy="2267172"/>
              </a:xfrm>
              <a:custGeom>
                <a:avLst/>
                <a:gdLst>
                  <a:gd name="T0" fmla="*/ 91 w 810"/>
                  <a:gd name="T1" fmla="*/ 0 h 1440"/>
                  <a:gd name="T2" fmla="*/ 0 w 810"/>
                  <a:gd name="T3" fmla="*/ 1082 h 1440"/>
                  <a:gd name="T4" fmla="*/ 685 w 810"/>
                  <a:gd name="T5" fmla="*/ 1440 h 1440"/>
                  <a:gd name="T6" fmla="*/ 810 w 810"/>
                  <a:gd name="T7" fmla="*/ 89 h 1440"/>
                  <a:gd name="T8" fmla="*/ 91 w 810"/>
                  <a:gd name="T9" fmla="*/ 0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0" h="1440">
                    <a:moveTo>
                      <a:pt x="91" y="0"/>
                    </a:moveTo>
                    <a:lnTo>
                      <a:pt x="0" y="1082"/>
                    </a:lnTo>
                    <a:lnTo>
                      <a:pt x="685" y="1440"/>
                    </a:lnTo>
                    <a:lnTo>
                      <a:pt x="810" y="89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3" name="Freeform 16">
                <a:extLst>
                  <a:ext uri="{FF2B5EF4-FFF2-40B4-BE49-F238E27FC236}">
                    <a16:creationId xmlns:a16="http://schemas.microsoft.com/office/drawing/2014/main" id="{A159F481-29D7-4679-9D80-C6A77CACE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72113" y="2954358"/>
                <a:ext cx="1132011" cy="122805"/>
              </a:xfrm>
              <a:custGeom>
                <a:avLst/>
                <a:gdLst>
                  <a:gd name="T0" fmla="*/ 0 w 507"/>
                  <a:gd name="T1" fmla="*/ 0 h 55"/>
                  <a:gd name="T2" fmla="*/ 483 w 507"/>
                  <a:gd name="T3" fmla="*/ 55 h 55"/>
                  <a:gd name="T4" fmla="*/ 468 w 507"/>
                  <a:gd name="T5" fmla="*/ 29 h 55"/>
                  <a:gd name="T6" fmla="*/ 0 w 507"/>
                  <a:gd name="T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7" h="55">
                    <a:moveTo>
                      <a:pt x="0" y="0"/>
                    </a:moveTo>
                    <a:cubicBezTo>
                      <a:pt x="11" y="5"/>
                      <a:pt x="483" y="55"/>
                      <a:pt x="483" y="55"/>
                    </a:cubicBezTo>
                    <a:cubicBezTo>
                      <a:pt x="483" y="55"/>
                      <a:pt x="507" y="31"/>
                      <a:pt x="468" y="29"/>
                    </a:cubicBezTo>
                    <a:cubicBezTo>
                      <a:pt x="429" y="2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4" name="Freeform 17">
                <a:extLst>
                  <a:ext uri="{FF2B5EF4-FFF2-40B4-BE49-F238E27FC236}">
                    <a16:creationId xmlns:a16="http://schemas.microsoft.com/office/drawing/2014/main" id="{ECC2D57D-6CBE-48C6-ABC1-07B95E0FA8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2543" y="4807456"/>
                <a:ext cx="1094225" cy="585686"/>
              </a:xfrm>
              <a:custGeom>
                <a:avLst/>
                <a:gdLst>
                  <a:gd name="T0" fmla="*/ 0 w 490"/>
                  <a:gd name="T1" fmla="*/ 0 h 262"/>
                  <a:gd name="T2" fmla="*/ 466 w 490"/>
                  <a:gd name="T3" fmla="*/ 262 h 262"/>
                  <a:gd name="T4" fmla="*/ 454 w 490"/>
                  <a:gd name="T5" fmla="*/ 221 h 262"/>
                  <a:gd name="T6" fmla="*/ 0 w 490"/>
                  <a:gd name="T7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0" h="262">
                    <a:moveTo>
                      <a:pt x="0" y="0"/>
                    </a:moveTo>
                    <a:cubicBezTo>
                      <a:pt x="466" y="262"/>
                      <a:pt x="466" y="262"/>
                      <a:pt x="466" y="262"/>
                    </a:cubicBezTo>
                    <a:cubicBezTo>
                      <a:pt x="466" y="262"/>
                      <a:pt x="490" y="241"/>
                      <a:pt x="454" y="221"/>
                    </a:cubicBezTo>
                    <a:cubicBezTo>
                      <a:pt x="417" y="20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5" name="Freeform 18">
                <a:extLst>
                  <a:ext uri="{FF2B5EF4-FFF2-40B4-BE49-F238E27FC236}">
                    <a16:creationId xmlns:a16="http://schemas.microsoft.com/office/drawing/2014/main" id="{7847B20A-BFA6-4C23-9F74-2E6FB73F06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52217" y="5500203"/>
                <a:ext cx="395180" cy="214122"/>
              </a:xfrm>
              <a:custGeom>
                <a:avLst/>
                <a:gdLst>
                  <a:gd name="T0" fmla="*/ 0 w 177"/>
                  <a:gd name="T1" fmla="*/ 0 h 96"/>
                  <a:gd name="T2" fmla="*/ 171 w 177"/>
                  <a:gd name="T3" fmla="*/ 79 h 96"/>
                  <a:gd name="T4" fmla="*/ 124 w 177"/>
                  <a:gd name="T5" fmla="*/ 71 h 96"/>
                  <a:gd name="T6" fmla="*/ 0 w 177"/>
                  <a:gd name="T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7" h="96">
                    <a:moveTo>
                      <a:pt x="0" y="0"/>
                    </a:moveTo>
                    <a:cubicBezTo>
                      <a:pt x="1" y="2"/>
                      <a:pt x="177" y="71"/>
                      <a:pt x="171" y="79"/>
                    </a:cubicBezTo>
                    <a:cubicBezTo>
                      <a:pt x="165" y="87"/>
                      <a:pt x="175" y="96"/>
                      <a:pt x="124" y="71"/>
                    </a:cubicBezTo>
                    <a:cubicBezTo>
                      <a:pt x="72" y="4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41117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uppieren 1">
            <a:extLst>
              <a:ext uri="{FF2B5EF4-FFF2-40B4-BE49-F238E27FC236}">
                <a16:creationId xmlns:a16="http://schemas.microsoft.com/office/drawing/2014/main" id="{EB275599-747E-48BB-8918-DF71B6F47861}"/>
              </a:ext>
            </a:extLst>
          </p:cNvPr>
          <p:cNvGrpSpPr/>
          <p:nvPr/>
        </p:nvGrpSpPr>
        <p:grpSpPr>
          <a:xfrm>
            <a:off x="0" y="1511300"/>
            <a:ext cx="4728315" cy="4298950"/>
            <a:chOff x="0" y="1511300"/>
            <a:chExt cx="4728315" cy="4298950"/>
          </a:xfrm>
        </p:grpSpPr>
        <p:graphicFrame>
          <p:nvGraphicFramePr>
            <p:cNvPr id="3" name="Inhaltsplatzhalter 6">
              <a:extLst>
                <a:ext uri="{FF2B5EF4-FFF2-40B4-BE49-F238E27FC236}">
                  <a16:creationId xmlns:a16="http://schemas.microsoft.com/office/drawing/2014/main" id="{041CF6BC-D370-45A3-8B90-0294A933015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46035574"/>
                </p:ext>
              </p:extLst>
            </p:nvPr>
          </p:nvGraphicFramePr>
          <p:xfrm>
            <a:off x="0" y="1511300"/>
            <a:ext cx="4728315" cy="4298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4" name="Gruppieren 45">
              <a:extLst>
                <a:ext uri="{FF2B5EF4-FFF2-40B4-BE49-F238E27FC236}">
                  <a16:creationId xmlns:a16="http://schemas.microsoft.com/office/drawing/2014/main" id="{9917BD7E-EB4A-42D3-B6B2-B9438AF3DBC9}"/>
                </a:ext>
              </a:extLst>
            </p:cNvPr>
            <p:cNvGrpSpPr/>
            <p:nvPr/>
          </p:nvGrpSpPr>
          <p:grpSpPr>
            <a:xfrm>
              <a:off x="517135" y="1600650"/>
              <a:ext cx="3694044" cy="4146100"/>
              <a:chOff x="1335142" y="1600650"/>
              <a:chExt cx="3694044" cy="4146100"/>
            </a:xfrm>
          </p:grpSpPr>
          <p:cxnSp>
            <p:nvCxnSpPr>
              <p:cNvPr id="5" name="Gerade Verbindung mit Pfeil 46">
                <a:extLst>
                  <a:ext uri="{FF2B5EF4-FFF2-40B4-BE49-F238E27FC236}">
                    <a16:creationId xmlns:a16="http://schemas.microsoft.com/office/drawing/2014/main" id="{CD2B4CEE-383A-4D08-A4DA-6CFFA4A79740}"/>
                  </a:ext>
                </a:extLst>
              </p:cNvPr>
              <p:cNvCxnSpPr/>
              <p:nvPr/>
            </p:nvCxnSpPr>
            <p:spPr bwMode="gray">
              <a:xfrm flipH="1" flipV="1">
                <a:off x="2118361" y="3004303"/>
                <a:ext cx="540663" cy="313527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" name="Gruppieren 47">
                <a:extLst>
                  <a:ext uri="{FF2B5EF4-FFF2-40B4-BE49-F238E27FC236}">
                    <a16:creationId xmlns:a16="http://schemas.microsoft.com/office/drawing/2014/main" id="{2667A72E-8219-45D1-B03E-CB10D07DB323}"/>
                  </a:ext>
                </a:extLst>
              </p:cNvPr>
              <p:cNvGrpSpPr/>
              <p:nvPr/>
            </p:nvGrpSpPr>
            <p:grpSpPr>
              <a:xfrm>
                <a:off x="2800350" y="1600650"/>
                <a:ext cx="723900" cy="723900"/>
                <a:chOff x="2800350" y="1600650"/>
                <a:chExt cx="723900" cy="723900"/>
              </a:xfrm>
            </p:grpSpPr>
            <p:sp>
              <p:nvSpPr>
                <p:cNvPr id="36" name="Ellipse 104">
                  <a:extLst>
                    <a:ext uri="{FF2B5EF4-FFF2-40B4-BE49-F238E27FC236}">
                      <a16:creationId xmlns:a16="http://schemas.microsoft.com/office/drawing/2014/main" id="{91626CC1-FB99-4946-9863-842D04577779}"/>
                    </a:ext>
                  </a:extLst>
                </p:cNvPr>
                <p:cNvSpPr/>
                <p:nvPr/>
              </p:nvSpPr>
              <p:spPr bwMode="gray">
                <a:xfrm>
                  <a:off x="2800350" y="16006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38100">
                  <a:solidFill>
                    <a:schemeClr val="accent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37" name="METRO ICON - star">
                  <a:extLst>
                    <a:ext uri="{FF2B5EF4-FFF2-40B4-BE49-F238E27FC236}">
                      <a16:creationId xmlns:a16="http://schemas.microsoft.com/office/drawing/2014/main" id="{F1A947E9-5BF3-46EE-8D04-D6E449E1DDB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963392" y="1772771"/>
                  <a:ext cx="397816" cy="379658"/>
                </a:xfrm>
                <a:custGeom>
                  <a:avLst/>
                  <a:gdLst>
                    <a:gd name="T0" fmla="*/ 241 w 241"/>
                    <a:gd name="T1" fmla="*/ 88 h 230"/>
                    <a:gd name="T2" fmla="*/ 158 w 241"/>
                    <a:gd name="T3" fmla="*/ 76 h 230"/>
                    <a:gd name="T4" fmla="*/ 121 w 241"/>
                    <a:gd name="T5" fmla="*/ 0 h 230"/>
                    <a:gd name="T6" fmla="*/ 83 w 241"/>
                    <a:gd name="T7" fmla="*/ 76 h 230"/>
                    <a:gd name="T8" fmla="*/ 0 w 241"/>
                    <a:gd name="T9" fmla="*/ 88 h 230"/>
                    <a:gd name="T10" fmla="*/ 61 w 241"/>
                    <a:gd name="T11" fmla="*/ 147 h 230"/>
                    <a:gd name="T12" fmla="*/ 46 w 241"/>
                    <a:gd name="T13" fmla="*/ 230 h 230"/>
                    <a:gd name="T14" fmla="*/ 121 w 241"/>
                    <a:gd name="T15" fmla="*/ 191 h 230"/>
                    <a:gd name="T16" fmla="*/ 196 w 241"/>
                    <a:gd name="T17" fmla="*/ 230 h 230"/>
                    <a:gd name="T18" fmla="*/ 182 w 241"/>
                    <a:gd name="T19" fmla="*/ 147 h 230"/>
                    <a:gd name="T20" fmla="*/ 241 w 241"/>
                    <a:gd name="T21" fmla="*/ 88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41" h="230">
                      <a:moveTo>
                        <a:pt x="241" y="88"/>
                      </a:moveTo>
                      <a:lnTo>
                        <a:pt x="158" y="76"/>
                      </a:lnTo>
                      <a:lnTo>
                        <a:pt x="121" y="0"/>
                      </a:lnTo>
                      <a:lnTo>
                        <a:pt x="83" y="76"/>
                      </a:lnTo>
                      <a:lnTo>
                        <a:pt x="0" y="88"/>
                      </a:lnTo>
                      <a:lnTo>
                        <a:pt x="61" y="147"/>
                      </a:lnTo>
                      <a:lnTo>
                        <a:pt x="46" y="230"/>
                      </a:lnTo>
                      <a:lnTo>
                        <a:pt x="121" y="191"/>
                      </a:lnTo>
                      <a:lnTo>
                        <a:pt x="196" y="230"/>
                      </a:lnTo>
                      <a:lnTo>
                        <a:pt x="182" y="147"/>
                      </a:lnTo>
                      <a:lnTo>
                        <a:pt x="241" y="8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7" name="Gruppieren 48">
                <a:extLst>
                  <a:ext uri="{FF2B5EF4-FFF2-40B4-BE49-F238E27FC236}">
                    <a16:creationId xmlns:a16="http://schemas.microsoft.com/office/drawing/2014/main" id="{B82BEADA-556B-47B9-8A1B-11C39CC3291D}"/>
                  </a:ext>
                </a:extLst>
              </p:cNvPr>
              <p:cNvGrpSpPr/>
              <p:nvPr/>
            </p:nvGrpSpPr>
            <p:grpSpPr>
              <a:xfrm>
                <a:off x="4305286" y="2420250"/>
                <a:ext cx="723900" cy="723900"/>
                <a:chOff x="4305286" y="2420250"/>
                <a:chExt cx="723900" cy="723900"/>
              </a:xfrm>
            </p:grpSpPr>
            <p:sp>
              <p:nvSpPr>
                <p:cNvPr id="34" name="Ellipse 102">
                  <a:extLst>
                    <a:ext uri="{FF2B5EF4-FFF2-40B4-BE49-F238E27FC236}">
                      <a16:creationId xmlns:a16="http://schemas.microsoft.com/office/drawing/2014/main" id="{6297A85F-436F-4EE5-BCB2-61121DE0CAEF}"/>
                    </a:ext>
                  </a:extLst>
                </p:cNvPr>
                <p:cNvSpPr/>
                <p:nvPr/>
              </p:nvSpPr>
              <p:spPr bwMode="gray">
                <a:xfrm>
                  <a:off x="4305286" y="24202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38100"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35" name="METRO ICON - temple">
                  <a:extLst>
                    <a:ext uri="{FF2B5EF4-FFF2-40B4-BE49-F238E27FC236}">
                      <a16:creationId xmlns:a16="http://schemas.microsoft.com/office/drawing/2014/main" id="{87C857DD-AFB0-425C-838A-5BDDE504CA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496232" y="2592146"/>
                  <a:ext cx="354708" cy="354708"/>
                </a:xfrm>
                <a:custGeom>
                  <a:avLst/>
                  <a:gdLst>
                    <a:gd name="T0" fmla="*/ 29 w 171"/>
                    <a:gd name="T1" fmla="*/ 125 h 171"/>
                    <a:gd name="T2" fmla="*/ 23 w 171"/>
                    <a:gd name="T3" fmla="*/ 128 h 171"/>
                    <a:gd name="T4" fmla="*/ 26 w 171"/>
                    <a:gd name="T5" fmla="*/ 137 h 171"/>
                    <a:gd name="T6" fmla="*/ 50 w 171"/>
                    <a:gd name="T7" fmla="*/ 134 h 171"/>
                    <a:gd name="T8" fmla="*/ 47 w 171"/>
                    <a:gd name="T9" fmla="*/ 125 h 171"/>
                    <a:gd name="T10" fmla="*/ 44 w 171"/>
                    <a:gd name="T11" fmla="*/ 69 h 171"/>
                    <a:gd name="T12" fmla="*/ 50 w 171"/>
                    <a:gd name="T13" fmla="*/ 66 h 171"/>
                    <a:gd name="T14" fmla="*/ 47 w 171"/>
                    <a:gd name="T15" fmla="*/ 57 h 171"/>
                    <a:gd name="T16" fmla="*/ 23 w 171"/>
                    <a:gd name="T17" fmla="*/ 60 h 171"/>
                    <a:gd name="T18" fmla="*/ 26 w 171"/>
                    <a:gd name="T19" fmla="*/ 69 h 171"/>
                    <a:gd name="T20" fmla="*/ 142 w 171"/>
                    <a:gd name="T21" fmla="*/ 125 h 171"/>
                    <a:gd name="T22" fmla="*/ 148 w 171"/>
                    <a:gd name="T23" fmla="*/ 128 h 171"/>
                    <a:gd name="T24" fmla="*/ 145 w 171"/>
                    <a:gd name="T25" fmla="*/ 137 h 171"/>
                    <a:gd name="T26" fmla="*/ 121 w 171"/>
                    <a:gd name="T27" fmla="*/ 134 h 171"/>
                    <a:gd name="T28" fmla="*/ 124 w 171"/>
                    <a:gd name="T29" fmla="*/ 125 h 171"/>
                    <a:gd name="T30" fmla="*/ 127 w 171"/>
                    <a:gd name="T31" fmla="*/ 69 h 171"/>
                    <a:gd name="T32" fmla="*/ 121 w 171"/>
                    <a:gd name="T33" fmla="*/ 66 h 171"/>
                    <a:gd name="T34" fmla="*/ 124 w 171"/>
                    <a:gd name="T35" fmla="*/ 57 h 171"/>
                    <a:gd name="T36" fmla="*/ 148 w 171"/>
                    <a:gd name="T37" fmla="*/ 60 h 171"/>
                    <a:gd name="T38" fmla="*/ 145 w 171"/>
                    <a:gd name="T39" fmla="*/ 69 h 171"/>
                    <a:gd name="T40" fmla="*/ 142 w 171"/>
                    <a:gd name="T41" fmla="*/ 125 h 171"/>
                    <a:gd name="T42" fmla="*/ 159 w 171"/>
                    <a:gd name="T43" fmla="*/ 145 h 171"/>
                    <a:gd name="T44" fmla="*/ 156 w 171"/>
                    <a:gd name="T45" fmla="*/ 154 h 171"/>
                    <a:gd name="T46" fmla="*/ 12 w 171"/>
                    <a:gd name="T47" fmla="*/ 151 h 171"/>
                    <a:gd name="T48" fmla="*/ 15 w 171"/>
                    <a:gd name="T49" fmla="*/ 142 h 171"/>
                    <a:gd name="T50" fmla="*/ 171 w 171"/>
                    <a:gd name="T51" fmla="*/ 49 h 171"/>
                    <a:gd name="T52" fmla="*/ 3 w 171"/>
                    <a:gd name="T53" fmla="*/ 52 h 171"/>
                    <a:gd name="T54" fmla="*/ 0 w 171"/>
                    <a:gd name="T55" fmla="*/ 42 h 171"/>
                    <a:gd name="T56" fmla="*/ 84 w 171"/>
                    <a:gd name="T57" fmla="*/ 1 h 171"/>
                    <a:gd name="T58" fmla="*/ 169 w 171"/>
                    <a:gd name="T59" fmla="*/ 39 h 171"/>
                    <a:gd name="T60" fmla="*/ 171 w 171"/>
                    <a:gd name="T61" fmla="*/ 49 h 171"/>
                    <a:gd name="T62" fmla="*/ 171 w 171"/>
                    <a:gd name="T63" fmla="*/ 168 h 171"/>
                    <a:gd name="T64" fmla="*/ 168 w 171"/>
                    <a:gd name="T65" fmla="*/ 159 h 171"/>
                    <a:gd name="T66" fmla="*/ 0 w 171"/>
                    <a:gd name="T67" fmla="*/ 162 h 171"/>
                    <a:gd name="T68" fmla="*/ 3 w 171"/>
                    <a:gd name="T69" fmla="*/ 171 h 171"/>
                    <a:gd name="T70" fmla="*/ 78 w 171"/>
                    <a:gd name="T71" fmla="*/ 69 h 171"/>
                    <a:gd name="T72" fmla="*/ 75 w 171"/>
                    <a:gd name="T73" fmla="*/ 125 h 171"/>
                    <a:gd name="T74" fmla="*/ 72 w 171"/>
                    <a:gd name="T75" fmla="*/ 134 h 171"/>
                    <a:gd name="T76" fmla="*/ 96 w 171"/>
                    <a:gd name="T77" fmla="*/ 137 h 171"/>
                    <a:gd name="T78" fmla="*/ 99 w 171"/>
                    <a:gd name="T79" fmla="*/ 128 h 171"/>
                    <a:gd name="T80" fmla="*/ 93 w 171"/>
                    <a:gd name="T81" fmla="*/ 125 h 171"/>
                    <a:gd name="T82" fmla="*/ 96 w 171"/>
                    <a:gd name="T83" fmla="*/ 69 h 171"/>
                    <a:gd name="T84" fmla="*/ 99 w 171"/>
                    <a:gd name="T85" fmla="*/ 60 h 171"/>
                    <a:gd name="T86" fmla="*/ 75 w 171"/>
                    <a:gd name="T87" fmla="*/ 57 h 171"/>
                    <a:gd name="T88" fmla="*/ 72 w 171"/>
                    <a:gd name="T89" fmla="*/ 66 h 171"/>
                    <a:gd name="T90" fmla="*/ 78 w 171"/>
                    <a:gd name="T91" fmla="*/ 6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1" h="171">
                      <a:moveTo>
                        <a:pt x="29" y="69"/>
                      </a:moveTo>
                      <a:cubicBezTo>
                        <a:pt x="29" y="125"/>
                        <a:pt x="29" y="125"/>
                        <a:pt x="29" y="125"/>
                      </a:cubicBezTo>
                      <a:cubicBezTo>
                        <a:pt x="26" y="125"/>
                        <a:pt x="26" y="125"/>
                        <a:pt x="26" y="125"/>
                      </a:cubicBezTo>
                      <a:cubicBezTo>
                        <a:pt x="24" y="125"/>
                        <a:pt x="23" y="126"/>
                        <a:pt x="23" y="128"/>
                      </a:cubicBezTo>
                      <a:cubicBezTo>
                        <a:pt x="23" y="134"/>
                        <a:pt x="23" y="134"/>
                        <a:pt x="23" y="134"/>
                      </a:cubicBezTo>
                      <a:cubicBezTo>
                        <a:pt x="23" y="135"/>
                        <a:pt x="24" y="137"/>
                        <a:pt x="26" y="137"/>
                      </a:cubicBezTo>
                      <a:cubicBezTo>
                        <a:pt x="47" y="137"/>
                        <a:pt x="47" y="137"/>
                        <a:pt x="47" y="137"/>
                      </a:cubicBezTo>
                      <a:cubicBezTo>
                        <a:pt x="49" y="137"/>
                        <a:pt x="50" y="135"/>
                        <a:pt x="50" y="134"/>
                      </a:cubicBezTo>
                      <a:cubicBezTo>
                        <a:pt x="50" y="128"/>
                        <a:pt x="50" y="128"/>
                        <a:pt x="50" y="128"/>
                      </a:cubicBezTo>
                      <a:cubicBezTo>
                        <a:pt x="50" y="126"/>
                        <a:pt x="49" y="125"/>
                        <a:pt x="47" y="125"/>
                      </a:cubicBezTo>
                      <a:cubicBezTo>
                        <a:pt x="44" y="125"/>
                        <a:pt x="44" y="125"/>
                        <a:pt x="44" y="125"/>
                      </a:cubicBezTo>
                      <a:cubicBezTo>
                        <a:pt x="44" y="69"/>
                        <a:pt x="44" y="69"/>
                        <a:pt x="44" y="69"/>
                      </a:cubicBezTo>
                      <a:cubicBezTo>
                        <a:pt x="47" y="69"/>
                        <a:pt x="47" y="69"/>
                        <a:pt x="47" y="69"/>
                      </a:cubicBezTo>
                      <a:cubicBezTo>
                        <a:pt x="49" y="69"/>
                        <a:pt x="50" y="67"/>
                        <a:pt x="50" y="66"/>
                      </a:cubicBez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50" y="58"/>
                        <a:pt x="49" y="57"/>
                        <a:pt x="47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3" y="58"/>
                        <a:pt x="23" y="60"/>
                      </a:cubicBezTo>
                      <a:cubicBezTo>
                        <a:pt x="23" y="66"/>
                        <a:pt x="23" y="66"/>
                        <a:pt x="23" y="66"/>
                      </a:cubicBezTo>
                      <a:cubicBezTo>
                        <a:pt x="23" y="67"/>
                        <a:pt x="24" y="69"/>
                        <a:pt x="26" y="69"/>
                      </a:cubicBezTo>
                      <a:lnTo>
                        <a:pt x="29" y="69"/>
                      </a:lnTo>
                      <a:close/>
                      <a:moveTo>
                        <a:pt x="142" y="125"/>
                      </a:moveTo>
                      <a:cubicBezTo>
                        <a:pt x="145" y="125"/>
                        <a:pt x="145" y="125"/>
                        <a:pt x="145" y="125"/>
                      </a:cubicBezTo>
                      <a:cubicBezTo>
                        <a:pt x="147" y="125"/>
                        <a:pt x="148" y="126"/>
                        <a:pt x="148" y="128"/>
                      </a:cubicBezTo>
                      <a:cubicBezTo>
                        <a:pt x="148" y="134"/>
                        <a:pt x="148" y="134"/>
                        <a:pt x="148" y="134"/>
                      </a:cubicBezTo>
                      <a:cubicBezTo>
                        <a:pt x="148" y="135"/>
                        <a:pt x="147" y="137"/>
                        <a:pt x="145" y="137"/>
                      </a:cubicBezTo>
                      <a:cubicBezTo>
                        <a:pt x="124" y="137"/>
                        <a:pt x="124" y="137"/>
                        <a:pt x="124" y="137"/>
                      </a:cubicBezTo>
                      <a:cubicBezTo>
                        <a:pt x="122" y="137"/>
                        <a:pt x="121" y="135"/>
                        <a:pt x="121" y="134"/>
                      </a:cubicBezTo>
                      <a:cubicBezTo>
                        <a:pt x="121" y="128"/>
                        <a:pt x="121" y="128"/>
                        <a:pt x="121" y="128"/>
                      </a:cubicBezTo>
                      <a:cubicBezTo>
                        <a:pt x="121" y="126"/>
                        <a:pt x="122" y="125"/>
                        <a:pt x="124" y="125"/>
                      </a:cubicBezTo>
                      <a:cubicBezTo>
                        <a:pt x="127" y="125"/>
                        <a:pt x="127" y="125"/>
                        <a:pt x="127" y="125"/>
                      </a:cubicBezTo>
                      <a:cubicBezTo>
                        <a:pt x="127" y="69"/>
                        <a:pt x="127" y="69"/>
                        <a:pt x="127" y="69"/>
                      </a:cubicBezTo>
                      <a:cubicBezTo>
                        <a:pt x="124" y="69"/>
                        <a:pt x="124" y="69"/>
                        <a:pt x="124" y="69"/>
                      </a:cubicBezTo>
                      <a:cubicBezTo>
                        <a:pt x="122" y="69"/>
                        <a:pt x="121" y="67"/>
                        <a:pt x="121" y="66"/>
                      </a:cubicBezTo>
                      <a:cubicBezTo>
                        <a:pt x="121" y="60"/>
                        <a:pt x="121" y="60"/>
                        <a:pt x="121" y="60"/>
                      </a:cubicBezTo>
                      <a:cubicBezTo>
                        <a:pt x="121" y="58"/>
                        <a:pt x="122" y="57"/>
                        <a:pt x="124" y="57"/>
                      </a:cubicBezTo>
                      <a:cubicBezTo>
                        <a:pt x="145" y="57"/>
                        <a:pt x="145" y="57"/>
                        <a:pt x="145" y="57"/>
                      </a:cubicBezTo>
                      <a:cubicBezTo>
                        <a:pt x="147" y="57"/>
                        <a:pt x="148" y="58"/>
                        <a:pt x="148" y="60"/>
                      </a:cubicBezTo>
                      <a:cubicBezTo>
                        <a:pt x="148" y="66"/>
                        <a:pt x="148" y="66"/>
                        <a:pt x="148" y="66"/>
                      </a:cubicBezTo>
                      <a:cubicBezTo>
                        <a:pt x="148" y="67"/>
                        <a:pt x="147" y="69"/>
                        <a:pt x="145" y="69"/>
                      </a:cubicBezTo>
                      <a:cubicBezTo>
                        <a:pt x="142" y="69"/>
                        <a:pt x="142" y="69"/>
                        <a:pt x="142" y="69"/>
                      </a:cubicBezTo>
                      <a:lnTo>
                        <a:pt x="142" y="125"/>
                      </a:lnTo>
                      <a:close/>
                      <a:moveTo>
                        <a:pt x="156" y="142"/>
                      </a:moveTo>
                      <a:cubicBezTo>
                        <a:pt x="158" y="142"/>
                        <a:pt x="159" y="144"/>
                        <a:pt x="159" y="145"/>
                      </a:cubicBezTo>
                      <a:cubicBezTo>
                        <a:pt x="159" y="151"/>
                        <a:pt x="159" y="151"/>
                        <a:pt x="159" y="151"/>
                      </a:cubicBezTo>
                      <a:cubicBezTo>
                        <a:pt x="159" y="152"/>
                        <a:pt x="158" y="154"/>
                        <a:pt x="156" y="154"/>
                      </a:cubicBezTo>
                      <a:cubicBezTo>
                        <a:pt x="15" y="154"/>
                        <a:pt x="15" y="154"/>
                        <a:pt x="15" y="154"/>
                      </a:cubicBezTo>
                      <a:cubicBezTo>
                        <a:pt x="13" y="154"/>
                        <a:pt x="12" y="152"/>
                        <a:pt x="12" y="151"/>
                      </a:cubicBezTo>
                      <a:cubicBezTo>
                        <a:pt x="12" y="145"/>
                        <a:pt x="12" y="145"/>
                        <a:pt x="12" y="145"/>
                      </a:cubicBezTo>
                      <a:cubicBezTo>
                        <a:pt x="12" y="144"/>
                        <a:pt x="13" y="142"/>
                        <a:pt x="15" y="142"/>
                      </a:cubicBezTo>
                      <a:lnTo>
                        <a:pt x="156" y="142"/>
                      </a:lnTo>
                      <a:close/>
                      <a:moveTo>
                        <a:pt x="171" y="49"/>
                      </a:moveTo>
                      <a:cubicBezTo>
                        <a:pt x="171" y="50"/>
                        <a:pt x="169" y="52"/>
                        <a:pt x="168" y="52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2" y="52"/>
                        <a:pt x="0" y="50"/>
                        <a:pt x="0" y="49"/>
                      </a:cubicBezTo>
                      <a:cubicBezTo>
                        <a:pt x="0" y="42"/>
                        <a:pt x="0" y="42"/>
                        <a:pt x="0" y="42"/>
                      </a:cubicBezTo>
                      <a:cubicBezTo>
                        <a:pt x="0" y="41"/>
                        <a:pt x="1" y="40"/>
                        <a:pt x="2" y="39"/>
                      </a:cubicBezTo>
                      <a:cubicBezTo>
                        <a:pt x="84" y="1"/>
                        <a:pt x="84" y="1"/>
                        <a:pt x="84" y="1"/>
                      </a:cubicBezTo>
                      <a:cubicBezTo>
                        <a:pt x="85" y="0"/>
                        <a:pt x="86" y="0"/>
                        <a:pt x="87" y="1"/>
                      </a:cubicBezTo>
                      <a:cubicBezTo>
                        <a:pt x="169" y="39"/>
                        <a:pt x="169" y="39"/>
                        <a:pt x="169" y="39"/>
                      </a:cubicBezTo>
                      <a:cubicBezTo>
                        <a:pt x="170" y="40"/>
                        <a:pt x="171" y="41"/>
                        <a:pt x="171" y="42"/>
                      </a:cubicBezTo>
                      <a:lnTo>
                        <a:pt x="171" y="49"/>
                      </a:lnTo>
                      <a:close/>
                      <a:moveTo>
                        <a:pt x="168" y="171"/>
                      </a:moveTo>
                      <a:cubicBezTo>
                        <a:pt x="169" y="171"/>
                        <a:pt x="171" y="169"/>
                        <a:pt x="171" y="168"/>
                      </a:cubicBezTo>
                      <a:cubicBezTo>
                        <a:pt x="171" y="162"/>
                        <a:pt x="171" y="162"/>
                        <a:pt x="171" y="162"/>
                      </a:cubicBezTo>
                      <a:cubicBezTo>
                        <a:pt x="171" y="161"/>
                        <a:pt x="169" y="159"/>
                        <a:pt x="168" y="159"/>
                      </a:cubicBezTo>
                      <a:cubicBezTo>
                        <a:pt x="3" y="159"/>
                        <a:pt x="3" y="159"/>
                        <a:pt x="3" y="159"/>
                      </a:cubicBezTo>
                      <a:cubicBezTo>
                        <a:pt x="2" y="159"/>
                        <a:pt x="0" y="161"/>
                        <a:pt x="0" y="162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69"/>
                        <a:pt x="2" y="171"/>
                        <a:pt x="3" y="171"/>
                      </a:cubicBezTo>
                      <a:lnTo>
                        <a:pt x="168" y="171"/>
                      </a:lnTo>
                      <a:close/>
                      <a:moveTo>
                        <a:pt x="78" y="69"/>
                      </a:moveTo>
                      <a:cubicBezTo>
                        <a:pt x="78" y="125"/>
                        <a:pt x="78" y="125"/>
                        <a:pt x="78" y="125"/>
                      </a:cubicBezTo>
                      <a:cubicBezTo>
                        <a:pt x="75" y="125"/>
                        <a:pt x="75" y="125"/>
                        <a:pt x="75" y="125"/>
                      </a:cubicBezTo>
                      <a:cubicBezTo>
                        <a:pt x="73" y="125"/>
                        <a:pt x="72" y="126"/>
                        <a:pt x="72" y="128"/>
                      </a:cubicBezTo>
                      <a:cubicBezTo>
                        <a:pt x="72" y="134"/>
                        <a:pt x="72" y="134"/>
                        <a:pt x="72" y="134"/>
                      </a:cubicBezTo>
                      <a:cubicBezTo>
                        <a:pt x="72" y="135"/>
                        <a:pt x="73" y="137"/>
                        <a:pt x="75" y="137"/>
                      </a:cubicBezTo>
                      <a:cubicBezTo>
                        <a:pt x="96" y="137"/>
                        <a:pt x="96" y="137"/>
                        <a:pt x="96" y="137"/>
                      </a:cubicBezTo>
                      <a:cubicBezTo>
                        <a:pt x="98" y="137"/>
                        <a:pt x="99" y="135"/>
                        <a:pt x="99" y="134"/>
                      </a:cubicBezTo>
                      <a:cubicBezTo>
                        <a:pt x="99" y="128"/>
                        <a:pt x="99" y="128"/>
                        <a:pt x="99" y="128"/>
                      </a:cubicBezTo>
                      <a:cubicBezTo>
                        <a:pt x="99" y="126"/>
                        <a:pt x="98" y="125"/>
                        <a:pt x="96" y="125"/>
                      </a:cubicBezTo>
                      <a:cubicBezTo>
                        <a:pt x="93" y="125"/>
                        <a:pt x="93" y="125"/>
                        <a:pt x="93" y="125"/>
                      </a:cubicBezTo>
                      <a:cubicBezTo>
                        <a:pt x="93" y="69"/>
                        <a:pt x="93" y="69"/>
                        <a:pt x="93" y="69"/>
                      </a:cubicBezTo>
                      <a:cubicBezTo>
                        <a:pt x="96" y="69"/>
                        <a:pt x="96" y="69"/>
                        <a:pt x="96" y="69"/>
                      </a:cubicBezTo>
                      <a:cubicBezTo>
                        <a:pt x="98" y="69"/>
                        <a:pt x="99" y="67"/>
                        <a:pt x="99" y="66"/>
                      </a:cubicBezTo>
                      <a:cubicBezTo>
                        <a:pt x="99" y="60"/>
                        <a:pt x="99" y="60"/>
                        <a:pt x="99" y="60"/>
                      </a:cubicBezTo>
                      <a:cubicBezTo>
                        <a:pt x="99" y="58"/>
                        <a:pt x="98" y="57"/>
                        <a:pt x="96" y="57"/>
                      </a:cubicBezTo>
                      <a:cubicBezTo>
                        <a:pt x="75" y="57"/>
                        <a:pt x="75" y="57"/>
                        <a:pt x="75" y="57"/>
                      </a:cubicBezTo>
                      <a:cubicBezTo>
                        <a:pt x="73" y="57"/>
                        <a:pt x="72" y="58"/>
                        <a:pt x="72" y="60"/>
                      </a:cubicBezTo>
                      <a:cubicBezTo>
                        <a:pt x="72" y="66"/>
                        <a:pt x="72" y="66"/>
                        <a:pt x="72" y="66"/>
                      </a:cubicBezTo>
                      <a:cubicBezTo>
                        <a:pt x="72" y="67"/>
                        <a:pt x="73" y="69"/>
                        <a:pt x="75" y="69"/>
                      </a:cubicBezTo>
                      <a:lnTo>
                        <a:pt x="78" y="6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8" name="Gruppieren 49">
                <a:extLst>
                  <a:ext uri="{FF2B5EF4-FFF2-40B4-BE49-F238E27FC236}">
                    <a16:creationId xmlns:a16="http://schemas.microsoft.com/office/drawing/2014/main" id="{C3DCD5B1-375D-461B-AB74-D77A467D05B7}"/>
                  </a:ext>
                </a:extLst>
              </p:cNvPr>
              <p:cNvGrpSpPr/>
              <p:nvPr/>
            </p:nvGrpSpPr>
            <p:grpSpPr>
              <a:xfrm>
                <a:off x="4292586" y="4153290"/>
                <a:ext cx="723900" cy="723900"/>
                <a:chOff x="4292586" y="4153290"/>
                <a:chExt cx="723900" cy="723900"/>
              </a:xfrm>
            </p:grpSpPr>
            <p:sp>
              <p:nvSpPr>
                <p:cNvPr id="30" name="Ellipse 98">
                  <a:extLst>
                    <a:ext uri="{FF2B5EF4-FFF2-40B4-BE49-F238E27FC236}">
                      <a16:creationId xmlns:a16="http://schemas.microsoft.com/office/drawing/2014/main" id="{AA510ACF-8B86-4C82-A19D-FDDBAC1CD170}"/>
                    </a:ext>
                  </a:extLst>
                </p:cNvPr>
                <p:cNvSpPr/>
                <p:nvPr/>
              </p:nvSpPr>
              <p:spPr bwMode="gray">
                <a:xfrm>
                  <a:off x="4292586" y="4153290"/>
                  <a:ext cx="723900" cy="723900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31" name="METRO ICON - location map">
                  <a:extLst>
                    <a:ext uri="{FF2B5EF4-FFF2-40B4-BE49-F238E27FC236}">
                      <a16:creationId xmlns:a16="http://schemas.microsoft.com/office/drawing/2014/main" id="{8A335C23-DC2E-46E3-8072-671C115FF7B2}"/>
                    </a:ext>
                  </a:extLst>
                </p:cNvPr>
                <p:cNvGrpSpPr/>
                <p:nvPr/>
              </p:nvGrpSpPr>
              <p:grpSpPr bwMode="gray">
                <a:xfrm>
                  <a:off x="4491336" y="4323014"/>
                  <a:ext cx="326400" cy="333652"/>
                  <a:chOff x="6831103" y="-510987"/>
                  <a:chExt cx="602303" cy="615686"/>
                </a:xfrm>
                <a:solidFill>
                  <a:schemeClr val="bg1"/>
                </a:solidFill>
              </p:grpSpPr>
              <p:sp>
                <p:nvSpPr>
                  <p:cNvPr id="32" name="Freeform 26">
                    <a:extLst>
                      <a:ext uri="{FF2B5EF4-FFF2-40B4-BE49-F238E27FC236}">
                        <a16:creationId xmlns:a16="http://schemas.microsoft.com/office/drawing/2014/main" id="{B6F67BB3-0775-4A55-9479-934ACACA00C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6951563" y="-510987"/>
                    <a:ext cx="350229" cy="528687"/>
                  </a:xfrm>
                  <a:custGeom>
                    <a:avLst/>
                    <a:gdLst>
                      <a:gd name="T0" fmla="*/ 112 w 219"/>
                      <a:gd name="T1" fmla="*/ 333 h 333"/>
                      <a:gd name="T2" fmla="*/ 103 w 219"/>
                      <a:gd name="T3" fmla="*/ 318 h 333"/>
                      <a:gd name="T4" fmla="*/ 39 w 219"/>
                      <a:gd name="T5" fmla="*/ 206 h 333"/>
                      <a:gd name="T6" fmla="*/ 11 w 219"/>
                      <a:gd name="T7" fmla="*/ 133 h 333"/>
                      <a:gd name="T8" fmla="*/ 91 w 219"/>
                      <a:gd name="T9" fmla="*/ 10 h 333"/>
                      <a:gd name="T10" fmla="*/ 199 w 219"/>
                      <a:gd name="T11" fmla="*/ 55 h 333"/>
                      <a:gd name="T12" fmla="*/ 212 w 219"/>
                      <a:gd name="T13" fmla="*/ 139 h 333"/>
                      <a:gd name="T14" fmla="*/ 185 w 219"/>
                      <a:gd name="T15" fmla="*/ 207 h 333"/>
                      <a:gd name="T16" fmla="*/ 113 w 219"/>
                      <a:gd name="T17" fmla="*/ 331 h 333"/>
                      <a:gd name="T18" fmla="*/ 112 w 219"/>
                      <a:gd name="T19" fmla="*/ 333 h 333"/>
                      <a:gd name="T20" fmla="*/ 112 w 219"/>
                      <a:gd name="T21" fmla="*/ 145 h 333"/>
                      <a:gd name="T22" fmla="*/ 149 w 219"/>
                      <a:gd name="T23" fmla="*/ 108 h 333"/>
                      <a:gd name="T24" fmla="*/ 112 w 219"/>
                      <a:gd name="T25" fmla="*/ 71 h 333"/>
                      <a:gd name="T26" fmla="*/ 75 w 219"/>
                      <a:gd name="T27" fmla="*/ 108 h 333"/>
                      <a:gd name="T28" fmla="*/ 112 w 219"/>
                      <a:gd name="T29" fmla="*/ 145 h 3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19" h="333">
                        <a:moveTo>
                          <a:pt x="112" y="333"/>
                        </a:moveTo>
                        <a:cubicBezTo>
                          <a:pt x="109" y="328"/>
                          <a:pt x="106" y="323"/>
                          <a:pt x="103" y="318"/>
                        </a:cubicBezTo>
                        <a:cubicBezTo>
                          <a:pt x="81" y="280"/>
                          <a:pt x="59" y="243"/>
                          <a:pt x="39" y="206"/>
                        </a:cubicBezTo>
                        <a:cubicBezTo>
                          <a:pt x="26" y="183"/>
                          <a:pt x="16" y="159"/>
                          <a:pt x="11" y="133"/>
                        </a:cubicBezTo>
                        <a:cubicBezTo>
                          <a:pt x="0" y="76"/>
                          <a:pt x="34" y="23"/>
                          <a:pt x="91" y="10"/>
                        </a:cubicBezTo>
                        <a:cubicBezTo>
                          <a:pt x="131" y="0"/>
                          <a:pt x="177" y="19"/>
                          <a:pt x="199" y="55"/>
                        </a:cubicBezTo>
                        <a:cubicBezTo>
                          <a:pt x="215" y="81"/>
                          <a:pt x="219" y="109"/>
                          <a:pt x="212" y="139"/>
                        </a:cubicBezTo>
                        <a:cubicBezTo>
                          <a:pt x="206" y="163"/>
                          <a:pt x="197" y="186"/>
                          <a:pt x="185" y="207"/>
                        </a:cubicBezTo>
                        <a:cubicBezTo>
                          <a:pt x="161" y="249"/>
                          <a:pt x="137" y="290"/>
                          <a:pt x="113" y="331"/>
                        </a:cubicBezTo>
                        <a:cubicBezTo>
                          <a:pt x="113" y="332"/>
                          <a:pt x="113" y="332"/>
                          <a:pt x="112" y="333"/>
                        </a:cubicBezTo>
                        <a:close/>
                        <a:moveTo>
                          <a:pt x="112" y="145"/>
                        </a:moveTo>
                        <a:cubicBezTo>
                          <a:pt x="132" y="145"/>
                          <a:pt x="149" y="129"/>
                          <a:pt x="149" y="108"/>
                        </a:cubicBezTo>
                        <a:cubicBezTo>
                          <a:pt x="149" y="88"/>
                          <a:pt x="132" y="71"/>
                          <a:pt x="112" y="71"/>
                        </a:cubicBezTo>
                        <a:cubicBezTo>
                          <a:pt x="92" y="71"/>
                          <a:pt x="75" y="88"/>
                          <a:pt x="75" y="108"/>
                        </a:cubicBezTo>
                        <a:cubicBezTo>
                          <a:pt x="75" y="128"/>
                          <a:pt x="92" y="145"/>
                          <a:pt x="112" y="14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33" name="Freeform 26">
                    <a:extLst>
                      <a:ext uri="{FF2B5EF4-FFF2-40B4-BE49-F238E27FC236}">
                        <a16:creationId xmlns:a16="http://schemas.microsoft.com/office/drawing/2014/main" id="{C6886692-10A4-4416-BC1B-F9DB54C977D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6831103" y="-93837"/>
                    <a:ext cx="602303" cy="198536"/>
                  </a:xfrm>
                  <a:custGeom>
                    <a:avLst/>
                    <a:gdLst>
                      <a:gd name="T0" fmla="*/ 246 w 379"/>
                      <a:gd name="T1" fmla="*/ 28 h 124"/>
                      <a:gd name="T2" fmla="*/ 262 w 379"/>
                      <a:gd name="T3" fmla="*/ 2 h 124"/>
                      <a:gd name="T4" fmla="*/ 266 w 379"/>
                      <a:gd name="T5" fmla="*/ 1 h 124"/>
                      <a:gd name="T6" fmla="*/ 314 w 379"/>
                      <a:gd name="T7" fmla="*/ 1 h 124"/>
                      <a:gd name="T8" fmla="*/ 318 w 379"/>
                      <a:gd name="T9" fmla="*/ 3 h 124"/>
                      <a:gd name="T10" fmla="*/ 378 w 379"/>
                      <a:gd name="T11" fmla="*/ 123 h 124"/>
                      <a:gd name="T12" fmla="*/ 378 w 379"/>
                      <a:gd name="T13" fmla="*/ 124 h 124"/>
                      <a:gd name="T14" fmla="*/ 0 w 379"/>
                      <a:gd name="T15" fmla="*/ 124 h 124"/>
                      <a:gd name="T16" fmla="*/ 1 w 379"/>
                      <a:gd name="T17" fmla="*/ 121 h 124"/>
                      <a:gd name="T18" fmla="*/ 59 w 379"/>
                      <a:gd name="T19" fmla="*/ 4 h 124"/>
                      <a:gd name="T20" fmla="*/ 66 w 379"/>
                      <a:gd name="T21" fmla="*/ 0 h 124"/>
                      <a:gd name="T22" fmla="*/ 112 w 379"/>
                      <a:gd name="T23" fmla="*/ 0 h 124"/>
                      <a:gd name="T24" fmla="*/ 118 w 379"/>
                      <a:gd name="T25" fmla="*/ 4 h 124"/>
                      <a:gd name="T26" fmla="*/ 132 w 379"/>
                      <a:gd name="T27" fmla="*/ 28 h 124"/>
                      <a:gd name="T28" fmla="*/ 87 w 379"/>
                      <a:gd name="T29" fmla="*/ 28 h 124"/>
                      <a:gd name="T30" fmla="*/ 97 w 379"/>
                      <a:gd name="T31" fmla="*/ 53 h 124"/>
                      <a:gd name="T32" fmla="*/ 141 w 379"/>
                      <a:gd name="T33" fmla="*/ 52 h 124"/>
                      <a:gd name="T34" fmla="*/ 149 w 379"/>
                      <a:gd name="T35" fmla="*/ 57 h 124"/>
                      <a:gd name="T36" fmla="*/ 155 w 379"/>
                      <a:gd name="T37" fmla="*/ 66 h 124"/>
                      <a:gd name="T38" fmla="*/ 134 w 379"/>
                      <a:gd name="T39" fmla="*/ 67 h 124"/>
                      <a:gd name="T40" fmla="*/ 130 w 379"/>
                      <a:gd name="T41" fmla="*/ 69 h 124"/>
                      <a:gd name="T42" fmla="*/ 118 w 379"/>
                      <a:gd name="T43" fmla="*/ 97 h 124"/>
                      <a:gd name="T44" fmla="*/ 271 w 379"/>
                      <a:gd name="T45" fmla="*/ 97 h 124"/>
                      <a:gd name="T46" fmla="*/ 259 w 379"/>
                      <a:gd name="T47" fmla="*/ 68 h 124"/>
                      <a:gd name="T48" fmla="*/ 255 w 379"/>
                      <a:gd name="T49" fmla="*/ 67 h 124"/>
                      <a:gd name="T50" fmla="*/ 229 w 379"/>
                      <a:gd name="T51" fmla="*/ 66 h 124"/>
                      <a:gd name="T52" fmla="*/ 224 w 379"/>
                      <a:gd name="T53" fmla="*/ 66 h 124"/>
                      <a:gd name="T54" fmla="*/ 231 w 379"/>
                      <a:gd name="T55" fmla="*/ 54 h 124"/>
                      <a:gd name="T56" fmla="*/ 236 w 379"/>
                      <a:gd name="T57" fmla="*/ 53 h 124"/>
                      <a:gd name="T58" fmla="*/ 306 w 379"/>
                      <a:gd name="T59" fmla="*/ 53 h 124"/>
                      <a:gd name="T60" fmla="*/ 312 w 379"/>
                      <a:gd name="T61" fmla="*/ 53 h 124"/>
                      <a:gd name="T62" fmla="*/ 300 w 379"/>
                      <a:gd name="T63" fmla="*/ 30 h 124"/>
                      <a:gd name="T64" fmla="*/ 296 w 379"/>
                      <a:gd name="T65" fmla="*/ 28 h 124"/>
                      <a:gd name="T66" fmla="*/ 253 w 379"/>
                      <a:gd name="T67" fmla="*/ 28 h 124"/>
                      <a:gd name="T68" fmla="*/ 246 w 379"/>
                      <a:gd name="T69" fmla="*/ 28 h 124"/>
                      <a:gd name="T70" fmla="*/ 75 w 379"/>
                      <a:gd name="T71" fmla="*/ 35 h 124"/>
                      <a:gd name="T72" fmla="*/ 44 w 379"/>
                      <a:gd name="T73" fmla="*/ 96 h 124"/>
                      <a:gd name="T74" fmla="*/ 46 w 379"/>
                      <a:gd name="T75" fmla="*/ 97 h 124"/>
                      <a:gd name="T76" fmla="*/ 99 w 379"/>
                      <a:gd name="T77" fmla="*/ 97 h 124"/>
                      <a:gd name="T78" fmla="*/ 103 w 379"/>
                      <a:gd name="T79" fmla="*/ 94 h 124"/>
                      <a:gd name="T80" fmla="*/ 112 w 379"/>
                      <a:gd name="T81" fmla="*/ 74 h 124"/>
                      <a:gd name="T82" fmla="*/ 115 w 379"/>
                      <a:gd name="T83" fmla="*/ 66 h 124"/>
                      <a:gd name="T84" fmla="*/ 93 w 379"/>
                      <a:gd name="T85" fmla="*/ 67 h 124"/>
                      <a:gd name="T86" fmla="*/ 85 w 379"/>
                      <a:gd name="T87" fmla="*/ 62 h 124"/>
                      <a:gd name="T88" fmla="*/ 75 w 379"/>
                      <a:gd name="T89" fmla="*/ 35 h 124"/>
                      <a:gd name="T90" fmla="*/ 273 w 379"/>
                      <a:gd name="T91" fmla="*/ 66 h 124"/>
                      <a:gd name="T92" fmla="*/ 285 w 379"/>
                      <a:gd name="T93" fmla="*/ 95 h 124"/>
                      <a:gd name="T94" fmla="*/ 289 w 379"/>
                      <a:gd name="T95" fmla="*/ 97 h 124"/>
                      <a:gd name="T96" fmla="*/ 327 w 379"/>
                      <a:gd name="T97" fmla="*/ 97 h 124"/>
                      <a:gd name="T98" fmla="*/ 334 w 379"/>
                      <a:gd name="T99" fmla="*/ 97 h 124"/>
                      <a:gd name="T100" fmla="*/ 320 w 379"/>
                      <a:gd name="T101" fmla="*/ 68 h 124"/>
                      <a:gd name="T102" fmla="*/ 317 w 379"/>
                      <a:gd name="T103" fmla="*/ 67 h 124"/>
                      <a:gd name="T104" fmla="*/ 273 w 379"/>
                      <a:gd name="T105" fmla="*/ 66 h 1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379" h="124">
                        <a:moveTo>
                          <a:pt x="246" y="28"/>
                        </a:moveTo>
                        <a:cubicBezTo>
                          <a:pt x="252" y="19"/>
                          <a:pt x="257" y="10"/>
                          <a:pt x="262" y="2"/>
                        </a:cubicBezTo>
                        <a:cubicBezTo>
                          <a:pt x="262" y="1"/>
                          <a:pt x="264" y="1"/>
                          <a:pt x="266" y="1"/>
                        </a:cubicBezTo>
                        <a:cubicBezTo>
                          <a:pt x="282" y="0"/>
                          <a:pt x="298" y="0"/>
                          <a:pt x="314" y="1"/>
                        </a:cubicBezTo>
                        <a:cubicBezTo>
                          <a:pt x="315" y="1"/>
                          <a:pt x="317" y="2"/>
                          <a:pt x="318" y="3"/>
                        </a:cubicBezTo>
                        <a:cubicBezTo>
                          <a:pt x="338" y="43"/>
                          <a:pt x="358" y="83"/>
                          <a:pt x="378" y="123"/>
                        </a:cubicBezTo>
                        <a:cubicBezTo>
                          <a:pt x="379" y="124"/>
                          <a:pt x="378" y="124"/>
                          <a:pt x="378" y="124"/>
                        </a:cubicBezTo>
                        <a:cubicBezTo>
                          <a:pt x="252" y="124"/>
                          <a:pt x="126" y="124"/>
                          <a:pt x="0" y="124"/>
                        </a:cubicBezTo>
                        <a:cubicBezTo>
                          <a:pt x="0" y="123"/>
                          <a:pt x="0" y="122"/>
                          <a:pt x="1" y="121"/>
                        </a:cubicBezTo>
                        <a:cubicBezTo>
                          <a:pt x="20" y="82"/>
                          <a:pt x="40" y="43"/>
                          <a:pt x="59" y="4"/>
                        </a:cubicBezTo>
                        <a:cubicBezTo>
                          <a:pt x="61" y="1"/>
                          <a:pt x="62" y="0"/>
                          <a:pt x="66" y="0"/>
                        </a:cubicBezTo>
                        <a:cubicBezTo>
                          <a:pt x="81" y="1"/>
                          <a:pt x="96" y="0"/>
                          <a:pt x="112" y="0"/>
                        </a:cubicBezTo>
                        <a:cubicBezTo>
                          <a:pt x="114" y="0"/>
                          <a:pt x="116" y="1"/>
                          <a:pt x="118" y="4"/>
                        </a:cubicBezTo>
                        <a:cubicBezTo>
                          <a:pt x="122" y="11"/>
                          <a:pt x="127" y="19"/>
                          <a:pt x="132" y="28"/>
                        </a:cubicBezTo>
                        <a:cubicBezTo>
                          <a:pt x="117" y="28"/>
                          <a:pt x="102" y="28"/>
                          <a:pt x="87" y="28"/>
                        </a:cubicBezTo>
                        <a:cubicBezTo>
                          <a:pt x="90" y="37"/>
                          <a:pt x="94" y="44"/>
                          <a:pt x="97" y="53"/>
                        </a:cubicBezTo>
                        <a:cubicBezTo>
                          <a:pt x="112" y="53"/>
                          <a:pt x="126" y="53"/>
                          <a:pt x="141" y="52"/>
                        </a:cubicBezTo>
                        <a:cubicBezTo>
                          <a:pt x="145" y="52"/>
                          <a:pt x="147" y="53"/>
                          <a:pt x="149" y="57"/>
                        </a:cubicBezTo>
                        <a:cubicBezTo>
                          <a:pt x="150" y="60"/>
                          <a:pt x="152" y="63"/>
                          <a:pt x="155" y="66"/>
                        </a:cubicBezTo>
                        <a:cubicBezTo>
                          <a:pt x="147" y="66"/>
                          <a:pt x="141" y="66"/>
                          <a:pt x="134" y="67"/>
                        </a:cubicBezTo>
                        <a:cubicBezTo>
                          <a:pt x="133" y="67"/>
                          <a:pt x="130" y="68"/>
                          <a:pt x="130" y="69"/>
                        </a:cubicBezTo>
                        <a:cubicBezTo>
                          <a:pt x="126" y="78"/>
                          <a:pt x="122" y="87"/>
                          <a:pt x="118" y="97"/>
                        </a:cubicBezTo>
                        <a:cubicBezTo>
                          <a:pt x="169" y="97"/>
                          <a:pt x="219" y="97"/>
                          <a:pt x="271" y="97"/>
                        </a:cubicBezTo>
                        <a:cubicBezTo>
                          <a:pt x="267" y="87"/>
                          <a:pt x="263" y="77"/>
                          <a:pt x="259" y="68"/>
                        </a:cubicBezTo>
                        <a:cubicBezTo>
                          <a:pt x="258" y="67"/>
                          <a:pt x="256" y="67"/>
                          <a:pt x="255" y="67"/>
                        </a:cubicBezTo>
                        <a:cubicBezTo>
                          <a:pt x="246" y="66"/>
                          <a:pt x="238" y="66"/>
                          <a:pt x="229" y="66"/>
                        </a:cubicBezTo>
                        <a:cubicBezTo>
                          <a:pt x="228" y="66"/>
                          <a:pt x="226" y="66"/>
                          <a:pt x="224" y="66"/>
                        </a:cubicBezTo>
                        <a:cubicBezTo>
                          <a:pt x="226" y="62"/>
                          <a:pt x="229" y="58"/>
                          <a:pt x="231" y="54"/>
                        </a:cubicBezTo>
                        <a:cubicBezTo>
                          <a:pt x="232" y="53"/>
                          <a:pt x="234" y="53"/>
                          <a:pt x="236" y="53"/>
                        </a:cubicBezTo>
                        <a:cubicBezTo>
                          <a:pt x="259" y="53"/>
                          <a:pt x="283" y="53"/>
                          <a:pt x="306" y="53"/>
                        </a:cubicBezTo>
                        <a:cubicBezTo>
                          <a:pt x="308" y="53"/>
                          <a:pt x="309" y="53"/>
                          <a:pt x="312" y="53"/>
                        </a:cubicBezTo>
                        <a:cubicBezTo>
                          <a:pt x="308" y="45"/>
                          <a:pt x="304" y="37"/>
                          <a:pt x="300" y="30"/>
                        </a:cubicBezTo>
                        <a:cubicBezTo>
                          <a:pt x="300" y="29"/>
                          <a:pt x="297" y="28"/>
                          <a:pt x="296" y="28"/>
                        </a:cubicBezTo>
                        <a:cubicBezTo>
                          <a:pt x="281" y="28"/>
                          <a:pt x="267" y="28"/>
                          <a:pt x="253" y="28"/>
                        </a:cubicBezTo>
                        <a:cubicBezTo>
                          <a:pt x="251" y="28"/>
                          <a:pt x="249" y="28"/>
                          <a:pt x="246" y="28"/>
                        </a:cubicBezTo>
                        <a:close/>
                        <a:moveTo>
                          <a:pt x="75" y="35"/>
                        </a:moveTo>
                        <a:cubicBezTo>
                          <a:pt x="64" y="56"/>
                          <a:pt x="54" y="76"/>
                          <a:pt x="44" y="96"/>
                        </a:cubicBezTo>
                        <a:cubicBezTo>
                          <a:pt x="45" y="97"/>
                          <a:pt x="46" y="97"/>
                          <a:pt x="46" y="97"/>
                        </a:cubicBezTo>
                        <a:cubicBezTo>
                          <a:pt x="64" y="97"/>
                          <a:pt x="82" y="97"/>
                          <a:pt x="99" y="97"/>
                        </a:cubicBezTo>
                        <a:cubicBezTo>
                          <a:pt x="101" y="97"/>
                          <a:pt x="103" y="95"/>
                          <a:pt x="103" y="94"/>
                        </a:cubicBezTo>
                        <a:cubicBezTo>
                          <a:pt x="107" y="88"/>
                          <a:pt x="109" y="81"/>
                          <a:pt x="112" y="74"/>
                        </a:cubicBezTo>
                        <a:cubicBezTo>
                          <a:pt x="113" y="72"/>
                          <a:pt x="114" y="69"/>
                          <a:pt x="115" y="66"/>
                        </a:cubicBezTo>
                        <a:cubicBezTo>
                          <a:pt x="107" y="66"/>
                          <a:pt x="100" y="66"/>
                          <a:pt x="93" y="67"/>
                        </a:cubicBezTo>
                        <a:cubicBezTo>
                          <a:pt x="89" y="67"/>
                          <a:pt x="87" y="66"/>
                          <a:pt x="85" y="62"/>
                        </a:cubicBezTo>
                        <a:cubicBezTo>
                          <a:pt x="82" y="53"/>
                          <a:pt x="79" y="45"/>
                          <a:pt x="75" y="35"/>
                        </a:cubicBezTo>
                        <a:close/>
                        <a:moveTo>
                          <a:pt x="273" y="66"/>
                        </a:moveTo>
                        <a:cubicBezTo>
                          <a:pt x="277" y="76"/>
                          <a:pt x="281" y="86"/>
                          <a:pt x="285" y="95"/>
                        </a:cubicBezTo>
                        <a:cubicBezTo>
                          <a:pt x="286" y="96"/>
                          <a:pt x="288" y="97"/>
                          <a:pt x="289" y="97"/>
                        </a:cubicBezTo>
                        <a:cubicBezTo>
                          <a:pt x="302" y="97"/>
                          <a:pt x="315" y="97"/>
                          <a:pt x="327" y="97"/>
                        </a:cubicBezTo>
                        <a:cubicBezTo>
                          <a:pt x="329" y="97"/>
                          <a:pt x="331" y="97"/>
                          <a:pt x="334" y="97"/>
                        </a:cubicBezTo>
                        <a:cubicBezTo>
                          <a:pt x="329" y="87"/>
                          <a:pt x="324" y="77"/>
                          <a:pt x="320" y="68"/>
                        </a:cubicBezTo>
                        <a:cubicBezTo>
                          <a:pt x="319" y="67"/>
                          <a:pt x="318" y="67"/>
                          <a:pt x="317" y="67"/>
                        </a:cubicBezTo>
                        <a:cubicBezTo>
                          <a:pt x="303" y="66"/>
                          <a:pt x="288" y="66"/>
                          <a:pt x="273" y="66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9" name="Gruppieren 50">
                <a:extLst>
                  <a:ext uri="{FF2B5EF4-FFF2-40B4-BE49-F238E27FC236}">
                    <a16:creationId xmlns:a16="http://schemas.microsoft.com/office/drawing/2014/main" id="{EA8CB571-DFBB-4758-B15F-40FB169E1D39}"/>
                  </a:ext>
                </a:extLst>
              </p:cNvPr>
              <p:cNvGrpSpPr/>
              <p:nvPr/>
            </p:nvGrpSpPr>
            <p:grpSpPr>
              <a:xfrm>
                <a:off x="2800350" y="5022850"/>
                <a:ext cx="723900" cy="723900"/>
                <a:chOff x="2800350" y="5022850"/>
                <a:chExt cx="723900" cy="723900"/>
              </a:xfrm>
            </p:grpSpPr>
            <p:sp>
              <p:nvSpPr>
                <p:cNvPr id="26" name="Ellipse 94">
                  <a:extLst>
                    <a:ext uri="{FF2B5EF4-FFF2-40B4-BE49-F238E27FC236}">
                      <a16:creationId xmlns:a16="http://schemas.microsoft.com/office/drawing/2014/main" id="{04868EF6-53D2-41D0-AC97-7EDD1C7713C9}"/>
                    </a:ext>
                  </a:extLst>
                </p:cNvPr>
                <p:cNvSpPr/>
                <p:nvPr/>
              </p:nvSpPr>
              <p:spPr bwMode="gray">
                <a:xfrm>
                  <a:off x="2800350" y="50228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3810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27" name="METRO ICON - folder">
                  <a:extLst>
                    <a:ext uri="{FF2B5EF4-FFF2-40B4-BE49-F238E27FC236}">
                      <a16:creationId xmlns:a16="http://schemas.microsoft.com/office/drawing/2014/main" id="{33519570-0913-49F6-87E9-2B0F6BD2762C}"/>
                    </a:ext>
                  </a:extLst>
                </p:cNvPr>
                <p:cNvGrpSpPr/>
                <p:nvPr/>
              </p:nvGrpSpPr>
              <p:grpSpPr bwMode="gray">
                <a:xfrm>
                  <a:off x="2968994" y="5235570"/>
                  <a:ext cx="386612" cy="311135"/>
                  <a:chOff x="5814454" y="5291602"/>
                  <a:chExt cx="559919" cy="450611"/>
                </a:xfrm>
                <a:solidFill>
                  <a:schemeClr val="bg1"/>
                </a:solidFill>
              </p:grpSpPr>
              <p:sp>
                <p:nvSpPr>
                  <p:cNvPr id="28" name="Freeform 41">
                    <a:extLst>
                      <a:ext uri="{FF2B5EF4-FFF2-40B4-BE49-F238E27FC236}">
                        <a16:creationId xmlns:a16="http://schemas.microsoft.com/office/drawing/2014/main" id="{4E379271-2D50-493E-9B0B-9C856F175F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814454" y="5441062"/>
                    <a:ext cx="559919" cy="301151"/>
                  </a:xfrm>
                  <a:custGeom>
                    <a:avLst/>
                    <a:gdLst>
                      <a:gd name="T0" fmla="*/ 21 w 352"/>
                      <a:gd name="T1" fmla="*/ 189 h 189"/>
                      <a:gd name="T2" fmla="*/ 0 w 352"/>
                      <a:gd name="T3" fmla="*/ 0 h 189"/>
                      <a:gd name="T4" fmla="*/ 352 w 352"/>
                      <a:gd name="T5" fmla="*/ 0 h 189"/>
                      <a:gd name="T6" fmla="*/ 327 w 352"/>
                      <a:gd name="T7" fmla="*/ 189 h 189"/>
                      <a:gd name="T8" fmla="*/ 21 w 352"/>
                      <a:gd name="T9" fmla="*/ 189 h 1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2" h="189">
                        <a:moveTo>
                          <a:pt x="21" y="189"/>
                        </a:moveTo>
                        <a:cubicBezTo>
                          <a:pt x="14" y="126"/>
                          <a:pt x="7" y="63"/>
                          <a:pt x="0" y="0"/>
                        </a:cubicBezTo>
                        <a:cubicBezTo>
                          <a:pt x="118" y="0"/>
                          <a:pt x="235" y="0"/>
                          <a:pt x="352" y="0"/>
                        </a:cubicBezTo>
                        <a:cubicBezTo>
                          <a:pt x="344" y="63"/>
                          <a:pt x="335" y="126"/>
                          <a:pt x="327" y="189"/>
                        </a:cubicBezTo>
                        <a:cubicBezTo>
                          <a:pt x="225" y="189"/>
                          <a:pt x="123" y="189"/>
                          <a:pt x="21" y="189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9" name="Freeform 41">
                    <a:extLst>
                      <a:ext uri="{FF2B5EF4-FFF2-40B4-BE49-F238E27FC236}">
                        <a16:creationId xmlns:a16="http://schemas.microsoft.com/office/drawing/2014/main" id="{0D77ABA2-2014-42E5-BE23-72C6C36D4F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832300" y="5291602"/>
                    <a:ext cx="515304" cy="102615"/>
                  </a:xfrm>
                  <a:custGeom>
                    <a:avLst/>
                    <a:gdLst>
                      <a:gd name="T0" fmla="*/ 10 w 323"/>
                      <a:gd name="T1" fmla="*/ 64 h 64"/>
                      <a:gd name="T2" fmla="*/ 0 w 323"/>
                      <a:gd name="T3" fmla="*/ 0 h 64"/>
                      <a:gd name="T4" fmla="*/ 4 w 323"/>
                      <a:gd name="T5" fmla="*/ 0 h 64"/>
                      <a:gd name="T6" fmla="*/ 83 w 323"/>
                      <a:gd name="T7" fmla="*/ 0 h 64"/>
                      <a:gd name="T8" fmla="*/ 89 w 323"/>
                      <a:gd name="T9" fmla="*/ 3 h 64"/>
                      <a:gd name="T10" fmla="*/ 104 w 323"/>
                      <a:gd name="T11" fmla="*/ 17 h 64"/>
                      <a:gd name="T12" fmla="*/ 129 w 323"/>
                      <a:gd name="T13" fmla="*/ 28 h 64"/>
                      <a:gd name="T14" fmla="*/ 317 w 323"/>
                      <a:gd name="T15" fmla="*/ 28 h 64"/>
                      <a:gd name="T16" fmla="*/ 323 w 323"/>
                      <a:gd name="T17" fmla="*/ 28 h 64"/>
                      <a:gd name="T18" fmla="*/ 317 w 323"/>
                      <a:gd name="T19" fmla="*/ 64 h 64"/>
                      <a:gd name="T20" fmla="*/ 10 w 323"/>
                      <a:gd name="T21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3" h="64">
                        <a:moveTo>
                          <a:pt x="10" y="64"/>
                        </a:moveTo>
                        <a:cubicBezTo>
                          <a:pt x="6" y="42"/>
                          <a:pt x="3" y="21"/>
                          <a:pt x="0" y="0"/>
                        </a:cubicBezTo>
                        <a:cubicBezTo>
                          <a:pt x="1" y="0"/>
                          <a:pt x="3" y="0"/>
                          <a:pt x="4" y="0"/>
                        </a:cubicBezTo>
                        <a:cubicBezTo>
                          <a:pt x="30" y="0"/>
                          <a:pt x="56" y="0"/>
                          <a:pt x="83" y="0"/>
                        </a:cubicBezTo>
                        <a:cubicBezTo>
                          <a:pt x="85" y="0"/>
                          <a:pt x="87" y="1"/>
                          <a:pt x="89" y="3"/>
                        </a:cubicBezTo>
                        <a:cubicBezTo>
                          <a:pt x="94" y="7"/>
                          <a:pt x="99" y="12"/>
                          <a:pt x="104" y="17"/>
                        </a:cubicBezTo>
                        <a:cubicBezTo>
                          <a:pt x="111" y="24"/>
                          <a:pt x="119" y="28"/>
                          <a:pt x="129" y="28"/>
                        </a:cubicBezTo>
                        <a:cubicBezTo>
                          <a:pt x="192" y="27"/>
                          <a:pt x="254" y="28"/>
                          <a:pt x="317" y="28"/>
                        </a:cubicBezTo>
                        <a:cubicBezTo>
                          <a:pt x="319" y="28"/>
                          <a:pt x="321" y="28"/>
                          <a:pt x="323" y="28"/>
                        </a:cubicBezTo>
                        <a:cubicBezTo>
                          <a:pt x="321" y="40"/>
                          <a:pt x="319" y="52"/>
                          <a:pt x="317" y="64"/>
                        </a:cubicBezTo>
                        <a:cubicBezTo>
                          <a:pt x="214" y="64"/>
                          <a:pt x="112" y="64"/>
                          <a:pt x="10" y="64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0" name="Gruppieren 51">
                <a:extLst>
                  <a:ext uri="{FF2B5EF4-FFF2-40B4-BE49-F238E27FC236}">
                    <a16:creationId xmlns:a16="http://schemas.microsoft.com/office/drawing/2014/main" id="{1418040C-BEB8-413C-9C82-4155F5BCA945}"/>
                  </a:ext>
                </a:extLst>
              </p:cNvPr>
              <p:cNvGrpSpPr/>
              <p:nvPr/>
            </p:nvGrpSpPr>
            <p:grpSpPr>
              <a:xfrm>
                <a:off x="1335142" y="4153290"/>
                <a:ext cx="723900" cy="723900"/>
                <a:chOff x="1335142" y="4153290"/>
                <a:chExt cx="723900" cy="723900"/>
              </a:xfrm>
            </p:grpSpPr>
            <p:sp>
              <p:nvSpPr>
                <p:cNvPr id="22" name="Ellipse 90">
                  <a:extLst>
                    <a:ext uri="{FF2B5EF4-FFF2-40B4-BE49-F238E27FC236}">
                      <a16:creationId xmlns:a16="http://schemas.microsoft.com/office/drawing/2014/main" id="{DCE2732A-14EB-43F0-B2DF-5CE61CDC768A}"/>
                    </a:ext>
                  </a:extLst>
                </p:cNvPr>
                <p:cNvSpPr/>
                <p:nvPr/>
              </p:nvSpPr>
              <p:spPr bwMode="gray">
                <a:xfrm>
                  <a:off x="1335142" y="415329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38100">
                  <a:solidFill>
                    <a:schemeClr val="accent1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23" name="METRO ICON - check chateau">
                  <a:extLst>
                    <a:ext uri="{FF2B5EF4-FFF2-40B4-BE49-F238E27FC236}">
                      <a16:creationId xmlns:a16="http://schemas.microsoft.com/office/drawing/2014/main" id="{FCD9C311-185A-446B-808D-AAE9FB212B61}"/>
                    </a:ext>
                  </a:extLst>
                </p:cNvPr>
                <p:cNvGrpSpPr/>
                <p:nvPr/>
              </p:nvGrpSpPr>
              <p:grpSpPr bwMode="gray">
                <a:xfrm>
                  <a:off x="1560272" y="4317867"/>
                  <a:ext cx="248240" cy="356646"/>
                  <a:chOff x="3326452" y="3413935"/>
                  <a:chExt cx="352459" cy="506380"/>
                </a:xfrm>
                <a:solidFill>
                  <a:schemeClr val="bg1"/>
                </a:solidFill>
              </p:grpSpPr>
              <p:sp>
                <p:nvSpPr>
                  <p:cNvPr id="24" name="Freeform 21">
                    <a:extLst>
                      <a:ext uri="{FF2B5EF4-FFF2-40B4-BE49-F238E27FC236}">
                        <a16:creationId xmlns:a16="http://schemas.microsoft.com/office/drawing/2014/main" id="{5E9DFF41-7D05-4AD7-B388-B46F66631F4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3326452" y="3672702"/>
                    <a:ext cx="352459" cy="247613"/>
                  </a:xfrm>
                  <a:custGeom>
                    <a:avLst/>
                    <a:gdLst>
                      <a:gd name="T0" fmla="*/ 0 w 222"/>
                      <a:gd name="T1" fmla="*/ 156 h 156"/>
                      <a:gd name="T2" fmla="*/ 0 w 222"/>
                      <a:gd name="T3" fmla="*/ 0 h 156"/>
                      <a:gd name="T4" fmla="*/ 222 w 222"/>
                      <a:gd name="T5" fmla="*/ 0 h 156"/>
                      <a:gd name="T6" fmla="*/ 222 w 222"/>
                      <a:gd name="T7" fmla="*/ 156 h 156"/>
                      <a:gd name="T8" fmla="*/ 0 w 222"/>
                      <a:gd name="T9" fmla="*/ 156 h 156"/>
                      <a:gd name="T10" fmla="*/ 100 w 222"/>
                      <a:gd name="T11" fmla="*/ 117 h 156"/>
                      <a:gd name="T12" fmla="*/ 163 w 222"/>
                      <a:gd name="T13" fmla="*/ 54 h 156"/>
                      <a:gd name="T14" fmla="*/ 147 w 222"/>
                      <a:gd name="T15" fmla="*/ 39 h 156"/>
                      <a:gd name="T16" fmla="*/ 99 w 222"/>
                      <a:gd name="T17" fmla="*/ 87 h 156"/>
                      <a:gd name="T18" fmla="*/ 79 w 222"/>
                      <a:gd name="T19" fmla="*/ 67 h 156"/>
                      <a:gd name="T20" fmla="*/ 64 w 222"/>
                      <a:gd name="T21" fmla="*/ 82 h 156"/>
                      <a:gd name="T22" fmla="*/ 100 w 222"/>
                      <a:gd name="T23" fmla="*/ 117 h 1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22" h="156">
                        <a:moveTo>
                          <a:pt x="0" y="156"/>
                        </a:moveTo>
                        <a:cubicBezTo>
                          <a:pt x="0" y="104"/>
                          <a:pt x="0" y="52"/>
                          <a:pt x="0" y="0"/>
                        </a:cubicBezTo>
                        <a:cubicBezTo>
                          <a:pt x="74" y="0"/>
                          <a:pt x="148" y="0"/>
                          <a:pt x="222" y="0"/>
                        </a:cubicBezTo>
                        <a:cubicBezTo>
                          <a:pt x="222" y="52"/>
                          <a:pt x="222" y="104"/>
                          <a:pt x="222" y="156"/>
                        </a:cubicBezTo>
                        <a:cubicBezTo>
                          <a:pt x="148" y="156"/>
                          <a:pt x="74" y="156"/>
                          <a:pt x="0" y="156"/>
                        </a:cubicBezTo>
                        <a:close/>
                        <a:moveTo>
                          <a:pt x="100" y="117"/>
                        </a:moveTo>
                        <a:cubicBezTo>
                          <a:pt x="121" y="96"/>
                          <a:pt x="142" y="75"/>
                          <a:pt x="163" y="54"/>
                        </a:cubicBezTo>
                        <a:cubicBezTo>
                          <a:pt x="158" y="49"/>
                          <a:pt x="153" y="44"/>
                          <a:pt x="147" y="39"/>
                        </a:cubicBezTo>
                        <a:cubicBezTo>
                          <a:pt x="132" y="54"/>
                          <a:pt x="116" y="70"/>
                          <a:pt x="99" y="87"/>
                        </a:cubicBezTo>
                        <a:cubicBezTo>
                          <a:pt x="92" y="80"/>
                          <a:pt x="85" y="73"/>
                          <a:pt x="79" y="67"/>
                        </a:cubicBezTo>
                        <a:cubicBezTo>
                          <a:pt x="74" y="72"/>
                          <a:pt x="69" y="77"/>
                          <a:pt x="64" y="82"/>
                        </a:cubicBezTo>
                        <a:cubicBezTo>
                          <a:pt x="76" y="94"/>
                          <a:pt x="88" y="105"/>
                          <a:pt x="100" y="11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5" name="Freeform 21">
                    <a:extLst>
                      <a:ext uri="{FF2B5EF4-FFF2-40B4-BE49-F238E27FC236}">
                        <a16:creationId xmlns:a16="http://schemas.microsoft.com/office/drawing/2014/main" id="{40B8906A-4F69-4FE1-AF0A-5D6D209C59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371067" y="3413935"/>
                    <a:ext cx="265460" cy="220844"/>
                  </a:xfrm>
                  <a:custGeom>
                    <a:avLst/>
                    <a:gdLst>
                      <a:gd name="T0" fmla="*/ 166 w 167"/>
                      <a:gd name="T1" fmla="*/ 139 h 139"/>
                      <a:gd name="T2" fmla="*/ 129 w 167"/>
                      <a:gd name="T3" fmla="*/ 139 h 139"/>
                      <a:gd name="T4" fmla="*/ 129 w 167"/>
                      <a:gd name="T5" fmla="*/ 135 h 139"/>
                      <a:gd name="T6" fmla="*/ 129 w 167"/>
                      <a:gd name="T7" fmla="*/ 92 h 139"/>
                      <a:gd name="T8" fmla="*/ 81 w 167"/>
                      <a:gd name="T9" fmla="*/ 47 h 139"/>
                      <a:gd name="T10" fmla="*/ 38 w 167"/>
                      <a:gd name="T11" fmla="*/ 90 h 139"/>
                      <a:gd name="T12" fmla="*/ 38 w 167"/>
                      <a:gd name="T13" fmla="*/ 135 h 139"/>
                      <a:gd name="T14" fmla="*/ 38 w 167"/>
                      <a:gd name="T15" fmla="*/ 139 h 139"/>
                      <a:gd name="T16" fmla="*/ 1 w 167"/>
                      <a:gd name="T17" fmla="*/ 139 h 139"/>
                      <a:gd name="T18" fmla="*/ 0 w 167"/>
                      <a:gd name="T19" fmla="*/ 137 h 139"/>
                      <a:gd name="T20" fmla="*/ 1 w 167"/>
                      <a:gd name="T21" fmla="*/ 89 h 139"/>
                      <a:gd name="T22" fmla="*/ 38 w 167"/>
                      <a:gd name="T23" fmla="*/ 23 h 139"/>
                      <a:gd name="T24" fmla="*/ 147 w 167"/>
                      <a:gd name="T25" fmla="*/ 39 h 139"/>
                      <a:gd name="T26" fmla="*/ 166 w 167"/>
                      <a:gd name="T27" fmla="*/ 89 h 139"/>
                      <a:gd name="T28" fmla="*/ 166 w 167"/>
                      <a:gd name="T29" fmla="*/ 138 h 139"/>
                      <a:gd name="T30" fmla="*/ 166 w 167"/>
                      <a:gd name="T31" fmla="*/ 139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67" h="139">
                        <a:moveTo>
                          <a:pt x="166" y="139"/>
                        </a:moveTo>
                        <a:cubicBezTo>
                          <a:pt x="154" y="139"/>
                          <a:pt x="142" y="139"/>
                          <a:pt x="129" y="139"/>
                        </a:cubicBezTo>
                        <a:cubicBezTo>
                          <a:pt x="129" y="138"/>
                          <a:pt x="129" y="137"/>
                          <a:pt x="129" y="135"/>
                        </a:cubicBezTo>
                        <a:cubicBezTo>
                          <a:pt x="129" y="121"/>
                          <a:pt x="129" y="106"/>
                          <a:pt x="129" y="92"/>
                        </a:cubicBezTo>
                        <a:cubicBezTo>
                          <a:pt x="128" y="66"/>
                          <a:pt x="107" y="46"/>
                          <a:pt x="81" y="47"/>
                        </a:cubicBezTo>
                        <a:cubicBezTo>
                          <a:pt x="58" y="48"/>
                          <a:pt x="39" y="67"/>
                          <a:pt x="38" y="90"/>
                        </a:cubicBezTo>
                        <a:cubicBezTo>
                          <a:pt x="38" y="105"/>
                          <a:pt x="38" y="120"/>
                          <a:pt x="38" y="135"/>
                        </a:cubicBezTo>
                        <a:cubicBezTo>
                          <a:pt x="38" y="136"/>
                          <a:pt x="38" y="137"/>
                          <a:pt x="38" y="139"/>
                        </a:cubicBezTo>
                        <a:cubicBezTo>
                          <a:pt x="25" y="139"/>
                          <a:pt x="13" y="139"/>
                          <a:pt x="1" y="139"/>
                        </a:cubicBezTo>
                        <a:cubicBezTo>
                          <a:pt x="1" y="138"/>
                          <a:pt x="0" y="138"/>
                          <a:pt x="0" y="137"/>
                        </a:cubicBezTo>
                        <a:cubicBezTo>
                          <a:pt x="0" y="121"/>
                          <a:pt x="0" y="105"/>
                          <a:pt x="1" y="89"/>
                        </a:cubicBezTo>
                        <a:cubicBezTo>
                          <a:pt x="2" y="61"/>
                          <a:pt x="15" y="38"/>
                          <a:pt x="38" y="23"/>
                        </a:cubicBezTo>
                        <a:cubicBezTo>
                          <a:pt x="74" y="0"/>
                          <a:pt x="119" y="7"/>
                          <a:pt x="147" y="39"/>
                        </a:cubicBezTo>
                        <a:cubicBezTo>
                          <a:pt x="159" y="53"/>
                          <a:pt x="166" y="70"/>
                          <a:pt x="166" y="89"/>
                        </a:cubicBezTo>
                        <a:cubicBezTo>
                          <a:pt x="167" y="105"/>
                          <a:pt x="166" y="121"/>
                          <a:pt x="166" y="138"/>
                        </a:cubicBezTo>
                        <a:cubicBezTo>
                          <a:pt x="166" y="138"/>
                          <a:pt x="166" y="139"/>
                          <a:pt x="166" y="1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1" name="Gruppieren 52">
                <a:extLst>
                  <a:ext uri="{FF2B5EF4-FFF2-40B4-BE49-F238E27FC236}">
                    <a16:creationId xmlns:a16="http://schemas.microsoft.com/office/drawing/2014/main" id="{B3718242-C612-4348-B0F0-251BBDC90E08}"/>
                  </a:ext>
                </a:extLst>
              </p:cNvPr>
              <p:cNvGrpSpPr/>
              <p:nvPr/>
            </p:nvGrpSpPr>
            <p:grpSpPr>
              <a:xfrm>
                <a:off x="1335142" y="2420250"/>
                <a:ext cx="723900" cy="723900"/>
                <a:chOff x="1335142" y="2420250"/>
                <a:chExt cx="723900" cy="723900"/>
              </a:xfrm>
            </p:grpSpPr>
            <p:sp>
              <p:nvSpPr>
                <p:cNvPr id="20" name="Ellipse 88">
                  <a:extLst>
                    <a:ext uri="{FF2B5EF4-FFF2-40B4-BE49-F238E27FC236}">
                      <a16:creationId xmlns:a16="http://schemas.microsoft.com/office/drawing/2014/main" id="{67E252EC-4C9B-408F-8C2D-3BF7D907976B}"/>
                    </a:ext>
                  </a:extLst>
                </p:cNvPr>
                <p:cNvSpPr/>
                <p:nvPr/>
              </p:nvSpPr>
              <p:spPr bwMode="gray">
                <a:xfrm>
                  <a:off x="1335142" y="24202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38100"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21" name="METRO ICON - hand 6">
                  <a:extLst>
                    <a:ext uri="{FF2B5EF4-FFF2-40B4-BE49-F238E27FC236}">
                      <a16:creationId xmlns:a16="http://schemas.microsoft.com/office/drawing/2014/main" id="{AE76E5A7-6900-4B15-B6C5-3099DB944E6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1525017" y="2585796"/>
                  <a:ext cx="331450" cy="354708"/>
                </a:xfrm>
                <a:custGeom>
                  <a:avLst/>
                  <a:gdLst>
                    <a:gd name="T0" fmla="*/ 289 w 321"/>
                    <a:gd name="T1" fmla="*/ 193 h 342"/>
                    <a:gd name="T2" fmla="*/ 279 w 321"/>
                    <a:gd name="T3" fmla="*/ 257 h 342"/>
                    <a:gd name="T4" fmla="*/ 257 w 321"/>
                    <a:gd name="T5" fmla="*/ 310 h 342"/>
                    <a:gd name="T6" fmla="*/ 214 w 321"/>
                    <a:gd name="T7" fmla="*/ 342 h 342"/>
                    <a:gd name="T8" fmla="*/ 65 w 321"/>
                    <a:gd name="T9" fmla="*/ 310 h 342"/>
                    <a:gd name="T10" fmla="*/ 65 w 321"/>
                    <a:gd name="T11" fmla="*/ 139 h 342"/>
                    <a:gd name="T12" fmla="*/ 225 w 321"/>
                    <a:gd name="T13" fmla="*/ 0 h 342"/>
                    <a:gd name="T14" fmla="*/ 225 w 321"/>
                    <a:gd name="T15" fmla="*/ 128 h 342"/>
                    <a:gd name="T16" fmla="*/ 289 w 321"/>
                    <a:gd name="T17" fmla="*/ 128 h 342"/>
                    <a:gd name="T18" fmla="*/ 289 w 321"/>
                    <a:gd name="T19" fmla="*/ 193 h 342"/>
                    <a:gd name="T20" fmla="*/ 43 w 321"/>
                    <a:gd name="T21" fmla="*/ 139 h 342"/>
                    <a:gd name="T22" fmla="*/ 43 w 321"/>
                    <a:gd name="T23" fmla="*/ 310 h 342"/>
                    <a:gd name="T24" fmla="*/ 65 w 321"/>
                    <a:gd name="T25" fmla="*/ 310 h 342"/>
                    <a:gd name="T26" fmla="*/ 65 w 321"/>
                    <a:gd name="T27" fmla="*/ 321 h 342"/>
                    <a:gd name="T28" fmla="*/ 22 w 321"/>
                    <a:gd name="T29" fmla="*/ 321 h 342"/>
                    <a:gd name="T30" fmla="*/ 0 w 321"/>
                    <a:gd name="T31" fmla="*/ 289 h 342"/>
                    <a:gd name="T32" fmla="*/ 0 w 321"/>
                    <a:gd name="T33" fmla="*/ 161 h 342"/>
                    <a:gd name="T34" fmla="*/ 22 w 321"/>
                    <a:gd name="T35" fmla="*/ 128 h 342"/>
                    <a:gd name="T36" fmla="*/ 65 w 321"/>
                    <a:gd name="T37" fmla="*/ 128 h 342"/>
                    <a:gd name="T38" fmla="*/ 65 w 321"/>
                    <a:gd name="T39" fmla="*/ 139 h 342"/>
                    <a:gd name="T40" fmla="*/ 43 w 321"/>
                    <a:gd name="T41" fmla="*/ 139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21" h="342">
                      <a:moveTo>
                        <a:pt x="289" y="193"/>
                      </a:moveTo>
                      <a:cubicBezTo>
                        <a:pt x="314" y="193"/>
                        <a:pt x="300" y="257"/>
                        <a:pt x="279" y="257"/>
                      </a:cubicBezTo>
                      <a:cubicBezTo>
                        <a:pt x="289" y="257"/>
                        <a:pt x="279" y="310"/>
                        <a:pt x="257" y="310"/>
                      </a:cubicBezTo>
                      <a:cubicBezTo>
                        <a:pt x="257" y="332"/>
                        <a:pt x="236" y="342"/>
                        <a:pt x="214" y="342"/>
                      </a:cubicBezTo>
                      <a:cubicBezTo>
                        <a:pt x="124" y="342"/>
                        <a:pt x="156" y="320"/>
                        <a:pt x="65" y="310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145" y="115"/>
                        <a:pt x="225" y="54"/>
                        <a:pt x="225" y="0"/>
                      </a:cubicBezTo>
                      <a:cubicBezTo>
                        <a:pt x="243" y="0"/>
                        <a:pt x="289" y="21"/>
                        <a:pt x="225" y="128"/>
                      </a:cubicBezTo>
                      <a:cubicBezTo>
                        <a:pt x="225" y="128"/>
                        <a:pt x="279" y="128"/>
                        <a:pt x="289" y="128"/>
                      </a:cubicBezTo>
                      <a:cubicBezTo>
                        <a:pt x="321" y="128"/>
                        <a:pt x="311" y="193"/>
                        <a:pt x="289" y="193"/>
                      </a:cubicBezTo>
                      <a:close/>
                      <a:moveTo>
                        <a:pt x="43" y="139"/>
                      </a:moveTo>
                      <a:cubicBezTo>
                        <a:pt x="43" y="310"/>
                        <a:pt x="43" y="310"/>
                        <a:pt x="43" y="310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65" y="321"/>
                        <a:pt x="65" y="321"/>
                        <a:pt x="65" y="321"/>
                      </a:cubicBezTo>
                      <a:cubicBezTo>
                        <a:pt x="22" y="321"/>
                        <a:pt x="22" y="321"/>
                        <a:pt x="22" y="321"/>
                      </a:cubicBezTo>
                      <a:cubicBezTo>
                        <a:pt x="10" y="321"/>
                        <a:pt x="0" y="307"/>
                        <a:pt x="0" y="289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43"/>
                        <a:pt x="10" y="128"/>
                        <a:pt x="22" y="128"/>
                      </a:cubicBez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lnTo>
                        <a:pt x="43" y="1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2" name="Gruppieren 53">
                <a:extLst>
                  <a:ext uri="{FF2B5EF4-FFF2-40B4-BE49-F238E27FC236}">
                    <a16:creationId xmlns:a16="http://schemas.microsoft.com/office/drawing/2014/main" id="{EFD2F0AE-C30B-47C7-AC9A-7D0F808F429D}"/>
                  </a:ext>
                </a:extLst>
              </p:cNvPr>
              <p:cNvGrpSpPr/>
              <p:nvPr/>
            </p:nvGrpSpPr>
            <p:grpSpPr>
              <a:xfrm>
                <a:off x="2659024" y="3170424"/>
                <a:ext cx="1006552" cy="1006552"/>
                <a:chOff x="2659024" y="3170424"/>
                <a:chExt cx="1006552" cy="1006552"/>
              </a:xfrm>
            </p:grpSpPr>
            <p:sp>
              <p:nvSpPr>
                <p:cNvPr id="18" name="Ellipse 86">
                  <a:extLst>
                    <a:ext uri="{FF2B5EF4-FFF2-40B4-BE49-F238E27FC236}">
                      <a16:creationId xmlns:a16="http://schemas.microsoft.com/office/drawing/2014/main" id="{70ED5CA8-C66F-44A2-8F09-D3AFA2422E15}"/>
                    </a:ext>
                  </a:extLst>
                </p:cNvPr>
                <p:cNvSpPr/>
                <p:nvPr/>
              </p:nvSpPr>
              <p:spPr bwMode="gray">
                <a:xfrm>
                  <a:off x="2659024" y="3170424"/>
                  <a:ext cx="1006552" cy="10065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19" name="METRO ICON - person 1">
                  <a:extLst>
                    <a:ext uri="{FF2B5EF4-FFF2-40B4-BE49-F238E27FC236}">
                      <a16:creationId xmlns:a16="http://schemas.microsoft.com/office/drawing/2014/main" id="{18DC6930-FFB7-4824-9E2C-EB325BB4E5E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887031" y="3409729"/>
                  <a:ext cx="550539" cy="527943"/>
                </a:xfrm>
                <a:custGeom>
                  <a:avLst/>
                  <a:gdLst>
                    <a:gd name="T0" fmla="*/ 295 w 377"/>
                    <a:gd name="T1" fmla="*/ 269 h 361"/>
                    <a:gd name="T2" fmla="*/ 230 w 377"/>
                    <a:gd name="T3" fmla="*/ 204 h 361"/>
                    <a:gd name="T4" fmla="*/ 251 w 377"/>
                    <a:gd name="T5" fmla="*/ 155 h 361"/>
                    <a:gd name="T6" fmla="*/ 270 w 377"/>
                    <a:gd name="T7" fmla="*/ 121 h 361"/>
                    <a:gd name="T8" fmla="*/ 263 w 377"/>
                    <a:gd name="T9" fmla="*/ 104 h 361"/>
                    <a:gd name="T10" fmla="*/ 268 w 377"/>
                    <a:gd name="T11" fmla="*/ 68 h 361"/>
                    <a:gd name="T12" fmla="*/ 188 w 377"/>
                    <a:gd name="T13" fmla="*/ 0 h 361"/>
                    <a:gd name="T14" fmla="*/ 108 w 377"/>
                    <a:gd name="T15" fmla="*/ 68 h 361"/>
                    <a:gd name="T16" fmla="*/ 114 w 377"/>
                    <a:gd name="T17" fmla="*/ 104 h 361"/>
                    <a:gd name="T18" fmla="*/ 106 w 377"/>
                    <a:gd name="T19" fmla="*/ 121 h 361"/>
                    <a:gd name="T20" fmla="*/ 125 w 377"/>
                    <a:gd name="T21" fmla="*/ 155 h 361"/>
                    <a:gd name="T22" fmla="*/ 147 w 377"/>
                    <a:gd name="T23" fmla="*/ 204 h 361"/>
                    <a:gd name="T24" fmla="*/ 81 w 377"/>
                    <a:gd name="T25" fmla="*/ 269 h 361"/>
                    <a:gd name="T26" fmla="*/ 0 w 377"/>
                    <a:gd name="T27" fmla="*/ 318 h 361"/>
                    <a:gd name="T28" fmla="*/ 0 w 377"/>
                    <a:gd name="T29" fmla="*/ 361 h 361"/>
                    <a:gd name="T30" fmla="*/ 377 w 377"/>
                    <a:gd name="T31" fmla="*/ 361 h 361"/>
                    <a:gd name="T32" fmla="*/ 377 w 377"/>
                    <a:gd name="T33" fmla="*/ 318 h 361"/>
                    <a:gd name="T34" fmla="*/ 295 w 377"/>
                    <a:gd name="T35" fmla="*/ 269 h 3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77" h="361">
                      <a:moveTo>
                        <a:pt x="295" y="269"/>
                      </a:moveTo>
                      <a:cubicBezTo>
                        <a:pt x="245" y="251"/>
                        <a:pt x="230" y="236"/>
                        <a:pt x="230" y="204"/>
                      </a:cubicBezTo>
                      <a:cubicBezTo>
                        <a:pt x="230" y="184"/>
                        <a:pt x="245" y="191"/>
                        <a:pt x="251" y="155"/>
                      </a:cubicBezTo>
                      <a:cubicBezTo>
                        <a:pt x="254" y="140"/>
                        <a:pt x="267" y="154"/>
                        <a:pt x="270" y="121"/>
                      </a:cubicBezTo>
                      <a:cubicBezTo>
                        <a:pt x="270" y="107"/>
                        <a:pt x="263" y="104"/>
                        <a:pt x="263" y="104"/>
                      </a:cubicBezTo>
                      <a:cubicBezTo>
                        <a:pt x="263" y="104"/>
                        <a:pt x="266" y="84"/>
                        <a:pt x="268" y="68"/>
                      </a:cubicBezTo>
                      <a:cubicBezTo>
                        <a:pt x="270" y="49"/>
                        <a:pt x="257" y="0"/>
                        <a:pt x="188" y="0"/>
                      </a:cubicBezTo>
                      <a:cubicBezTo>
                        <a:pt x="120" y="0"/>
                        <a:pt x="107" y="49"/>
                        <a:pt x="108" y="68"/>
                      </a:cubicBezTo>
                      <a:cubicBezTo>
                        <a:pt x="110" y="84"/>
                        <a:pt x="114" y="104"/>
                        <a:pt x="114" y="104"/>
                      </a:cubicBezTo>
                      <a:cubicBezTo>
                        <a:pt x="114" y="104"/>
                        <a:pt x="106" y="107"/>
                        <a:pt x="106" y="121"/>
                      </a:cubicBezTo>
                      <a:cubicBezTo>
                        <a:pt x="109" y="154"/>
                        <a:pt x="122" y="140"/>
                        <a:pt x="125" y="155"/>
                      </a:cubicBezTo>
                      <a:cubicBezTo>
                        <a:pt x="132" y="191"/>
                        <a:pt x="147" y="184"/>
                        <a:pt x="147" y="204"/>
                      </a:cubicBezTo>
                      <a:cubicBezTo>
                        <a:pt x="147" y="236"/>
                        <a:pt x="131" y="251"/>
                        <a:pt x="81" y="269"/>
                      </a:cubicBezTo>
                      <a:cubicBezTo>
                        <a:pt x="32" y="287"/>
                        <a:pt x="0" y="306"/>
                        <a:pt x="0" y="318"/>
                      </a:cubicBezTo>
                      <a:cubicBezTo>
                        <a:pt x="0" y="331"/>
                        <a:pt x="0" y="361"/>
                        <a:pt x="0" y="361"/>
                      </a:cubicBezTo>
                      <a:cubicBezTo>
                        <a:pt x="377" y="361"/>
                        <a:pt x="377" y="361"/>
                        <a:pt x="377" y="361"/>
                      </a:cubicBezTo>
                      <a:cubicBezTo>
                        <a:pt x="377" y="361"/>
                        <a:pt x="377" y="331"/>
                        <a:pt x="377" y="318"/>
                      </a:cubicBezTo>
                      <a:cubicBezTo>
                        <a:pt x="377" y="306"/>
                        <a:pt x="344" y="287"/>
                        <a:pt x="295" y="269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cxnSp>
            <p:nvCxnSpPr>
              <p:cNvPr id="13" name="Gerade Verbindung mit Pfeil 81">
                <a:extLst>
                  <a:ext uri="{FF2B5EF4-FFF2-40B4-BE49-F238E27FC236}">
                    <a16:creationId xmlns:a16="http://schemas.microsoft.com/office/drawing/2014/main" id="{2167DD24-D43D-4BAD-AD62-7B50701DFA6E}"/>
                  </a:ext>
                </a:extLst>
              </p:cNvPr>
              <p:cNvCxnSpPr/>
              <p:nvPr/>
            </p:nvCxnSpPr>
            <p:spPr bwMode="gray">
              <a:xfrm flipH="1" flipV="1">
                <a:off x="3162300" y="2538806"/>
                <a:ext cx="1" cy="51147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mit Pfeil 82">
                <a:extLst>
                  <a:ext uri="{FF2B5EF4-FFF2-40B4-BE49-F238E27FC236}">
                    <a16:creationId xmlns:a16="http://schemas.microsoft.com/office/drawing/2014/main" id="{DBF9BE7A-1341-458E-BA69-29716EC790F9}"/>
                  </a:ext>
                </a:extLst>
              </p:cNvPr>
              <p:cNvCxnSpPr/>
              <p:nvPr/>
            </p:nvCxnSpPr>
            <p:spPr bwMode="gray">
              <a:xfrm flipV="1">
                <a:off x="3665576" y="3050278"/>
                <a:ext cx="563524" cy="26755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83">
                <a:extLst>
                  <a:ext uri="{FF2B5EF4-FFF2-40B4-BE49-F238E27FC236}">
                    <a16:creationId xmlns:a16="http://schemas.microsoft.com/office/drawing/2014/main" id="{D7C4BC26-D06A-40B6-8A18-C20710FE4916}"/>
                  </a:ext>
                </a:extLst>
              </p:cNvPr>
              <p:cNvCxnSpPr/>
              <p:nvPr/>
            </p:nvCxnSpPr>
            <p:spPr bwMode="gray">
              <a:xfrm flipH="1">
                <a:off x="2115279" y="4027832"/>
                <a:ext cx="540663" cy="313527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84">
                <a:extLst>
                  <a:ext uri="{FF2B5EF4-FFF2-40B4-BE49-F238E27FC236}">
                    <a16:creationId xmlns:a16="http://schemas.microsoft.com/office/drawing/2014/main" id="{78569325-374C-4BB4-8A38-95AEF4802463}"/>
                  </a:ext>
                </a:extLst>
              </p:cNvPr>
              <p:cNvCxnSpPr/>
              <p:nvPr/>
            </p:nvCxnSpPr>
            <p:spPr bwMode="gray">
              <a:xfrm flipH="1">
                <a:off x="3159218" y="4293340"/>
                <a:ext cx="1" cy="51147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mit Pfeil 85">
                <a:extLst>
                  <a:ext uri="{FF2B5EF4-FFF2-40B4-BE49-F238E27FC236}">
                    <a16:creationId xmlns:a16="http://schemas.microsoft.com/office/drawing/2014/main" id="{3D3C6A90-073C-4D8E-A18E-8D0627C0B252}"/>
                  </a:ext>
                </a:extLst>
              </p:cNvPr>
              <p:cNvCxnSpPr/>
              <p:nvPr/>
            </p:nvCxnSpPr>
            <p:spPr bwMode="gray">
              <a:xfrm>
                <a:off x="3662494" y="4073807"/>
                <a:ext cx="563524" cy="26755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0" name="Gruppieren 44">
            <a:extLst>
              <a:ext uri="{FF2B5EF4-FFF2-40B4-BE49-F238E27FC236}">
                <a16:creationId xmlns:a16="http://schemas.microsoft.com/office/drawing/2014/main" id="{3D7B3A82-4DE7-4A4F-9D6B-D1CBDD33C6BF}"/>
              </a:ext>
            </a:extLst>
          </p:cNvPr>
          <p:cNvGrpSpPr/>
          <p:nvPr/>
        </p:nvGrpSpPr>
        <p:grpSpPr>
          <a:xfrm>
            <a:off x="3527212" y="-21223"/>
            <a:ext cx="5590260" cy="4255366"/>
            <a:chOff x="127000" y="1389908"/>
            <a:chExt cx="6019800" cy="4582336"/>
          </a:xfrm>
        </p:grpSpPr>
        <p:graphicFrame>
          <p:nvGraphicFramePr>
            <p:cNvPr id="40" name="Diagramm 45">
              <a:extLst>
                <a:ext uri="{FF2B5EF4-FFF2-40B4-BE49-F238E27FC236}">
                  <a16:creationId xmlns:a16="http://schemas.microsoft.com/office/drawing/2014/main" id="{31D8733F-0289-41BF-B8C6-146C5F900D3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94370509"/>
                </p:ext>
              </p:extLst>
            </p:nvPr>
          </p:nvGraphicFramePr>
          <p:xfrm>
            <a:off x="492663" y="1922979"/>
            <a:ext cx="5287640" cy="35250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41" name="Diagramm 46">
              <a:extLst>
                <a:ext uri="{FF2B5EF4-FFF2-40B4-BE49-F238E27FC236}">
                  <a16:creationId xmlns:a16="http://schemas.microsoft.com/office/drawing/2014/main" id="{6D7791F4-7C4E-4851-BA93-9AEAA80374E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14233988"/>
                </p:ext>
              </p:extLst>
            </p:nvPr>
          </p:nvGraphicFramePr>
          <p:xfrm>
            <a:off x="127000" y="1389908"/>
            <a:ext cx="6019800" cy="45823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42" name="Gruppieren 47">
              <a:extLst>
                <a:ext uri="{FF2B5EF4-FFF2-40B4-BE49-F238E27FC236}">
                  <a16:creationId xmlns:a16="http://schemas.microsoft.com/office/drawing/2014/main" id="{41639732-FE32-417D-8DC0-F33D96242324}"/>
                </a:ext>
              </a:extLst>
            </p:cNvPr>
            <p:cNvGrpSpPr/>
            <p:nvPr/>
          </p:nvGrpSpPr>
          <p:grpSpPr>
            <a:xfrm>
              <a:off x="1237330" y="1834723"/>
              <a:ext cx="3799143" cy="3758272"/>
              <a:chOff x="4026000" y="1684943"/>
              <a:chExt cx="4154278" cy="4109587"/>
            </a:xfrm>
          </p:grpSpPr>
          <p:sp>
            <p:nvSpPr>
              <p:cNvPr id="62" name="Text Box 13">
                <a:extLst>
                  <a:ext uri="{FF2B5EF4-FFF2-40B4-BE49-F238E27FC236}">
                    <a16:creationId xmlns:a16="http://schemas.microsoft.com/office/drawing/2014/main" id="{1E2D1C3E-E9EF-4C41-B4C9-2A2F6EEAE46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82165">
                <a:off x="4439791" y="168494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3" name="Text Box 13">
                <a:extLst>
                  <a:ext uri="{FF2B5EF4-FFF2-40B4-BE49-F238E27FC236}">
                    <a16:creationId xmlns:a16="http://schemas.microsoft.com/office/drawing/2014/main" id="{F9852A29-F70A-458C-9C04-E5554F44CE4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31534">
                <a:off x="5561440" y="1692773"/>
                <a:ext cx="2202855" cy="128717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4" name="Text Box 13">
                <a:extLst>
                  <a:ext uri="{FF2B5EF4-FFF2-40B4-BE49-F238E27FC236}">
                    <a16:creationId xmlns:a16="http://schemas.microsoft.com/office/drawing/2014/main" id="{814C1D8A-4CBB-4D55-BD58-C1FDA7DDB13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234600">
                <a:off x="6326601" y="2505870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5" name="Text Box 13">
                <a:extLst>
                  <a:ext uri="{FF2B5EF4-FFF2-40B4-BE49-F238E27FC236}">
                    <a16:creationId xmlns:a16="http://schemas.microsoft.com/office/drawing/2014/main" id="{6FD24284-C1C1-4324-8C1E-D1007E02353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00087">
                <a:off x="3629122" y="2505869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6" name="Text Box 13">
                <a:extLst>
                  <a:ext uri="{FF2B5EF4-FFF2-40B4-BE49-F238E27FC236}">
                    <a16:creationId xmlns:a16="http://schemas.microsoft.com/office/drawing/2014/main" id="{FE246BF4-9BBF-4E36-8044-451CCE0A9FC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83901">
                <a:off x="3568161" y="366915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7" name="Text Box 13">
                <a:extLst>
                  <a:ext uri="{FF2B5EF4-FFF2-40B4-BE49-F238E27FC236}">
                    <a16:creationId xmlns:a16="http://schemas.microsoft.com/office/drawing/2014/main" id="{3E137B37-5C15-4252-A67B-52E6BD0481D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257794">
                <a:off x="4406513" y="450735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8" name="Text Box 13">
                <a:extLst>
                  <a:ext uri="{FF2B5EF4-FFF2-40B4-BE49-F238E27FC236}">
                    <a16:creationId xmlns:a16="http://schemas.microsoft.com/office/drawing/2014/main" id="{F9D66F0D-F152-4F5A-9091-3412D7AFC46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99998">
                <a:off x="5612301" y="4505831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9" name="Text Box 13">
                <a:extLst>
                  <a:ext uri="{FF2B5EF4-FFF2-40B4-BE49-F238E27FC236}">
                    <a16:creationId xmlns:a16="http://schemas.microsoft.com/office/drawing/2014/main" id="{562DD1C5-1DEE-4625-8FB2-EF9E2E8AA6E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32981">
                <a:off x="6435262" y="3630650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</p:grpSp>
        <p:sp>
          <p:nvSpPr>
            <p:cNvPr id="43" name="Ellipse 48">
              <a:extLst>
                <a:ext uri="{FF2B5EF4-FFF2-40B4-BE49-F238E27FC236}">
                  <a16:creationId xmlns:a16="http://schemas.microsoft.com/office/drawing/2014/main" id="{7B79935C-A0A1-4770-821F-5063479A2AEF}"/>
                </a:ext>
              </a:extLst>
            </p:cNvPr>
            <p:cNvSpPr/>
            <p:nvPr/>
          </p:nvSpPr>
          <p:spPr>
            <a:xfrm>
              <a:off x="2351419" y="2937338"/>
              <a:ext cx="1453255" cy="145325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dirty="0">
                  <a:solidFill>
                    <a:schemeClr val="tx1"/>
                  </a:solidFill>
                  <a:latin typeface="Bebas Neue" panose="020B0506020202020201" pitchFamily="34" charset="0"/>
                </a:rPr>
                <a:t>Placeholder</a:t>
              </a:r>
            </a:p>
          </p:txBody>
        </p:sp>
        <p:grpSp>
          <p:nvGrpSpPr>
            <p:cNvPr id="44" name="Gruppieren 49">
              <a:extLst>
                <a:ext uri="{FF2B5EF4-FFF2-40B4-BE49-F238E27FC236}">
                  <a16:creationId xmlns:a16="http://schemas.microsoft.com/office/drawing/2014/main" id="{6B5422E5-A40D-4452-9399-F289111E70A2}"/>
                </a:ext>
              </a:extLst>
            </p:cNvPr>
            <p:cNvGrpSpPr/>
            <p:nvPr/>
          </p:nvGrpSpPr>
          <p:grpSpPr>
            <a:xfrm>
              <a:off x="1465595" y="1995504"/>
              <a:ext cx="3344529" cy="3366170"/>
              <a:chOff x="1465595" y="1995504"/>
              <a:chExt cx="3344529" cy="3366170"/>
            </a:xfrm>
          </p:grpSpPr>
          <p:sp>
            <p:nvSpPr>
              <p:cNvPr id="54" name="Gleichschenkliges Dreieck 59">
                <a:extLst>
                  <a:ext uri="{FF2B5EF4-FFF2-40B4-BE49-F238E27FC236}">
                    <a16:creationId xmlns:a16="http://schemas.microsoft.com/office/drawing/2014/main" id="{0965CE1F-14CA-4863-96D9-ACD98F308CB0}"/>
                  </a:ext>
                </a:extLst>
              </p:cNvPr>
              <p:cNvSpPr/>
              <p:nvPr/>
            </p:nvSpPr>
            <p:spPr>
              <a:xfrm rot="20201043">
                <a:off x="2388406" y="2030502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5" name="Gleichschenkliges Dreieck 60">
                <a:extLst>
                  <a:ext uri="{FF2B5EF4-FFF2-40B4-BE49-F238E27FC236}">
                    <a16:creationId xmlns:a16="http://schemas.microsoft.com/office/drawing/2014/main" id="{A6DB07E2-41BA-411F-AEE5-FFF668DCE399}"/>
                  </a:ext>
                </a:extLst>
              </p:cNvPr>
              <p:cNvSpPr/>
              <p:nvPr/>
            </p:nvSpPr>
            <p:spPr>
              <a:xfrm rot="1247898">
                <a:off x="3719125" y="1995504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6" name="Gleichschenkliges Dreieck 61">
                <a:extLst>
                  <a:ext uri="{FF2B5EF4-FFF2-40B4-BE49-F238E27FC236}">
                    <a16:creationId xmlns:a16="http://schemas.microsoft.com/office/drawing/2014/main" id="{B9EFF7E8-A45A-46F0-9D8C-1447314B8C4A}"/>
                  </a:ext>
                </a:extLst>
              </p:cNvPr>
              <p:cNvSpPr/>
              <p:nvPr/>
            </p:nvSpPr>
            <p:spPr>
              <a:xfrm rot="4187049">
                <a:off x="4709855" y="294065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7" name="Gleichschenkliges Dreieck 62">
                <a:extLst>
                  <a:ext uri="{FF2B5EF4-FFF2-40B4-BE49-F238E27FC236}">
                    <a16:creationId xmlns:a16="http://schemas.microsoft.com/office/drawing/2014/main" id="{5BD7D7F2-30AC-4ADB-8007-41F1CA50C8B7}"/>
                  </a:ext>
                </a:extLst>
              </p:cNvPr>
              <p:cNvSpPr/>
              <p:nvPr/>
            </p:nvSpPr>
            <p:spPr>
              <a:xfrm rot="6544425">
                <a:off x="4731210" y="4284764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8" name="Gleichschenkliges Dreieck 63">
                <a:extLst>
                  <a:ext uri="{FF2B5EF4-FFF2-40B4-BE49-F238E27FC236}">
                    <a16:creationId xmlns:a16="http://schemas.microsoft.com/office/drawing/2014/main" id="{76EDEACC-55E8-41C0-AC7D-5EF46E2AEDEB}"/>
                  </a:ext>
                </a:extLst>
              </p:cNvPr>
              <p:cNvSpPr/>
              <p:nvPr/>
            </p:nvSpPr>
            <p:spPr>
              <a:xfrm rot="9444484">
                <a:off x="3722378" y="528860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9" name="Gleichschenkliges Dreieck 64">
                <a:extLst>
                  <a:ext uri="{FF2B5EF4-FFF2-40B4-BE49-F238E27FC236}">
                    <a16:creationId xmlns:a16="http://schemas.microsoft.com/office/drawing/2014/main" id="{C70C4135-09D9-4536-8763-767314F11A8A}"/>
                  </a:ext>
                </a:extLst>
              </p:cNvPr>
              <p:cNvSpPr/>
              <p:nvPr/>
            </p:nvSpPr>
            <p:spPr>
              <a:xfrm rot="12249003">
                <a:off x="2362342" y="524171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60" name="Gleichschenkliges Dreieck 65">
                <a:extLst>
                  <a:ext uri="{FF2B5EF4-FFF2-40B4-BE49-F238E27FC236}">
                    <a16:creationId xmlns:a16="http://schemas.microsoft.com/office/drawing/2014/main" id="{168260E5-B52D-489B-B8E7-58F379860D34}"/>
                  </a:ext>
                </a:extLst>
              </p:cNvPr>
              <p:cNvSpPr/>
              <p:nvPr/>
            </p:nvSpPr>
            <p:spPr>
              <a:xfrm rot="14872673">
                <a:off x="1466010" y="4302689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61" name="Gleichschenkliges Dreieck 66">
                <a:extLst>
                  <a:ext uri="{FF2B5EF4-FFF2-40B4-BE49-F238E27FC236}">
                    <a16:creationId xmlns:a16="http://schemas.microsoft.com/office/drawing/2014/main" id="{07A138A5-AFCE-4FB0-A964-11337327BA14}"/>
                  </a:ext>
                </a:extLst>
              </p:cNvPr>
              <p:cNvSpPr/>
              <p:nvPr/>
            </p:nvSpPr>
            <p:spPr>
              <a:xfrm rot="17381863">
                <a:off x="1459750" y="298306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</p:grpSp>
        <p:grpSp>
          <p:nvGrpSpPr>
            <p:cNvPr id="45" name="Gruppieren 50">
              <a:extLst>
                <a:ext uri="{FF2B5EF4-FFF2-40B4-BE49-F238E27FC236}">
                  <a16:creationId xmlns:a16="http://schemas.microsoft.com/office/drawing/2014/main" id="{02B56550-AC72-472E-ABF7-1349394BC1DC}"/>
                </a:ext>
              </a:extLst>
            </p:cNvPr>
            <p:cNvGrpSpPr/>
            <p:nvPr/>
          </p:nvGrpSpPr>
          <p:grpSpPr>
            <a:xfrm>
              <a:off x="1931143" y="2521570"/>
              <a:ext cx="2329368" cy="2365835"/>
              <a:chOff x="4427762" y="2017604"/>
              <a:chExt cx="3402678" cy="3455937"/>
            </a:xfrm>
          </p:grpSpPr>
          <p:sp>
            <p:nvSpPr>
              <p:cNvPr id="46" name="Text Box 13">
                <a:extLst>
                  <a:ext uri="{FF2B5EF4-FFF2-40B4-BE49-F238E27FC236}">
                    <a16:creationId xmlns:a16="http://schemas.microsoft.com/office/drawing/2014/main" id="{92FD5CD3-CBD4-42CF-A080-E4FC8ECB158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68924">
                <a:off x="4635014" y="2017604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7" name="Text Box 13">
                <a:extLst>
                  <a:ext uri="{FF2B5EF4-FFF2-40B4-BE49-F238E27FC236}">
                    <a16:creationId xmlns:a16="http://schemas.microsoft.com/office/drawing/2014/main" id="{66B7AD41-269B-4EA0-821A-BB9CC322B4E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374963">
                <a:off x="5500531" y="2050296"/>
                <a:ext cx="2202855" cy="128717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8" name="Text Box 13">
                <a:extLst>
                  <a:ext uri="{FF2B5EF4-FFF2-40B4-BE49-F238E27FC236}">
                    <a16:creationId xmlns:a16="http://schemas.microsoft.com/office/drawing/2014/main" id="{A1ACB169-D3AF-41A0-A3A2-29662386BA2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234600">
                <a:off x="6039806" y="2641039"/>
                <a:ext cx="2202854" cy="128717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9" name="Text Box 13">
                <a:extLst>
                  <a:ext uri="{FF2B5EF4-FFF2-40B4-BE49-F238E27FC236}">
                    <a16:creationId xmlns:a16="http://schemas.microsoft.com/office/drawing/2014/main" id="{2851ACFB-498E-4D06-A6C2-AF53BC38759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00087">
                <a:off x="4037327" y="2631759"/>
                <a:ext cx="2202856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0" name="Text Box 13">
                <a:extLst>
                  <a:ext uri="{FF2B5EF4-FFF2-40B4-BE49-F238E27FC236}">
                    <a16:creationId xmlns:a16="http://schemas.microsoft.com/office/drawing/2014/main" id="{F0A4C086-D4EE-4093-ADFA-FE65A84E204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83901">
                <a:off x="3969923" y="3551757"/>
                <a:ext cx="2202856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1" name="Text Box 13">
                <a:extLst>
                  <a:ext uri="{FF2B5EF4-FFF2-40B4-BE49-F238E27FC236}">
                    <a16:creationId xmlns:a16="http://schemas.microsoft.com/office/drawing/2014/main" id="{24CF21A9-A196-41AC-8097-4C8C100D77B5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488513">
                <a:off x="4626065" y="4186364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2" name="Text Box 13">
                <a:extLst>
                  <a:ext uri="{FF2B5EF4-FFF2-40B4-BE49-F238E27FC236}">
                    <a16:creationId xmlns:a16="http://schemas.microsoft.com/office/drawing/2014/main" id="{3D93C588-CF7B-4679-AF4A-F3235D710C2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281682">
                <a:off x="5511529" y="4169906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3" name="Text Box 13">
                <a:extLst>
                  <a:ext uri="{FF2B5EF4-FFF2-40B4-BE49-F238E27FC236}">
                    <a16:creationId xmlns:a16="http://schemas.microsoft.com/office/drawing/2014/main" id="{8C9B12C7-89DC-4F48-9190-D77B770D19E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32981">
                <a:off x="6085424" y="3502050"/>
                <a:ext cx="2202854" cy="128717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</p:grpSp>
      </p:grpSp>
      <p:graphicFrame>
        <p:nvGraphicFramePr>
          <p:cNvPr id="117" name="Diagramm 86">
            <a:extLst>
              <a:ext uri="{FF2B5EF4-FFF2-40B4-BE49-F238E27FC236}">
                <a16:creationId xmlns:a16="http://schemas.microsoft.com/office/drawing/2014/main" id="{FFC5D8B8-3671-4D2C-BCC2-E91F452D0E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2017360"/>
              </p:ext>
            </p:extLst>
          </p:nvPr>
        </p:nvGraphicFramePr>
        <p:xfrm>
          <a:off x="7321748" y="2746657"/>
          <a:ext cx="5271494" cy="3514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8" name="Diagramm 87">
            <a:extLst>
              <a:ext uri="{FF2B5EF4-FFF2-40B4-BE49-F238E27FC236}">
                <a16:creationId xmlns:a16="http://schemas.microsoft.com/office/drawing/2014/main" id="{75FA05C4-0563-45D7-8F46-0C4182F5D7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90995"/>
              </p:ext>
            </p:extLst>
          </p:nvPr>
        </p:nvGraphicFramePr>
        <p:xfrm>
          <a:off x="7976417" y="3152623"/>
          <a:ext cx="4007876" cy="2671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9" name="Inhaltsplatzhalter 12">
            <a:extLst>
              <a:ext uri="{FF2B5EF4-FFF2-40B4-BE49-F238E27FC236}">
                <a16:creationId xmlns:a16="http://schemas.microsoft.com/office/drawing/2014/main" id="{81D11B75-2659-4B3D-90DC-1B044F6CD4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3281000"/>
              </p:ext>
            </p:extLst>
          </p:nvPr>
        </p:nvGraphicFramePr>
        <p:xfrm>
          <a:off x="6975413" y="2343476"/>
          <a:ext cx="6303600" cy="4322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3A795B7-81BE-48DE-97B0-3CB3EDE4843B}"/>
              </a:ext>
            </a:extLst>
          </p:cNvPr>
          <p:cNvGrpSpPr/>
          <p:nvPr/>
        </p:nvGrpSpPr>
        <p:grpSpPr>
          <a:xfrm>
            <a:off x="8279335" y="2359610"/>
            <a:ext cx="3561884" cy="4127085"/>
            <a:chOff x="840372" y="1522436"/>
            <a:chExt cx="3561884" cy="4127085"/>
          </a:xfrm>
        </p:grpSpPr>
        <p:sp>
          <p:nvSpPr>
            <p:cNvPr id="121" name="Text Box 13">
              <a:extLst>
                <a:ext uri="{FF2B5EF4-FFF2-40B4-BE49-F238E27FC236}">
                  <a16:creationId xmlns:a16="http://schemas.microsoft.com/office/drawing/2014/main" id="{8ED8121B-45C3-41CE-BDF1-B3CEBDA4D2D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44510" y="3577890"/>
              <a:ext cx="3085919" cy="20716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This text can be replaced with your own text.</a:t>
              </a:r>
            </a:p>
          </p:txBody>
        </p:sp>
        <p:sp>
          <p:nvSpPr>
            <p:cNvPr id="122" name="Text Box 13">
              <a:extLst>
                <a:ext uri="{FF2B5EF4-FFF2-40B4-BE49-F238E27FC236}">
                  <a16:creationId xmlns:a16="http://schemas.microsoft.com/office/drawing/2014/main" id="{FC63170C-5A54-46A5-9A03-1CE41EAFC2F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629506">
              <a:off x="2100227" y="3592260"/>
              <a:ext cx="1318801" cy="884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be replaced with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your own text.</a:t>
              </a:r>
            </a:p>
          </p:txBody>
        </p:sp>
        <p:sp>
          <p:nvSpPr>
            <p:cNvPr id="123" name="Text Box 13">
              <a:extLst>
                <a:ext uri="{FF2B5EF4-FFF2-40B4-BE49-F238E27FC236}">
                  <a16:creationId xmlns:a16="http://schemas.microsoft.com/office/drawing/2014/main" id="{996FC031-95BE-486C-B2CF-86C6F7A9CF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7158872">
              <a:off x="2625646" y="3506458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4" name="Text Box 13">
              <a:extLst>
                <a:ext uri="{FF2B5EF4-FFF2-40B4-BE49-F238E27FC236}">
                  <a16:creationId xmlns:a16="http://schemas.microsoft.com/office/drawing/2014/main" id="{BBD99F14-2FED-4E47-B6D4-5B54CF4B2EB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5400000">
              <a:off x="2101248" y="3161142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25" name="Text Box 13">
              <a:extLst>
                <a:ext uri="{FF2B5EF4-FFF2-40B4-BE49-F238E27FC236}">
                  <a16:creationId xmlns:a16="http://schemas.microsoft.com/office/drawing/2014/main" id="{4D6121CF-8407-41F7-AAEB-126D47875AE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8607029">
              <a:off x="347550" y="2126264"/>
              <a:ext cx="2816725" cy="18310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his text can be replaced with your own text.</a:t>
              </a:r>
            </a:p>
          </p:txBody>
        </p:sp>
        <p:sp>
          <p:nvSpPr>
            <p:cNvPr id="126" name="Text Box 13">
              <a:extLst>
                <a:ext uri="{FF2B5EF4-FFF2-40B4-BE49-F238E27FC236}">
                  <a16:creationId xmlns:a16="http://schemas.microsoft.com/office/drawing/2014/main" id="{D917C041-18B7-4E49-82AB-B7F1D4ED09A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4374442">
              <a:off x="736141" y="3502213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7" name="Text Box 13">
              <a:extLst>
                <a:ext uri="{FF2B5EF4-FFF2-40B4-BE49-F238E27FC236}">
                  <a16:creationId xmlns:a16="http://schemas.microsoft.com/office/drawing/2014/main" id="{B83156DF-9363-4EA0-A493-EF195B43B7A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6200000">
              <a:off x="1249620" y="3109386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28" name="Text Box 13">
              <a:extLst>
                <a:ext uri="{FF2B5EF4-FFF2-40B4-BE49-F238E27FC236}">
                  <a16:creationId xmlns:a16="http://schemas.microsoft.com/office/drawing/2014/main" id="{6750AC98-79D2-43E4-8A34-D3B6087FA41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696360" y="4211224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9" name="Richtungspfeil 89">
              <a:extLst>
                <a:ext uri="{FF2B5EF4-FFF2-40B4-BE49-F238E27FC236}">
                  <a16:creationId xmlns:a16="http://schemas.microsoft.com/office/drawing/2014/main" id="{502336F7-022D-4A0C-A8C2-5E4B4B77BA13}"/>
                </a:ext>
              </a:extLst>
            </p:cNvPr>
            <p:cNvSpPr/>
            <p:nvPr/>
          </p:nvSpPr>
          <p:spPr bwMode="gray">
            <a:xfrm rot="5400000">
              <a:off x="1139852" y="2751726"/>
              <a:ext cx="2786239" cy="327660"/>
            </a:xfrm>
            <a:prstGeom prst="homePlate">
              <a:avLst>
                <a:gd name="adj" fmla="val 33721"/>
              </a:avLst>
            </a:prstGeom>
            <a:gradFill flip="none" rotWithShape="1">
              <a:gsLst>
                <a:gs pos="100000">
                  <a:srgbClr val="C8303F"/>
                </a:gs>
                <a:gs pos="0">
                  <a:srgbClr val="C8303F">
                    <a:lumMod val="7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114300" sx="102000" sy="102000" algn="ctr" rotWithShape="0">
                <a:prstClr val="black">
                  <a:alpha val="82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0" name="Textfeld 90">
              <a:extLst>
                <a:ext uri="{FF2B5EF4-FFF2-40B4-BE49-F238E27FC236}">
                  <a16:creationId xmlns:a16="http://schemas.microsoft.com/office/drawing/2014/main" id="{6A9B981A-5A06-4CB8-B7F0-348E5AFF3660}"/>
                </a:ext>
              </a:extLst>
            </p:cNvPr>
            <p:cNvSpPr txBox="1"/>
            <p:nvPr/>
          </p:nvSpPr>
          <p:spPr bwMode="gray">
            <a:xfrm>
              <a:off x="1965871" y="3354890"/>
              <a:ext cx="1128283" cy="604491"/>
            </a:xfrm>
            <a:prstGeom prst="rect">
              <a:avLst/>
            </a:prstGeom>
            <a:solidFill>
              <a:srgbClr val="262626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Placeholder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text</a:t>
              </a:r>
            </a:p>
          </p:txBody>
        </p:sp>
        <p:sp>
          <p:nvSpPr>
            <p:cNvPr id="131" name="Textfeld 106">
              <a:extLst>
                <a:ext uri="{FF2B5EF4-FFF2-40B4-BE49-F238E27FC236}">
                  <a16:creationId xmlns:a16="http://schemas.microsoft.com/office/drawing/2014/main" id="{D61A39AB-8D97-4140-9BC0-10218AF9A15D}"/>
                </a:ext>
              </a:extLst>
            </p:cNvPr>
            <p:cNvSpPr txBox="1"/>
            <p:nvPr/>
          </p:nvSpPr>
          <p:spPr bwMode="gray">
            <a:xfrm>
              <a:off x="2372739" y="1565434"/>
              <a:ext cx="324063" cy="4189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½ YR</a:t>
              </a:r>
            </a:p>
          </p:txBody>
        </p:sp>
        <p:sp>
          <p:nvSpPr>
            <p:cNvPr id="132" name="Textfeld 107">
              <a:extLst>
                <a:ext uri="{FF2B5EF4-FFF2-40B4-BE49-F238E27FC236}">
                  <a16:creationId xmlns:a16="http://schemas.microsoft.com/office/drawing/2014/main" id="{307CD435-C10E-49FB-9DE8-EC5CFC20380C}"/>
                </a:ext>
              </a:extLst>
            </p:cNvPr>
            <p:cNvSpPr txBox="1"/>
            <p:nvPr/>
          </p:nvSpPr>
          <p:spPr bwMode="gray">
            <a:xfrm>
              <a:off x="2372739" y="1988799"/>
              <a:ext cx="324063" cy="97873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3 YR</a:t>
              </a:r>
            </a:p>
          </p:txBody>
        </p:sp>
        <p:sp>
          <p:nvSpPr>
            <p:cNvPr id="133" name="Textfeld 108">
              <a:extLst>
                <a:ext uri="{FF2B5EF4-FFF2-40B4-BE49-F238E27FC236}">
                  <a16:creationId xmlns:a16="http://schemas.microsoft.com/office/drawing/2014/main" id="{96EF6546-2DB4-46E9-A61E-5A3B0B43B462}"/>
                </a:ext>
              </a:extLst>
            </p:cNvPr>
            <p:cNvSpPr txBox="1"/>
            <p:nvPr/>
          </p:nvSpPr>
          <p:spPr bwMode="gray">
            <a:xfrm>
              <a:off x="2370694" y="2933895"/>
              <a:ext cx="324063" cy="4189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2 YR</a:t>
              </a:r>
            </a:p>
          </p:txBody>
        </p:sp>
        <p:sp>
          <p:nvSpPr>
            <p:cNvPr id="134" name="Text Box 13">
              <a:extLst>
                <a:ext uri="{FF2B5EF4-FFF2-40B4-BE49-F238E27FC236}">
                  <a16:creationId xmlns:a16="http://schemas.microsoft.com/office/drawing/2014/main" id="{32D11D0F-51FC-42ED-B2E9-D998ABB91F1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592557">
              <a:off x="1485983" y="2721139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35" name="Text Box 13">
              <a:extLst>
                <a:ext uri="{FF2B5EF4-FFF2-40B4-BE49-F238E27FC236}">
                  <a16:creationId xmlns:a16="http://schemas.microsoft.com/office/drawing/2014/main" id="{77D6A5AA-33A4-4EF8-8D72-265A95DC71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843981">
              <a:off x="1870187" y="2730895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36" name="Text Box 13">
              <a:extLst>
                <a:ext uri="{FF2B5EF4-FFF2-40B4-BE49-F238E27FC236}">
                  <a16:creationId xmlns:a16="http://schemas.microsoft.com/office/drawing/2014/main" id="{85187F56-9C04-4B41-96D4-7781EDDF5F8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503105">
              <a:off x="1048266" y="2409531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7" name="Text Box 13">
              <a:extLst>
                <a:ext uri="{FF2B5EF4-FFF2-40B4-BE49-F238E27FC236}">
                  <a16:creationId xmlns:a16="http://schemas.microsoft.com/office/drawing/2014/main" id="{50FB87D6-FD0A-4A7F-B610-3010FEF704F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090452">
              <a:off x="1982722" y="2378963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8" name="Text Box 13">
              <a:extLst>
                <a:ext uri="{FF2B5EF4-FFF2-40B4-BE49-F238E27FC236}">
                  <a16:creationId xmlns:a16="http://schemas.microsoft.com/office/drawing/2014/main" id="{92DC591B-2426-4BF9-B094-0F67347E69D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690210">
              <a:off x="2387716" y="2145084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9" name="Text Box 13">
              <a:extLst>
                <a:ext uri="{FF2B5EF4-FFF2-40B4-BE49-F238E27FC236}">
                  <a16:creationId xmlns:a16="http://schemas.microsoft.com/office/drawing/2014/main" id="{472E74C8-552E-4739-B418-2CB2A447E0C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33445">
              <a:off x="1683577" y="3629768"/>
              <a:ext cx="1318801" cy="884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be replaced with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your ow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2136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pieren 2">
            <a:extLst>
              <a:ext uri="{FF2B5EF4-FFF2-40B4-BE49-F238E27FC236}">
                <a16:creationId xmlns:a16="http://schemas.microsoft.com/office/drawing/2014/main" id="{7FDBE9E9-CEC2-43E9-99DC-61312B3CB6EF}"/>
              </a:ext>
            </a:extLst>
          </p:cNvPr>
          <p:cNvGrpSpPr/>
          <p:nvPr/>
        </p:nvGrpSpPr>
        <p:grpSpPr>
          <a:xfrm>
            <a:off x="-115907" y="387003"/>
            <a:ext cx="4709821" cy="4091706"/>
            <a:chOff x="2201624" y="1616714"/>
            <a:chExt cx="4709821" cy="4091706"/>
          </a:xfrm>
        </p:grpSpPr>
        <p:graphicFrame>
          <p:nvGraphicFramePr>
            <p:cNvPr id="38" name="Diagramm 5">
              <a:extLst>
                <a:ext uri="{FF2B5EF4-FFF2-40B4-BE49-F238E27FC236}">
                  <a16:creationId xmlns:a16="http://schemas.microsoft.com/office/drawing/2014/main" id="{DA335AD0-68A0-4FBA-A313-289DA6B0F1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29629545"/>
                </p:ext>
              </p:extLst>
            </p:nvPr>
          </p:nvGraphicFramePr>
          <p:xfrm>
            <a:off x="2281491" y="1636170"/>
            <a:ext cx="4550086" cy="40439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39" name="Gruppieren 49">
              <a:extLst>
                <a:ext uri="{FF2B5EF4-FFF2-40B4-BE49-F238E27FC236}">
                  <a16:creationId xmlns:a16="http://schemas.microsoft.com/office/drawing/2014/main" id="{4C81F1A8-6248-4A3F-AD54-291799CB3D8A}"/>
                </a:ext>
              </a:extLst>
            </p:cNvPr>
            <p:cNvGrpSpPr/>
            <p:nvPr/>
          </p:nvGrpSpPr>
          <p:grpSpPr>
            <a:xfrm>
              <a:off x="2201624" y="1616714"/>
              <a:ext cx="4709821" cy="4091706"/>
              <a:chOff x="3730119" y="1616714"/>
              <a:chExt cx="4709821" cy="4091706"/>
            </a:xfrm>
          </p:grpSpPr>
          <p:graphicFrame>
            <p:nvGraphicFramePr>
              <p:cNvPr id="40" name="Diagramm 51">
                <a:extLst>
                  <a:ext uri="{FF2B5EF4-FFF2-40B4-BE49-F238E27FC236}">
                    <a16:creationId xmlns:a16="http://schemas.microsoft.com/office/drawing/2014/main" id="{7A9AF097-CDCD-4E56-8303-508848452AC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24538780"/>
                  </p:ext>
                </p:extLst>
              </p:nvPr>
            </p:nvGraphicFramePr>
            <p:xfrm>
              <a:off x="3730119" y="2084334"/>
              <a:ext cx="4709821" cy="313988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41" name="Text Box 13">
                <a:extLst>
                  <a:ext uri="{FF2B5EF4-FFF2-40B4-BE49-F238E27FC236}">
                    <a16:creationId xmlns:a16="http://schemas.microsoft.com/office/drawing/2014/main" id="{9FB7CFC4-0111-401F-AE54-3BBE56448C1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30412">
                <a:off x="5874742" y="3144666"/>
                <a:ext cx="136837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2" name="Text Box 13">
                <a:extLst>
                  <a:ext uri="{FF2B5EF4-FFF2-40B4-BE49-F238E27FC236}">
                    <a16:creationId xmlns:a16="http://schemas.microsoft.com/office/drawing/2014/main" id="{04115FC8-4EE3-4106-874A-52F790CB7EB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101598">
                <a:off x="5563381" y="2997586"/>
                <a:ext cx="1398056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3" name="Text Box 13">
                <a:extLst>
                  <a:ext uri="{FF2B5EF4-FFF2-40B4-BE49-F238E27FC236}">
                    <a16:creationId xmlns:a16="http://schemas.microsoft.com/office/drawing/2014/main" id="{CCC3D35D-6097-49F1-82A8-7D152330F74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761356">
                <a:off x="6029156" y="3430747"/>
                <a:ext cx="136837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4" name="Ellipse 66">
                <a:extLst>
                  <a:ext uri="{FF2B5EF4-FFF2-40B4-BE49-F238E27FC236}">
                    <a16:creationId xmlns:a16="http://schemas.microsoft.com/office/drawing/2014/main" id="{C658BD14-0516-4494-A16F-2DE85B8B51E4}"/>
                  </a:ext>
                </a:extLst>
              </p:cNvPr>
              <p:cNvSpPr/>
              <p:nvPr/>
            </p:nvSpPr>
            <p:spPr>
              <a:xfrm>
                <a:off x="5628625" y="3203850"/>
                <a:ext cx="929853" cy="929853"/>
              </a:xfrm>
              <a:prstGeom prst="ellips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ebas Neue" panose="020B0506020202020201" pitchFamily="34" charset="0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45" name="Text Box 13">
                <a:extLst>
                  <a:ext uri="{FF2B5EF4-FFF2-40B4-BE49-F238E27FC236}">
                    <a16:creationId xmlns:a16="http://schemas.microsoft.com/office/drawing/2014/main" id="{BD3F8276-1913-474B-B4BF-3D3E0D645F7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849280">
                <a:off x="5859903" y="4072146"/>
                <a:ext cx="1398056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6" name="Text Box 13">
                <a:extLst>
                  <a:ext uri="{FF2B5EF4-FFF2-40B4-BE49-F238E27FC236}">
                    <a16:creationId xmlns:a16="http://schemas.microsoft.com/office/drawing/2014/main" id="{70D58D76-0746-4E25-BE06-9494E43E7D7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793264">
                <a:off x="4700046" y="3430747"/>
                <a:ext cx="1398055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7" name="Text Box 13">
                <a:extLst>
                  <a:ext uri="{FF2B5EF4-FFF2-40B4-BE49-F238E27FC236}">
                    <a16:creationId xmlns:a16="http://schemas.microsoft.com/office/drawing/2014/main" id="{7958FA63-C264-4D2F-8626-7DF0EAE42FA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57562">
                <a:off x="4929597" y="4016113"/>
                <a:ext cx="1398055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8" name="Text Box 13">
                <a:extLst>
                  <a:ext uri="{FF2B5EF4-FFF2-40B4-BE49-F238E27FC236}">
                    <a16:creationId xmlns:a16="http://schemas.microsoft.com/office/drawing/2014/main" id="{6604C31B-6269-49C8-8C5F-F5BF8B14714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990021">
                <a:off x="6417270" y="3819284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9" name="Text Box 13">
                <a:extLst>
                  <a:ext uri="{FF2B5EF4-FFF2-40B4-BE49-F238E27FC236}">
                    <a16:creationId xmlns:a16="http://schemas.microsoft.com/office/drawing/2014/main" id="{F73DC81F-1272-4A5C-A860-37094AD9CF9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506432">
                <a:off x="5777989" y="4390235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0" name="Text Box 13">
                <a:extLst>
                  <a:ext uri="{FF2B5EF4-FFF2-40B4-BE49-F238E27FC236}">
                    <a16:creationId xmlns:a16="http://schemas.microsoft.com/office/drawing/2014/main" id="{73128F3B-709F-4043-9C9E-8729B7CF4C9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241685">
                <a:off x="5349005" y="4364173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1" name="Text Box 13">
                <a:extLst>
                  <a:ext uri="{FF2B5EF4-FFF2-40B4-BE49-F238E27FC236}">
                    <a16:creationId xmlns:a16="http://schemas.microsoft.com/office/drawing/2014/main" id="{FCEE5427-C163-4D85-96A0-19D20D78748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443209">
                <a:off x="4763380" y="3811388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2" name="Text Box 13">
                <a:extLst>
                  <a:ext uri="{FF2B5EF4-FFF2-40B4-BE49-F238E27FC236}">
                    <a16:creationId xmlns:a16="http://schemas.microsoft.com/office/drawing/2014/main" id="{F6B89666-D0E4-4AB8-9F5F-141E736F551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867921">
                <a:off x="4965137" y="2997586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3" name="Text Box 13">
                <a:extLst>
                  <a:ext uri="{FF2B5EF4-FFF2-40B4-BE49-F238E27FC236}">
                    <a16:creationId xmlns:a16="http://schemas.microsoft.com/office/drawing/2014/main" id="{7438A919-CC8F-4E10-911E-7198E020A75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749966">
                <a:off x="5330460" y="2782047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graphicFrame>
            <p:nvGraphicFramePr>
              <p:cNvPr id="54" name="Diagramm 76">
                <a:extLst>
                  <a:ext uri="{FF2B5EF4-FFF2-40B4-BE49-F238E27FC236}">
                    <a16:creationId xmlns:a16="http://schemas.microsoft.com/office/drawing/2014/main" id="{704BAA30-938E-442D-8056-B6E4353604E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14380584"/>
                  </p:ext>
                </p:extLst>
              </p:nvPr>
            </p:nvGraphicFramePr>
            <p:xfrm>
              <a:off x="4610080" y="2673801"/>
              <a:ext cx="2953100" cy="196873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55" name="Text Box 13">
                <a:extLst>
                  <a:ext uri="{FF2B5EF4-FFF2-40B4-BE49-F238E27FC236}">
                    <a16:creationId xmlns:a16="http://schemas.microsoft.com/office/drawing/2014/main" id="{ADCE9E9F-5ED3-44B5-8EB9-8480C0EC4945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61256">
                <a:off x="6126626" y="305121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6" name="Text Box 13">
                <a:extLst>
                  <a:ext uri="{FF2B5EF4-FFF2-40B4-BE49-F238E27FC236}">
                    <a16:creationId xmlns:a16="http://schemas.microsoft.com/office/drawing/2014/main" id="{56B1A863-EE96-436E-8C19-D951510D3B9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889651">
                <a:off x="5510696" y="3059783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7" name="Text Box 13">
                <a:extLst>
                  <a:ext uri="{FF2B5EF4-FFF2-40B4-BE49-F238E27FC236}">
                    <a16:creationId xmlns:a16="http://schemas.microsoft.com/office/drawing/2014/main" id="{CD349232-986E-44D3-A206-0F018A679E1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5204893" y="358902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8" name="Text Box 13">
                <a:extLst>
                  <a:ext uri="{FF2B5EF4-FFF2-40B4-BE49-F238E27FC236}">
                    <a16:creationId xmlns:a16="http://schemas.microsoft.com/office/drawing/2014/main" id="{87475B0A-9EA9-473F-B749-80FA6929045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17180">
                <a:off x="5498882" y="4138198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9" name="Text Box 13">
                <a:extLst>
                  <a:ext uri="{FF2B5EF4-FFF2-40B4-BE49-F238E27FC236}">
                    <a16:creationId xmlns:a16="http://schemas.microsoft.com/office/drawing/2014/main" id="{9591B013-3394-4611-A285-D3375CD4F3D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759886">
                <a:off x="6137615" y="4138198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60" name="Text Box 13">
                <a:extLst>
                  <a:ext uri="{FF2B5EF4-FFF2-40B4-BE49-F238E27FC236}">
                    <a16:creationId xmlns:a16="http://schemas.microsoft.com/office/drawing/2014/main" id="{F4E2C7BE-0489-4187-A274-100D03ECC38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6453028" y="358902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grpSp>
            <p:nvGrpSpPr>
              <p:cNvPr id="61" name="Gruppieren 83">
                <a:extLst>
                  <a:ext uri="{FF2B5EF4-FFF2-40B4-BE49-F238E27FC236}">
                    <a16:creationId xmlns:a16="http://schemas.microsoft.com/office/drawing/2014/main" id="{CCB40984-2702-44C9-BB64-BEF6B6AA4D83}"/>
                  </a:ext>
                </a:extLst>
              </p:cNvPr>
              <p:cNvGrpSpPr/>
              <p:nvPr/>
            </p:nvGrpSpPr>
            <p:grpSpPr bwMode="gray">
              <a:xfrm>
                <a:off x="4065323" y="1616714"/>
                <a:ext cx="4091706" cy="4091706"/>
                <a:chOff x="4065323" y="1616714"/>
                <a:chExt cx="4091706" cy="4091706"/>
              </a:xfrm>
            </p:grpSpPr>
            <p:sp>
              <p:nvSpPr>
                <p:cNvPr id="69" name="Bogen 91">
                  <a:extLst>
                    <a:ext uri="{FF2B5EF4-FFF2-40B4-BE49-F238E27FC236}">
                      <a16:creationId xmlns:a16="http://schemas.microsoft.com/office/drawing/2014/main" id="{9A3A7023-7421-4815-97F3-2D421C851FFF}"/>
                    </a:ext>
                  </a:extLst>
                </p:cNvPr>
                <p:cNvSpPr/>
                <p:nvPr/>
              </p:nvSpPr>
              <p:spPr bwMode="gray">
                <a:xfrm>
                  <a:off x="4065323" y="1616715"/>
                  <a:ext cx="4091706" cy="4091704"/>
                </a:xfrm>
                <a:prstGeom prst="arc">
                  <a:avLst>
                    <a:gd name="adj1" fmla="val 16233113"/>
                    <a:gd name="adj2" fmla="val 8958603"/>
                  </a:avLst>
                </a:prstGeom>
                <a:noFill/>
                <a:ln w="19050" cap="flat" cmpd="sng" algn="ctr">
                  <a:solidFill>
                    <a:srgbClr val="2C3E50"/>
                  </a:solidFill>
                  <a:prstDash val="solid"/>
                  <a:headEnd type="oval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Bogen 92">
                  <a:extLst>
                    <a:ext uri="{FF2B5EF4-FFF2-40B4-BE49-F238E27FC236}">
                      <a16:creationId xmlns:a16="http://schemas.microsoft.com/office/drawing/2014/main" id="{88F0A8ED-EE6E-4930-9BB4-DFA70B4446AC}"/>
                    </a:ext>
                  </a:extLst>
                </p:cNvPr>
                <p:cNvSpPr/>
                <p:nvPr/>
              </p:nvSpPr>
              <p:spPr bwMode="gray">
                <a:xfrm rot="5741105">
                  <a:off x="4065323" y="1616715"/>
                  <a:ext cx="4091706" cy="4091704"/>
                </a:xfrm>
                <a:prstGeom prst="arc">
                  <a:avLst>
                    <a:gd name="adj1" fmla="val 3427261"/>
                    <a:gd name="adj2" fmla="val 10299158"/>
                  </a:avLst>
                </a:prstGeom>
                <a:noFill/>
                <a:ln w="19050" cap="flat" cmpd="sng" algn="ctr">
                  <a:solidFill>
                    <a:sysClr val="window" lastClr="FFFFFF">
                      <a:lumMod val="65000"/>
                    </a:sysClr>
                  </a:solidFill>
                  <a:prstDash val="solid"/>
                  <a:headEnd type="oval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2" name="Gruppieren 84">
                <a:extLst>
                  <a:ext uri="{FF2B5EF4-FFF2-40B4-BE49-F238E27FC236}">
                    <a16:creationId xmlns:a16="http://schemas.microsoft.com/office/drawing/2014/main" id="{E1D261D7-6C5C-403F-A57A-F0F60BCB141B}"/>
                  </a:ext>
                </a:extLst>
              </p:cNvPr>
              <p:cNvGrpSpPr/>
              <p:nvPr/>
            </p:nvGrpSpPr>
            <p:grpSpPr>
              <a:xfrm>
                <a:off x="4432339" y="2134180"/>
                <a:ext cx="3265420" cy="3115249"/>
                <a:chOff x="4432339" y="2134180"/>
                <a:chExt cx="3265420" cy="3115249"/>
              </a:xfrm>
            </p:grpSpPr>
            <p:sp>
              <p:nvSpPr>
                <p:cNvPr id="63" name="Text Box 13">
                  <a:extLst>
                    <a:ext uri="{FF2B5EF4-FFF2-40B4-BE49-F238E27FC236}">
                      <a16:creationId xmlns:a16="http://schemas.microsoft.com/office/drawing/2014/main" id="{92001EE5-0D67-450A-AAC8-68F48DFFEF3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9611809">
                  <a:off x="5562263" y="3776766"/>
                  <a:ext cx="2087165" cy="145519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</a:t>
                  </a:r>
                </a:p>
              </p:txBody>
            </p:sp>
            <p:sp>
              <p:nvSpPr>
                <p:cNvPr id="64" name="Text Box 13">
                  <a:extLst>
                    <a:ext uri="{FF2B5EF4-FFF2-40B4-BE49-F238E27FC236}">
                      <a16:creationId xmlns:a16="http://schemas.microsoft.com/office/drawing/2014/main" id="{5A8D6B24-338A-402E-928D-B7C66482428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762674">
                  <a:off x="4548720" y="3794235"/>
                  <a:ext cx="2087165" cy="145519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DESCRIPTION</a:t>
                  </a:r>
                </a:p>
              </p:txBody>
            </p:sp>
            <p:sp>
              <p:nvSpPr>
                <p:cNvPr id="65" name="Text Box 13">
                  <a:extLst>
                    <a:ext uri="{FF2B5EF4-FFF2-40B4-BE49-F238E27FC236}">
                      <a16:creationId xmlns:a16="http://schemas.microsoft.com/office/drawing/2014/main" id="{6D0F9FF5-4D9D-40A9-89DD-1EAB091902A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9878629">
                  <a:off x="4591790" y="2134180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6" name="Text Box 13">
                  <a:extLst>
                    <a:ext uri="{FF2B5EF4-FFF2-40B4-BE49-F238E27FC236}">
                      <a16:creationId xmlns:a16="http://schemas.microsoft.com/office/drawing/2014/main" id="{2996E49B-1CD9-46B0-9555-E21DFA0A82E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783367">
                  <a:off x="5466595" y="2153230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7" name="Text Box 13">
                  <a:extLst>
                    <a:ext uri="{FF2B5EF4-FFF2-40B4-BE49-F238E27FC236}">
                      <a16:creationId xmlns:a16="http://schemas.microsoft.com/office/drawing/2014/main" id="{B93EC5AC-E0DB-4FA4-80A8-FD77C838070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5400000">
                  <a:off x="5926559" y="2923256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8" name="Text Box 13">
                  <a:extLst>
                    <a:ext uri="{FF2B5EF4-FFF2-40B4-BE49-F238E27FC236}">
                      <a16:creationId xmlns:a16="http://schemas.microsoft.com/office/drawing/2014/main" id="{9D0F3939-50F9-4832-AF2A-7D5D5A86EF4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4115539" y="2896735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</p:grpSp>
        </p:grpSp>
      </p:grpSp>
      <p:graphicFrame>
        <p:nvGraphicFramePr>
          <p:cNvPr id="82" name="Inhaltsplatzhalter 2">
            <a:extLst>
              <a:ext uri="{FF2B5EF4-FFF2-40B4-BE49-F238E27FC236}">
                <a16:creationId xmlns:a16="http://schemas.microsoft.com/office/drawing/2014/main" id="{4181D915-7E85-4415-B549-60BE34295D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216113"/>
              </p:ext>
            </p:extLst>
          </p:nvPr>
        </p:nvGraphicFramePr>
        <p:xfrm>
          <a:off x="1397374" y="2657433"/>
          <a:ext cx="8296159" cy="427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3" name="Inhaltsplatzhalter 2">
            <a:extLst>
              <a:ext uri="{FF2B5EF4-FFF2-40B4-BE49-F238E27FC236}">
                <a16:creationId xmlns:a16="http://schemas.microsoft.com/office/drawing/2014/main" id="{DEC5DC0F-8918-4573-8B5D-1361313301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8187164"/>
              </p:ext>
            </p:extLst>
          </p:nvPr>
        </p:nvGraphicFramePr>
        <p:xfrm>
          <a:off x="2844322" y="3403558"/>
          <a:ext cx="5402263" cy="2787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4" name="METRO ICON - location points">
            <a:extLst>
              <a:ext uri="{FF2B5EF4-FFF2-40B4-BE49-F238E27FC236}">
                <a16:creationId xmlns:a16="http://schemas.microsoft.com/office/drawing/2014/main" id="{394EFC1F-2815-4C16-99F4-617037A8B1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70903" y="4451308"/>
            <a:ext cx="749100" cy="692150"/>
            <a:chOff x="3221859" y="3407651"/>
            <a:chExt cx="561645" cy="518949"/>
          </a:xfrm>
          <a:solidFill>
            <a:srgbClr val="9BBB59"/>
          </a:solidFill>
          <a:effectLst>
            <a:outerShdw blurRad="2159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5" name="Freeform 21">
              <a:extLst>
                <a:ext uri="{FF2B5EF4-FFF2-40B4-BE49-F238E27FC236}">
                  <a16:creationId xmlns:a16="http://schemas.microsoft.com/office/drawing/2014/main" id="{B55EE4CC-EBB4-446D-B4FE-A0FB7BDED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859" y="3578508"/>
              <a:ext cx="219103" cy="348092"/>
            </a:xfrm>
            <a:custGeom>
              <a:avLst/>
              <a:gdLst>
                <a:gd name="T0" fmla="*/ 87 w 173"/>
                <a:gd name="T1" fmla="*/ 0 h 277"/>
                <a:gd name="T2" fmla="*/ 0 w 173"/>
                <a:gd name="T3" fmla="*/ 87 h 277"/>
                <a:gd name="T4" fmla="*/ 87 w 173"/>
                <a:gd name="T5" fmla="*/ 277 h 277"/>
                <a:gd name="T6" fmla="*/ 173 w 173"/>
                <a:gd name="T7" fmla="*/ 87 h 277"/>
                <a:gd name="T8" fmla="*/ 87 w 173"/>
                <a:gd name="T9" fmla="*/ 0 h 277"/>
                <a:gd name="T10" fmla="*/ 87 w 173"/>
                <a:gd name="T11" fmla="*/ 139 h 277"/>
                <a:gd name="T12" fmla="*/ 35 w 173"/>
                <a:gd name="T13" fmla="*/ 87 h 277"/>
                <a:gd name="T14" fmla="*/ 87 w 173"/>
                <a:gd name="T15" fmla="*/ 35 h 277"/>
                <a:gd name="T16" fmla="*/ 139 w 173"/>
                <a:gd name="T17" fmla="*/ 87 h 277"/>
                <a:gd name="T18" fmla="*/ 87 w 173"/>
                <a:gd name="T19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3" h="277">
                  <a:moveTo>
                    <a:pt x="87" y="0"/>
                  </a:moveTo>
                  <a:cubicBezTo>
                    <a:pt x="39" y="0"/>
                    <a:pt x="0" y="39"/>
                    <a:pt x="0" y="87"/>
                  </a:cubicBezTo>
                  <a:cubicBezTo>
                    <a:pt x="0" y="173"/>
                    <a:pt x="87" y="277"/>
                    <a:pt x="87" y="277"/>
                  </a:cubicBezTo>
                  <a:cubicBezTo>
                    <a:pt x="87" y="277"/>
                    <a:pt x="173" y="173"/>
                    <a:pt x="173" y="87"/>
                  </a:cubicBezTo>
                  <a:cubicBezTo>
                    <a:pt x="173" y="39"/>
                    <a:pt x="135" y="0"/>
                    <a:pt x="87" y="0"/>
                  </a:cubicBezTo>
                  <a:close/>
                  <a:moveTo>
                    <a:pt x="87" y="139"/>
                  </a:moveTo>
                  <a:cubicBezTo>
                    <a:pt x="58" y="139"/>
                    <a:pt x="35" y="115"/>
                    <a:pt x="35" y="87"/>
                  </a:cubicBezTo>
                  <a:cubicBezTo>
                    <a:pt x="35" y="58"/>
                    <a:pt x="58" y="35"/>
                    <a:pt x="87" y="35"/>
                  </a:cubicBezTo>
                  <a:cubicBezTo>
                    <a:pt x="115" y="35"/>
                    <a:pt x="139" y="58"/>
                    <a:pt x="139" y="87"/>
                  </a:cubicBezTo>
                  <a:cubicBezTo>
                    <a:pt x="139" y="115"/>
                    <a:pt x="115" y="139"/>
                    <a:pt x="87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6D023FDA-A136-4C15-B6B1-3BD1F91CF5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3683" y="3407651"/>
              <a:ext cx="319821" cy="514187"/>
            </a:xfrm>
            <a:custGeom>
              <a:avLst/>
              <a:gdLst>
                <a:gd name="T0" fmla="*/ 127 w 254"/>
                <a:gd name="T1" fmla="*/ 0 h 407"/>
                <a:gd name="T2" fmla="*/ 0 w 254"/>
                <a:gd name="T3" fmla="*/ 127 h 407"/>
                <a:gd name="T4" fmla="*/ 127 w 254"/>
                <a:gd name="T5" fmla="*/ 407 h 407"/>
                <a:gd name="T6" fmla="*/ 254 w 254"/>
                <a:gd name="T7" fmla="*/ 127 h 407"/>
                <a:gd name="T8" fmla="*/ 127 w 254"/>
                <a:gd name="T9" fmla="*/ 0 h 407"/>
                <a:gd name="T10" fmla="*/ 127 w 254"/>
                <a:gd name="T11" fmla="*/ 197 h 407"/>
                <a:gd name="T12" fmla="*/ 58 w 254"/>
                <a:gd name="T13" fmla="*/ 129 h 407"/>
                <a:gd name="T14" fmla="*/ 127 w 254"/>
                <a:gd name="T15" fmla="*/ 60 h 407"/>
                <a:gd name="T16" fmla="*/ 196 w 254"/>
                <a:gd name="T17" fmla="*/ 129 h 407"/>
                <a:gd name="T18" fmla="*/ 127 w 254"/>
                <a:gd name="T19" fmla="*/ 19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407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249"/>
                    <a:pt x="127" y="407"/>
                    <a:pt x="127" y="407"/>
                  </a:cubicBezTo>
                  <a:cubicBezTo>
                    <a:pt x="127" y="407"/>
                    <a:pt x="254" y="249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127" y="197"/>
                  </a:moveTo>
                  <a:cubicBezTo>
                    <a:pt x="89" y="197"/>
                    <a:pt x="58" y="167"/>
                    <a:pt x="58" y="129"/>
                  </a:cubicBezTo>
                  <a:cubicBezTo>
                    <a:pt x="58" y="91"/>
                    <a:pt x="89" y="60"/>
                    <a:pt x="127" y="60"/>
                  </a:cubicBezTo>
                  <a:cubicBezTo>
                    <a:pt x="165" y="60"/>
                    <a:pt x="196" y="91"/>
                    <a:pt x="196" y="129"/>
                  </a:cubicBezTo>
                  <a:cubicBezTo>
                    <a:pt x="196" y="167"/>
                    <a:pt x="165" y="197"/>
                    <a:pt x="127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grpSp>
        <p:nvGrpSpPr>
          <p:cNvPr id="87" name="Gruppieren 29">
            <a:extLst>
              <a:ext uri="{FF2B5EF4-FFF2-40B4-BE49-F238E27FC236}">
                <a16:creationId xmlns:a16="http://schemas.microsoft.com/office/drawing/2014/main" id="{A1A55E84-0DE4-4B1B-A8C8-91F32A5A865D}"/>
              </a:ext>
            </a:extLst>
          </p:cNvPr>
          <p:cNvGrpSpPr/>
          <p:nvPr/>
        </p:nvGrpSpPr>
        <p:grpSpPr bwMode="gray">
          <a:xfrm>
            <a:off x="4647150" y="3956008"/>
            <a:ext cx="1796608" cy="1682752"/>
            <a:chOff x="4878851" y="2529545"/>
            <a:chExt cx="2404377" cy="2252007"/>
          </a:xfrm>
        </p:grpSpPr>
        <p:sp>
          <p:nvSpPr>
            <p:cNvPr id="88" name="Text Box 13">
              <a:extLst>
                <a:ext uri="{FF2B5EF4-FFF2-40B4-BE49-F238E27FC236}">
                  <a16:creationId xmlns:a16="http://schemas.microsoft.com/office/drawing/2014/main" id="{E7F56519-1037-48CC-95A8-B0F8C06F86F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065256" y="2529545"/>
              <a:ext cx="2014540" cy="20710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89" name="Text Box 13">
              <a:extLst>
                <a:ext uri="{FF2B5EF4-FFF2-40B4-BE49-F238E27FC236}">
                  <a16:creationId xmlns:a16="http://schemas.microsoft.com/office/drawing/2014/main" id="{FAA7A370-3C25-4B65-9CF3-B5A76F28DB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7726684">
              <a:off x="5338981" y="2829650"/>
              <a:ext cx="2014540" cy="18739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90" name="Text Box 13">
              <a:extLst>
                <a:ext uri="{FF2B5EF4-FFF2-40B4-BE49-F238E27FC236}">
                  <a16:creationId xmlns:a16="http://schemas.microsoft.com/office/drawing/2014/main" id="{3C57A158-5560-4A2E-8CE6-46E252BA5CF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3915106">
              <a:off x="4808558" y="2837305"/>
              <a:ext cx="2014540" cy="18739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</p:grpSp>
      <p:grpSp>
        <p:nvGrpSpPr>
          <p:cNvPr id="151" name="Gruppieren 71">
            <a:extLst>
              <a:ext uri="{FF2B5EF4-FFF2-40B4-BE49-F238E27FC236}">
                <a16:creationId xmlns:a16="http://schemas.microsoft.com/office/drawing/2014/main" id="{3190D230-0E01-44A9-8CAA-C75CD47FAA5E}"/>
              </a:ext>
            </a:extLst>
          </p:cNvPr>
          <p:cNvGrpSpPr/>
          <p:nvPr/>
        </p:nvGrpSpPr>
        <p:grpSpPr>
          <a:xfrm>
            <a:off x="7090886" y="645957"/>
            <a:ext cx="4622466" cy="4128664"/>
            <a:chOff x="3581521" y="1441812"/>
            <a:chExt cx="5017400" cy="4481407"/>
          </a:xfrm>
        </p:grpSpPr>
        <p:graphicFrame>
          <p:nvGraphicFramePr>
            <p:cNvPr id="92" name="Inhaltsplatzhalter 1">
              <a:extLst>
                <a:ext uri="{FF2B5EF4-FFF2-40B4-BE49-F238E27FC236}">
                  <a16:creationId xmlns:a16="http://schemas.microsoft.com/office/drawing/2014/main" id="{3051D23A-F124-482E-83BF-B4C3FF9B7BD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30240099"/>
                </p:ext>
              </p:extLst>
            </p:nvPr>
          </p:nvGraphicFramePr>
          <p:xfrm>
            <a:off x="3581521" y="1563080"/>
            <a:ext cx="5017400" cy="4180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93" name="Inhaltsplatzhalter 1">
              <a:extLst>
                <a:ext uri="{FF2B5EF4-FFF2-40B4-BE49-F238E27FC236}">
                  <a16:creationId xmlns:a16="http://schemas.microsoft.com/office/drawing/2014/main" id="{4DE764D4-2C05-4F10-93E6-6173A037142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956393"/>
                </p:ext>
              </p:extLst>
            </p:nvPr>
          </p:nvGraphicFramePr>
          <p:xfrm>
            <a:off x="4556912" y="2416658"/>
            <a:ext cx="3033496" cy="24390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94" name="Inhaltsplatzhalter 1">
              <a:extLst>
                <a:ext uri="{FF2B5EF4-FFF2-40B4-BE49-F238E27FC236}">
                  <a16:creationId xmlns:a16="http://schemas.microsoft.com/office/drawing/2014/main" id="{91ABAF92-8F3D-4274-B66F-AB42A60498E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94740243"/>
                </p:ext>
              </p:extLst>
            </p:nvPr>
          </p:nvGraphicFramePr>
          <p:xfrm>
            <a:off x="4986836" y="2775219"/>
            <a:ext cx="2159360" cy="17362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pSp>
          <p:nvGrpSpPr>
            <p:cNvPr id="95" name="Gruppieren 81">
              <a:extLst>
                <a:ext uri="{FF2B5EF4-FFF2-40B4-BE49-F238E27FC236}">
                  <a16:creationId xmlns:a16="http://schemas.microsoft.com/office/drawing/2014/main" id="{BF55F362-0276-4082-9BAF-E09B1470398A}"/>
                </a:ext>
              </a:extLst>
            </p:cNvPr>
            <p:cNvGrpSpPr/>
            <p:nvPr/>
          </p:nvGrpSpPr>
          <p:grpSpPr>
            <a:xfrm>
              <a:off x="5069112" y="2691399"/>
              <a:ext cx="1960308" cy="1935312"/>
              <a:chOff x="5069112" y="2691399"/>
              <a:chExt cx="1960308" cy="1935312"/>
            </a:xfrm>
          </p:grpSpPr>
          <p:sp>
            <p:nvSpPr>
              <p:cNvPr id="147" name="Ellipse 138">
                <a:extLst>
                  <a:ext uri="{FF2B5EF4-FFF2-40B4-BE49-F238E27FC236}">
                    <a16:creationId xmlns:a16="http://schemas.microsoft.com/office/drawing/2014/main" id="{68EA0294-1852-4621-AD67-94BB7DED66CF}"/>
                  </a:ext>
                </a:extLst>
              </p:cNvPr>
              <p:cNvSpPr/>
              <p:nvPr/>
            </p:nvSpPr>
            <p:spPr>
              <a:xfrm>
                <a:off x="6048282" y="2691399"/>
                <a:ext cx="245808" cy="24580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latin typeface="Bebas Neue" panose="020B0506020202020201" pitchFamily="34" charset="0"/>
                  </a:rPr>
                  <a:t>A</a:t>
                </a:r>
              </a:p>
            </p:txBody>
          </p:sp>
          <p:sp>
            <p:nvSpPr>
              <p:cNvPr id="148" name="Ellipse 139">
                <a:extLst>
                  <a:ext uri="{FF2B5EF4-FFF2-40B4-BE49-F238E27FC236}">
                    <a16:creationId xmlns:a16="http://schemas.microsoft.com/office/drawing/2014/main" id="{969E1B61-6206-4A69-ACF7-18C196BDC99B}"/>
                  </a:ext>
                </a:extLst>
              </p:cNvPr>
              <p:cNvSpPr/>
              <p:nvPr/>
            </p:nvSpPr>
            <p:spPr>
              <a:xfrm>
                <a:off x="6783612" y="3662949"/>
                <a:ext cx="245808" cy="24580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latin typeface="Bebas Neue" panose="020B0506020202020201" pitchFamily="34" charset="0"/>
                  </a:rPr>
                  <a:t>B</a:t>
                </a:r>
              </a:p>
            </p:txBody>
          </p:sp>
          <p:sp>
            <p:nvSpPr>
              <p:cNvPr id="149" name="Ellipse 140">
                <a:extLst>
                  <a:ext uri="{FF2B5EF4-FFF2-40B4-BE49-F238E27FC236}">
                    <a16:creationId xmlns:a16="http://schemas.microsoft.com/office/drawing/2014/main" id="{F4034201-72DA-492D-B733-0990D96B5CF5}"/>
                  </a:ext>
                </a:extLst>
              </p:cNvPr>
              <p:cNvSpPr/>
              <p:nvPr/>
            </p:nvSpPr>
            <p:spPr>
              <a:xfrm>
                <a:off x="5794917" y="4380903"/>
                <a:ext cx="245808" cy="2458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solidFill>
                      <a:schemeClr val="tx1"/>
                    </a:solidFill>
                    <a:latin typeface="Bebas Neue" panose="020B0506020202020201" pitchFamily="34" charset="0"/>
                  </a:rPr>
                  <a:t>C</a:t>
                </a:r>
              </a:p>
            </p:txBody>
          </p:sp>
          <p:sp>
            <p:nvSpPr>
              <p:cNvPr id="150" name="Ellipse 141">
                <a:extLst>
                  <a:ext uri="{FF2B5EF4-FFF2-40B4-BE49-F238E27FC236}">
                    <a16:creationId xmlns:a16="http://schemas.microsoft.com/office/drawing/2014/main" id="{27CD9BBC-6F3F-4C88-A893-B829EA5D1956}"/>
                  </a:ext>
                </a:extLst>
              </p:cNvPr>
              <p:cNvSpPr/>
              <p:nvPr/>
            </p:nvSpPr>
            <p:spPr>
              <a:xfrm>
                <a:off x="5069112" y="3416786"/>
                <a:ext cx="245808" cy="24580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solidFill>
                      <a:schemeClr val="tx1"/>
                    </a:solidFill>
                    <a:latin typeface="Bebas Neue" panose="020B0506020202020201" pitchFamily="34" charset="0"/>
                  </a:rPr>
                  <a:t>D</a:t>
                </a:r>
              </a:p>
            </p:txBody>
          </p:sp>
        </p:grpSp>
        <p:grpSp>
          <p:nvGrpSpPr>
            <p:cNvPr id="96" name="Gruppieren 84">
              <a:extLst>
                <a:ext uri="{FF2B5EF4-FFF2-40B4-BE49-F238E27FC236}">
                  <a16:creationId xmlns:a16="http://schemas.microsoft.com/office/drawing/2014/main" id="{5C6CFB90-441D-4DA2-9BEA-DCE7C7BB9E6D}"/>
                </a:ext>
              </a:extLst>
            </p:cNvPr>
            <p:cNvGrpSpPr/>
            <p:nvPr/>
          </p:nvGrpSpPr>
          <p:grpSpPr>
            <a:xfrm>
              <a:off x="4018895" y="1633214"/>
              <a:ext cx="4045316" cy="4054012"/>
              <a:chOff x="4018895" y="1633214"/>
              <a:chExt cx="4045316" cy="4054012"/>
            </a:xfrm>
          </p:grpSpPr>
          <p:sp>
            <p:nvSpPr>
              <p:cNvPr id="127" name="Text Box 13">
                <a:extLst>
                  <a:ext uri="{FF2B5EF4-FFF2-40B4-BE49-F238E27FC236}">
                    <a16:creationId xmlns:a16="http://schemas.microsoft.com/office/drawing/2014/main" id="{CF79B8B7-72CE-448F-9300-F8E590C219E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724850">
                <a:off x="5870967" y="196300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28" name="Text Box 13">
                <a:extLst>
                  <a:ext uri="{FF2B5EF4-FFF2-40B4-BE49-F238E27FC236}">
                    <a16:creationId xmlns:a16="http://schemas.microsoft.com/office/drawing/2014/main" id="{1A6336A9-CD5C-43B2-9EA3-920A2554FE6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748901">
                <a:off x="6352486" y="212996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29" name="Text Box 13">
                <a:extLst>
                  <a:ext uri="{FF2B5EF4-FFF2-40B4-BE49-F238E27FC236}">
                    <a16:creationId xmlns:a16="http://schemas.microsoft.com/office/drawing/2014/main" id="{17B30CB9-39A1-4EF9-8C3E-78A9188DA49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62202">
                <a:off x="6762196" y="2423039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0" name="Text Box 13">
                <a:extLst>
                  <a:ext uri="{FF2B5EF4-FFF2-40B4-BE49-F238E27FC236}">
                    <a16:creationId xmlns:a16="http://schemas.microsoft.com/office/drawing/2014/main" id="{4D5EDEAC-A27C-4775-BED9-0593E35E397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894711">
                <a:off x="7054373" y="281987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1" name="Text Box 13">
                <a:extLst>
                  <a:ext uri="{FF2B5EF4-FFF2-40B4-BE49-F238E27FC236}">
                    <a16:creationId xmlns:a16="http://schemas.microsoft.com/office/drawing/2014/main" id="{15B33D2A-0735-42AB-B0E7-DC5C16CA485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886980">
                <a:off x="7216300" y="330402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2" name="Text Box 13">
                <a:extLst>
                  <a:ext uri="{FF2B5EF4-FFF2-40B4-BE49-F238E27FC236}">
                    <a16:creationId xmlns:a16="http://schemas.microsoft.com/office/drawing/2014/main" id="{C02E9E7C-4057-471D-822D-3CB70677452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16689">
                <a:off x="7217199" y="383409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3" name="Text Box 13">
                <a:extLst>
                  <a:ext uri="{FF2B5EF4-FFF2-40B4-BE49-F238E27FC236}">
                    <a16:creationId xmlns:a16="http://schemas.microsoft.com/office/drawing/2014/main" id="{D92A7453-7E3E-465A-891E-238E494D36E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373689">
                <a:off x="7073104" y="4281181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4" name="Text Box 13">
                <a:extLst>
                  <a:ext uri="{FF2B5EF4-FFF2-40B4-BE49-F238E27FC236}">
                    <a16:creationId xmlns:a16="http://schemas.microsoft.com/office/drawing/2014/main" id="{34C3ED4C-6398-4ACC-BF91-4D669738CEC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632798">
                <a:off x="6785202" y="469101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5" name="Text Box 13">
                <a:extLst>
                  <a:ext uri="{FF2B5EF4-FFF2-40B4-BE49-F238E27FC236}">
                    <a16:creationId xmlns:a16="http://schemas.microsoft.com/office/drawing/2014/main" id="{5E92F490-BB02-4A6A-8B6B-1BB8B559B43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627308">
                <a:off x="6357255" y="5011248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6" name="Text Box 13">
                <a:extLst>
                  <a:ext uri="{FF2B5EF4-FFF2-40B4-BE49-F238E27FC236}">
                    <a16:creationId xmlns:a16="http://schemas.microsoft.com/office/drawing/2014/main" id="{2CE9358D-8FCF-4A2E-842E-98AA823F304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829557">
                <a:off x="5883155" y="516524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7" name="Text Box 13">
                <a:extLst>
                  <a:ext uri="{FF2B5EF4-FFF2-40B4-BE49-F238E27FC236}">
                    <a16:creationId xmlns:a16="http://schemas.microsoft.com/office/drawing/2014/main" id="{114542C8-B85D-4126-80E0-E5F16CE9DFC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684822">
                <a:off x="5383407" y="517000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8" name="Text Box 13">
                <a:extLst>
                  <a:ext uri="{FF2B5EF4-FFF2-40B4-BE49-F238E27FC236}">
                    <a16:creationId xmlns:a16="http://schemas.microsoft.com/office/drawing/2014/main" id="{7DDB0D4D-DE86-42A5-842A-857AE77BA54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742796">
                <a:off x="4891413" y="501625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9" name="Text Box 13">
                <a:extLst>
                  <a:ext uri="{FF2B5EF4-FFF2-40B4-BE49-F238E27FC236}">
                    <a16:creationId xmlns:a16="http://schemas.microsoft.com/office/drawing/2014/main" id="{82503F91-784B-4D92-8706-DD9D05EFF7B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791347">
                <a:off x="4471691" y="4711410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0" name="Text Box 13">
                <a:extLst>
                  <a:ext uri="{FF2B5EF4-FFF2-40B4-BE49-F238E27FC236}">
                    <a16:creationId xmlns:a16="http://schemas.microsoft.com/office/drawing/2014/main" id="{FF1ACB02-5D34-447F-A9FA-77F84B45160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017724">
                <a:off x="4168202" y="428599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1" name="Text Box 13">
                <a:extLst>
                  <a:ext uri="{FF2B5EF4-FFF2-40B4-BE49-F238E27FC236}">
                    <a16:creationId xmlns:a16="http://schemas.microsoft.com/office/drawing/2014/main" id="{0C2A7BDD-0AC3-4737-B789-A5C5CE4BB9E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913179">
                <a:off x="4020563" y="3825129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2" name="Text Box 13">
                <a:extLst>
                  <a:ext uri="{FF2B5EF4-FFF2-40B4-BE49-F238E27FC236}">
                    <a16:creationId xmlns:a16="http://schemas.microsoft.com/office/drawing/2014/main" id="{97621A2F-584E-49F5-AF95-7102F5C6109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2703">
                <a:off x="4018895" y="331013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3" name="Text Box 13">
                <a:extLst>
                  <a:ext uri="{FF2B5EF4-FFF2-40B4-BE49-F238E27FC236}">
                    <a16:creationId xmlns:a16="http://schemas.microsoft.com/office/drawing/2014/main" id="{5BB76254-EEF0-41E5-895F-A3E7D62CDFE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11869">
                <a:off x="4168804" y="284903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4" name="Text Box 13">
                <a:extLst>
                  <a:ext uri="{FF2B5EF4-FFF2-40B4-BE49-F238E27FC236}">
                    <a16:creationId xmlns:a16="http://schemas.microsoft.com/office/drawing/2014/main" id="{21C10195-0942-42B0-95AB-74AFB8EE396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572740">
                <a:off x="4471691" y="2435856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5" name="Text Box 13">
                <a:extLst>
                  <a:ext uri="{FF2B5EF4-FFF2-40B4-BE49-F238E27FC236}">
                    <a16:creationId xmlns:a16="http://schemas.microsoft.com/office/drawing/2014/main" id="{CB8E775E-078B-4D27-9EDC-4AEED48EE02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646552">
                <a:off x="4886650" y="212996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6" name="Text Box 13">
                <a:extLst>
                  <a:ext uri="{FF2B5EF4-FFF2-40B4-BE49-F238E27FC236}">
                    <a16:creationId xmlns:a16="http://schemas.microsoft.com/office/drawing/2014/main" id="{74A38B41-C587-4CE5-9FE2-E1E3ABBE34D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995527">
                <a:off x="5364238" y="1967798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</p:grpSp>
        <p:grpSp>
          <p:nvGrpSpPr>
            <p:cNvPr id="97" name="Gruppieren 87">
              <a:extLst>
                <a:ext uri="{FF2B5EF4-FFF2-40B4-BE49-F238E27FC236}">
                  <a16:creationId xmlns:a16="http://schemas.microsoft.com/office/drawing/2014/main" id="{F9D3980A-15ED-4939-A5DE-8D6BA16FA372}"/>
                </a:ext>
              </a:extLst>
            </p:cNvPr>
            <p:cNvGrpSpPr/>
            <p:nvPr/>
          </p:nvGrpSpPr>
          <p:grpSpPr>
            <a:xfrm>
              <a:off x="5353432" y="2999988"/>
              <a:ext cx="1343578" cy="1454573"/>
              <a:chOff x="5353432" y="2999988"/>
              <a:chExt cx="1343578" cy="1454573"/>
            </a:xfrm>
          </p:grpSpPr>
          <p:sp>
            <p:nvSpPr>
              <p:cNvPr id="119" name="Text Box 13">
                <a:extLst>
                  <a:ext uri="{FF2B5EF4-FFF2-40B4-BE49-F238E27FC236}">
                    <a16:creationId xmlns:a16="http://schemas.microsoft.com/office/drawing/2014/main" id="{76935743-8841-490B-B19D-C783DFB4907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109974">
                <a:off x="5759675" y="3046178"/>
                <a:ext cx="983525" cy="89114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0" name="Text Box 13">
                <a:extLst>
                  <a:ext uri="{FF2B5EF4-FFF2-40B4-BE49-F238E27FC236}">
                    <a16:creationId xmlns:a16="http://schemas.microsoft.com/office/drawing/2014/main" id="{1FD6D53F-9552-49F6-B7ED-EB2F54AD6ED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235947">
                <a:off x="5380972" y="3028069"/>
                <a:ext cx="983525" cy="89114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/>
                  <a:t>Placeholder</a:t>
                </a:r>
              </a:p>
            </p:txBody>
          </p:sp>
          <p:sp>
            <p:nvSpPr>
              <p:cNvPr id="121" name="Text Box 13">
                <a:extLst>
                  <a:ext uri="{FF2B5EF4-FFF2-40B4-BE49-F238E27FC236}">
                    <a16:creationId xmlns:a16="http://schemas.microsoft.com/office/drawing/2014/main" id="{D17927F4-4F24-4333-A76E-3DFECEAA754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847782">
                <a:off x="5714642" y="3479903"/>
                <a:ext cx="1083516" cy="86580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2" name="Text Box 13">
                <a:extLst>
                  <a:ext uri="{FF2B5EF4-FFF2-40B4-BE49-F238E27FC236}">
                    <a16:creationId xmlns:a16="http://schemas.microsoft.com/office/drawing/2014/main" id="{4D6DE54E-56C9-4341-B7CD-8900C09B55D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719398">
                <a:off x="5244574" y="3457069"/>
                <a:ext cx="1083516" cy="86580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/>
                  <a:t>Placeholder</a:t>
                </a:r>
              </a:p>
            </p:txBody>
          </p:sp>
          <p:sp>
            <p:nvSpPr>
              <p:cNvPr id="123" name="Text Box 13">
                <a:extLst>
                  <a:ext uri="{FF2B5EF4-FFF2-40B4-BE49-F238E27FC236}">
                    <a16:creationId xmlns:a16="http://schemas.microsoft.com/office/drawing/2014/main" id="{A5F97855-34A0-4240-9A8E-BD8C0A1291A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672796">
                <a:off x="5742353" y="3241739"/>
                <a:ext cx="815559" cy="69401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4" name="Text Box 13">
                <a:extLst>
                  <a:ext uri="{FF2B5EF4-FFF2-40B4-BE49-F238E27FC236}">
                    <a16:creationId xmlns:a16="http://schemas.microsoft.com/office/drawing/2014/main" id="{74C30543-06F0-4D48-87F7-E8BFA0E2243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45918">
                <a:off x="5548219" y="3235902"/>
                <a:ext cx="815559" cy="69401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/>
                  <a:t>Placeholder</a:t>
                </a:r>
              </a:p>
            </p:txBody>
          </p:sp>
          <p:sp>
            <p:nvSpPr>
              <p:cNvPr id="125" name="Text Box 13">
                <a:extLst>
                  <a:ext uri="{FF2B5EF4-FFF2-40B4-BE49-F238E27FC236}">
                    <a16:creationId xmlns:a16="http://schemas.microsoft.com/office/drawing/2014/main" id="{6B48F678-CCA7-4006-AB45-86A5368CCC3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719398">
                <a:off x="5523589" y="3436649"/>
                <a:ext cx="805537" cy="71181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/>
                  <a:t>Placeholder</a:t>
                </a:r>
              </a:p>
            </p:txBody>
          </p:sp>
          <p:sp>
            <p:nvSpPr>
              <p:cNvPr id="126" name="Text Box 13">
                <a:extLst>
                  <a:ext uri="{FF2B5EF4-FFF2-40B4-BE49-F238E27FC236}">
                    <a16:creationId xmlns:a16="http://schemas.microsoft.com/office/drawing/2014/main" id="{C8F55D84-B6DD-4C6F-83D6-947C27E9A24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832531">
                <a:off x="5763651" y="3423232"/>
                <a:ext cx="805537" cy="71181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</p:grpSp>
        <p:grpSp>
          <p:nvGrpSpPr>
            <p:cNvPr id="98" name="Gruppieren 88">
              <a:extLst>
                <a:ext uri="{FF2B5EF4-FFF2-40B4-BE49-F238E27FC236}">
                  <a16:creationId xmlns:a16="http://schemas.microsoft.com/office/drawing/2014/main" id="{A2B2B4FC-447A-4B83-870F-5F40C0538C6B}"/>
                </a:ext>
              </a:extLst>
            </p:cNvPr>
            <p:cNvGrpSpPr/>
            <p:nvPr/>
          </p:nvGrpSpPr>
          <p:grpSpPr>
            <a:xfrm>
              <a:off x="3753238" y="1491320"/>
              <a:ext cx="4447873" cy="4431899"/>
              <a:chOff x="3753238" y="1491320"/>
              <a:chExt cx="4447873" cy="4431899"/>
            </a:xfrm>
          </p:grpSpPr>
          <p:sp>
            <p:nvSpPr>
              <p:cNvPr id="114" name="Text Box 13">
                <a:extLst>
                  <a:ext uri="{FF2B5EF4-FFF2-40B4-BE49-F238E27FC236}">
                    <a16:creationId xmlns:a16="http://schemas.microsoft.com/office/drawing/2014/main" id="{891F84C2-36EE-4C48-B526-11935239549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344874">
                <a:off x="3932047" y="149132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5" name="Text Box 13">
                <a:extLst>
                  <a:ext uri="{FF2B5EF4-FFF2-40B4-BE49-F238E27FC236}">
                    <a16:creationId xmlns:a16="http://schemas.microsoft.com/office/drawing/2014/main" id="{D86CB57F-11CB-477A-9D57-3BDB124CCAF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172106">
                <a:off x="3932047" y="149132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6" name="Text Box 13">
                <a:extLst>
                  <a:ext uri="{FF2B5EF4-FFF2-40B4-BE49-F238E27FC236}">
                    <a16:creationId xmlns:a16="http://schemas.microsoft.com/office/drawing/2014/main" id="{A01F0FB8-A0C3-4249-98F1-420E209F821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561094">
                <a:off x="4027297" y="147227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7" name="Text Box 13">
                <a:extLst>
                  <a:ext uri="{FF2B5EF4-FFF2-40B4-BE49-F238E27FC236}">
                    <a16:creationId xmlns:a16="http://schemas.microsoft.com/office/drawing/2014/main" id="{037B0AB4-B40B-43DF-A361-248533BC70A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419427">
                <a:off x="4053051" y="1687717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8" name="Text Box 13">
                <a:extLst>
                  <a:ext uri="{FF2B5EF4-FFF2-40B4-BE49-F238E27FC236}">
                    <a16:creationId xmlns:a16="http://schemas.microsoft.com/office/drawing/2014/main" id="{0B4D1FCB-FCB6-4EC9-8652-87E53463B5B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082132">
                <a:off x="3814926" y="1621042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</p:grpSp>
        <p:grpSp>
          <p:nvGrpSpPr>
            <p:cNvPr id="99" name="Gruppieren 89">
              <a:extLst>
                <a:ext uri="{FF2B5EF4-FFF2-40B4-BE49-F238E27FC236}">
                  <a16:creationId xmlns:a16="http://schemas.microsoft.com/office/drawing/2014/main" id="{E7BF8F31-D33F-471D-94EC-E468086043C7}"/>
                </a:ext>
              </a:extLst>
            </p:cNvPr>
            <p:cNvGrpSpPr/>
            <p:nvPr/>
          </p:nvGrpSpPr>
          <p:grpSpPr>
            <a:xfrm>
              <a:off x="3815483" y="1441812"/>
              <a:ext cx="4434672" cy="4441578"/>
              <a:chOff x="3815483" y="1441812"/>
              <a:chExt cx="4434672" cy="4441578"/>
            </a:xfrm>
          </p:grpSpPr>
          <p:sp>
            <p:nvSpPr>
              <p:cNvPr id="109" name="Bogen 100">
                <a:extLst>
                  <a:ext uri="{FF2B5EF4-FFF2-40B4-BE49-F238E27FC236}">
                    <a16:creationId xmlns:a16="http://schemas.microsoft.com/office/drawing/2014/main" id="{8FA67D5F-1A51-4A66-9326-334D45E6310E}"/>
                  </a:ext>
                </a:extLst>
              </p:cNvPr>
              <p:cNvSpPr/>
              <p:nvPr/>
            </p:nvSpPr>
            <p:spPr bwMode="gray">
              <a:xfrm rot="18151013">
                <a:off x="385000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0" name="Bogen 101">
                <a:extLst>
                  <a:ext uri="{FF2B5EF4-FFF2-40B4-BE49-F238E27FC236}">
                    <a16:creationId xmlns:a16="http://schemas.microsoft.com/office/drawing/2014/main" id="{F71E593F-E1AF-48D0-803E-051BB130A3D9}"/>
                  </a:ext>
                </a:extLst>
              </p:cNvPr>
              <p:cNvSpPr/>
              <p:nvPr/>
            </p:nvSpPr>
            <p:spPr bwMode="gray">
              <a:xfrm rot="903867">
                <a:off x="383619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1" name="Bogen 102">
                <a:extLst>
                  <a:ext uri="{FF2B5EF4-FFF2-40B4-BE49-F238E27FC236}">
                    <a16:creationId xmlns:a16="http://schemas.microsoft.com/office/drawing/2014/main" id="{293614E9-2E48-47A6-90E7-3A46B8FEAA6C}"/>
                  </a:ext>
                </a:extLst>
              </p:cNvPr>
              <p:cNvSpPr/>
              <p:nvPr/>
            </p:nvSpPr>
            <p:spPr bwMode="gray">
              <a:xfrm rot="5245074">
                <a:off x="383619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2" name="Bogen 103">
                <a:extLst>
                  <a:ext uri="{FF2B5EF4-FFF2-40B4-BE49-F238E27FC236}">
                    <a16:creationId xmlns:a16="http://schemas.microsoft.com/office/drawing/2014/main" id="{90BAE32B-A123-4BDD-99AB-0568DF674FA1}"/>
                  </a:ext>
                </a:extLst>
              </p:cNvPr>
              <p:cNvSpPr/>
              <p:nvPr/>
            </p:nvSpPr>
            <p:spPr bwMode="gray">
              <a:xfrm rot="9539145">
                <a:off x="3815483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3" name="Bogen 104">
                <a:extLst>
                  <a:ext uri="{FF2B5EF4-FFF2-40B4-BE49-F238E27FC236}">
                    <a16:creationId xmlns:a16="http://schemas.microsoft.com/office/drawing/2014/main" id="{B856B8DE-15DF-4AE8-A290-11CABC80C99A}"/>
                  </a:ext>
                </a:extLst>
              </p:cNvPr>
              <p:cNvSpPr/>
              <p:nvPr/>
            </p:nvSpPr>
            <p:spPr bwMode="gray">
              <a:xfrm rot="13810665">
                <a:off x="3822389" y="144181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00" name="Gruppieren 90">
              <a:extLst>
                <a:ext uri="{FF2B5EF4-FFF2-40B4-BE49-F238E27FC236}">
                  <a16:creationId xmlns:a16="http://schemas.microsoft.com/office/drawing/2014/main" id="{32EFF28E-D3D2-4F81-B7BC-4AD3E9C2D800}"/>
                </a:ext>
              </a:extLst>
            </p:cNvPr>
            <p:cNvGrpSpPr/>
            <p:nvPr/>
          </p:nvGrpSpPr>
          <p:grpSpPr>
            <a:xfrm>
              <a:off x="4964515" y="2660195"/>
              <a:ext cx="2103365" cy="2065259"/>
              <a:chOff x="4964515" y="2674484"/>
              <a:chExt cx="2103365" cy="2065259"/>
            </a:xfrm>
          </p:grpSpPr>
          <p:sp>
            <p:nvSpPr>
              <p:cNvPr id="101" name="Text Box 13">
                <a:extLst>
                  <a:ext uri="{FF2B5EF4-FFF2-40B4-BE49-F238E27FC236}">
                    <a16:creationId xmlns:a16="http://schemas.microsoft.com/office/drawing/2014/main" id="{AF688B9C-7404-4673-A227-F9FE58862E6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888994">
                <a:off x="5113888" y="2708627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2" name="Text Box 13">
                <a:extLst>
                  <a:ext uri="{FF2B5EF4-FFF2-40B4-BE49-F238E27FC236}">
                    <a16:creationId xmlns:a16="http://schemas.microsoft.com/office/drawing/2014/main" id="{96DE8D76-F030-4AB3-9239-D7AA9EEDB53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6593072">
                <a:off x="5036108" y="2773830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3" name="Text Box 13">
                <a:extLst>
                  <a:ext uri="{FF2B5EF4-FFF2-40B4-BE49-F238E27FC236}">
                    <a16:creationId xmlns:a16="http://schemas.microsoft.com/office/drawing/2014/main" id="{8DA914D2-61B0-4DC1-9C7B-EA644D0922E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429689">
                <a:off x="5032759" y="2735797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4" name="Text Box 13">
                <a:extLst>
                  <a:ext uri="{FF2B5EF4-FFF2-40B4-BE49-F238E27FC236}">
                    <a16:creationId xmlns:a16="http://schemas.microsoft.com/office/drawing/2014/main" id="{9813D971-E9C9-47F5-92F9-B87D59C3518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83892">
                <a:off x="5066263" y="2708628"/>
                <a:ext cx="1890018" cy="194672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5" name="Bogen 96">
                <a:extLst>
                  <a:ext uri="{FF2B5EF4-FFF2-40B4-BE49-F238E27FC236}">
                    <a16:creationId xmlns:a16="http://schemas.microsoft.com/office/drawing/2014/main" id="{D5F27B38-A6C0-46B8-92CA-E6743915481C}"/>
                  </a:ext>
                </a:extLst>
              </p:cNvPr>
              <p:cNvSpPr/>
              <p:nvPr/>
            </p:nvSpPr>
            <p:spPr bwMode="gray">
              <a:xfrm rot="18541717">
                <a:off x="5016903" y="2707819"/>
                <a:ext cx="2022398" cy="2022399"/>
              </a:xfrm>
              <a:prstGeom prst="arc">
                <a:avLst>
                  <a:gd name="adj1" fmla="val 21408852"/>
                  <a:gd name="adj2" fmla="val 25989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6" name="Bogen 97">
                <a:extLst>
                  <a:ext uri="{FF2B5EF4-FFF2-40B4-BE49-F238E27FC236}">
                    <a16:creationId xmlns:a16="http://schemas.microsoft.com/office/drawing/2014/main" id="{2DE12979-66C2-4E54-A84F-EEC383990058}"/>
                  </a:ext>
                </a:extLst>
              </p:cNvPr>
              <p:cNvSpPr/>
              <p:nvPr/>
            </p:nvSpPr>
            <p:spPr bwMode="gray">
              <a:xfrm rot="1993505">
                <a:off x="4964515" y="2674484"/>
                <a:ext cx="2022400" cy="2022397"/>
              </a:xfrm>
              <a:prstGeom prst="arc">
                <a:avLst>
                  <a:gd name="adj1" fmla="val 70392"/>
                  <a:gd name="adj2" fmla="val 3140820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7" name="Bogen 98">
                <a:extLst>
                  <a:ext uri="{FF2B5EF4-FFF2-40B4-BE49-F238E27FC236}">
                    <a16:creationId xmlns:a16="http://schemas.microsoft.com/office/drawing/2014/main" id="{FBF7D55A-AE0B-41A5-B30A-D8C3CD28FD95}"/>
                  </a:ext>
                </a:extLst>
              </p:cNvPr>
              <p:cNvSpPr/>
              <p:nvPr/>
            </p:nvSpPr>
            <p:spPr bwMode="gray">
              <a:xfrm rot="9944439">
                <a:off x="5045480" y="2679242"/>
                <a:ext cx="2022400" cy="2022397"/>
              </a:xfrm>
              <a:prstGeom prst="arc">
                <a:avLst>
                  <a:gd name="adj1" fmla="val 19660803"/>
                  <a:gd name="adj2" fmla="val 1015406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8" name="Bogen 99">
                <a:extLst>
                  <a:ext uri="{FF2B5EF4-FFF2-40B4-BE49-F238E27FC236}">
                    <a16:creationId xmlns:a16="http://schemas.microsoft.com/office/drawing/2014/main" id="{66ADBD32-2524-46DC-BC23-2B74C290B179}"/>
                  </a:ext>
                </a:extLst>
              </p:cNvPr>
              <p:cNvSpPr/>
              <p:nvPr/>
            </p:nvSpPr>
            <p:spPr bwMode="gray">
              <a:xfrm rot="13264665">
                <a:off x="5035953" y="2717344"/>
                <a:ext cx="2022398" cy="2022399"/>
              </a:xfrm>
              <a:prstGeom prst="arc">
                <a:avLst>
                  <a:gd name="adj1" fmla="val 276985"/>
                  <a:gd name="adj2" fmla="val 2682701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0439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28">
            <a:extLst>
              <a:ext uri="{FF2B5EF4-FFF2-40B4-BE49-F238E27FC236}">
                <a16:creationId xmlns:a16="http://schemas.microsoft.com/office/drawing/2014/main" id="{D8D7CF4E-62FD-4C7B-9E30-665BDD6CC61F}"/>
              </a:ext>
            </a:extLst>
          </p:cNvPr>
          <p:cNvGrpSpPr/>
          <p:nvPr/>
        </p:nvGrpSpPr>
        <p:grpSpPr>
          <a:xfrm>
            <a:off x="-1780073" y="269413"/>
            <a:ext cx="8342337" cy="4298950"/>
            <a:chOff x="1922802" y="1511300"/>
            <a:chExt cx="8342337" cy="4298950"/>
          </a:xfrm>
        </p:grpSpPr>
        <p:graphicFrame>
          <p:nvGraphicFramePr>
            <p:cNvPr id="18" name="Inhaltsplatzhalter 1">
              <a:extLst>
                <a:ext uri="{FF2B5EF4-FFF2-40B4-BE49-F238E27FC236}">
                  <a16:creationId xmlns:a16="http://schemas.microsoft.com/office/drawing/2014/main" id="{F221CF0D-C98A-4330-B1A3-16B78924A97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48087604"/>
                </p:ext>
              </p:extLst>
            </p:nvPr>
          </p:nvGraphicFramePr>
          <p:xfrm>
            <a:off x="1922802" y="1511300"/>
            <a:ext cx="8342337" cy="4298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9" name="Inhaltsplatzhalter 1">
              <a:extLst>
                <a:ext uri="{FF2B5EF4-FFF2-40B4-BE49-F238E27FC236}">
                  <a16:creationId xmlns:a16="http://schemas.microsoft.com/office/drawing/2014/main" id="{533357A9-13C1-4EEF-8398-9845DCECB59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359984365"/>
                </p:ext>
              </p:extLst>
            </p:nvPr>
          </p:nvGraphicFramePr>
          <p:xfrm>
            <a:off x="2168912" y="2141582"/>
            <a:ext cx="7851776" cy="31289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20" name="Gruppieren 42">
              <a:extLst>
                <a:ext uri="{FF2B5EF4-FFF2-40B4-BE49-F238E27FC236}">
                  <a16:creationId xmlns:a16="http://schemas.microsoft.com/office/drawing/2014/main" id="{F6F17BDB-A26C-4B49-8B8C-0A44079C0B12}"/>
                </a:ext>
              </a:extLst>
            </p:cNvPr>
            <p:cNvGrpSpPr/>
            <p:nvPr/>
          </p:nvGrpSpPr>
          <p:grpSpPr>
            <a:xfrm>
              <a:off x="4820253" y="2437157"/>
              <a:ext cx="2519049" cy="2595660"/>
              <a:chOff x="4819865" y="2437157"/>
              <a:chExt cx="2519049" cy="2595660"/>
            </a:xfrm>
          </p:grpSpPr>
          <p:sp>
            <p:nvSpPr>
              <p:cNvPr id="27" name="Text Box 13">
                <a:extLst>
                  <a:ext uri="{FF2B5EF4-FFF2-40B4-BE49-F238E27FC236}">
                    <a16:creationId xmlns:a16="http://schemas.microsoft.com/office/drawing/2014/main" id="{3EA57B1B-5A06-440F-8D23-C88E51908F8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328343" y="2437157"/>
                <a:ext cx="1612386" cy="109785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8" name="Text Box 13">
                <a:extLst>
                  <a:ext uri="{FF2B5EF4-FFF2-40B4-BE49-F238E27FC236}">
                    <a16:creationId xmlns:a16="http://schemas.microsoft.com/office/drawing/2014/main" id="{654C36CC-4E6B-458E-96CB-A740799D397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4562601" y="3122877"/>
                <a:ext cx="1612386" cy="109785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9" name="Text Box 13">
                <a:extLst>
                  <a:ext uri="{FF2B5EF4-FFF2-40B4-BE49-F238E27FC236}">
                    <a16:creationId xmlns:a16="http://schemas.microsoft.com/office/drawing/2014/main" id="{469BF01C-4C1D-462E-9E6D-07493F4D2C0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400000">
                <a:off x="5948333" y="3074719"/>
                <a:ext cx="1612386" cy="116877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30" name="Text Box 13">
                <a:extLst>
                  <a:ext uri="{FF2B5EF4-FFF2-40B4-BE49-F238E27FC236}">
                    <a16:creationId xmlns:a16="http://schemas.microsoft.com/office/drawing/2014/main" id="{795621D7-53AA-469E-89B9-68848C573A1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1444459">
                <a:off x="5158353" y="3855677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</p:grpSp>
        <p:graphicFrame>
          <p:nvGraphicFramePr>
            <p:cNvPr id="21" name="Inhaltsplatzhalter 1">
              <a:extLst>
                <a:ext uri="{FF2B5EF4-FFF2-40B4-BE49-F238E27FC236}">
                  <a16:creationId xmlns:a16="http://schemas.microsoft.com/office/drawing/2014/main" id="{0999BFFD-183C-4691-AE44-EB60EBE2AED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52117272"/>
                </p:ext>
              </p:extLst>
            </p:nvPr>
          </p:nvGraphicFramePr>
          <p:xfrm>
            <a:off x="3184912" y="2616835"/>
            <a:ext cx="5819776" cy="21818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22" name="Gruppieren 45">
              <a:extLst>
                <a:ext uri="{FF2B5EF4-FFF2-40B4-BE49-F238E27FC236}">
                  <a16:creationId xmlns:a16="http://schemas.microsoft.com/office/drawing/2014/main" id="{6917C6B5-E360-4614-A425-0A17EBFFD70D}"/>
                </a:ext>
              </a:extLst>
            </p:cNvPr>
            <p:cNvGrpSpPr/>
            <p:nvPr/>
          </p:nvGrpSpPr>
          <p:grpSpPr>
            <a:xfrm>
              <a:off x="5354133" y="2948620"/>
              <a:ext cx="1466154" cy="1485742"/>
              <a:chOff x="5353745" y="2948620"/>
              <a:chExt cx="1466154" cy="1485742"/>
            </a:xfrm>
          </p:grpSpPr>
          <p:sp>
            <p:nvSpPr>
              <p:cNvPr id="25" name="Text Box 13">
                <a:extLst>
                  <a:ext uri="{FF2B5EF4-FFF2-40B4-BE49-F238E27FC236}">
                    <a16:creationId xmlns:a16="http://schemas.microsoft.com/office/drawing/2014/main" id="{F0B45A5E-EB1B-4AFD-8A05-1BB10591285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5291372" y="3010993"/>
                <a:ext cx="1485742" cy="13609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6" name="Text Box 13">
                <a:extLst>
                  <a:ext uri="{FF2B5EF4-FFF2-40B4-BE49-F238E27FC236}">
                    <a16:creationId xmlns:a16="http://schemas.microsoft.com/office/drawing/2014/main" id="{A10BED88-3309-4C44-862B-AC17B44C165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400000">
                <a:off x="5440859" y="3041196"/>
                <a:ext cx="1458558" cy="12995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</p:grpSp>
        <p:sp>
          <p:nvSpPr>
            <p:cNvPr id="23" name="Bogen 47">
              <a:extLst>
                <a:ext uri="{FF2B5EF4-FFF2-40B4-BE49-F238E27FC236}">
                  <a16:creationId xmlns:a16="http://schemas.microsoft.com/office/drawing/2014/main" id="{74A43C07-60D3-415B-8BA9-5319394BA03E}"/>
                </a:ext>
              </a:extLst>
            </p:cNvPr>
            <p:cNvSpPr/>
            <p:nvPr/>
          </p:nvSpPr>
          <p:spPr>
            <a:xfrm rot="18989671">
              <a:off x="5675012" y="2930508"/>
              <a:ext cx="745634" cy="745634"/>
            </a:xfrm>
            <a:prstGeom prst="arc">
              <a:avLst/>
            </a:prstGeom>
            <a:noFill/>
            <a:ln w="22225" cap="rnd" cmpd="sng" algn="ctr">
              <a:solidFill>
                <a:sysClr val="window" lastClr="FFFFFF"/>
              </a:solidFill>
              <a:prstDash val="soli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" name="Bogen 48">
              <a:extLst>
                <a:ext uri="{FF2B5EF4-FFF2-40B4-BE49-F238E27FC236}">
                  <a16:creationId xmlns:a16="http://schemas.microsoft.com/office/drawing/2014/main" id="{DE2E48D9-0461-431D-B72C-096871AAAC02}"/>
                </a:ext>
              </a:extLst>
            </p:cNvPr>
            <p:cNvSpPr/>
            <p:nvPr/>
          </p:nvSpPr>
          <p:spPr>
            <a:xfrm rot="18989671" flipH="1" flipV="1">
              <a:off x="5732162" y="3748266"/>
              <a:ext cx="745634" cy="745634"/>
            </a:xfrm>
            <a:prstGeom prst="arc">
              <a:avLst/>
            </a:prstGeom>
            <a:noFill/>
            <a:ln w="22225" cap="rnd" cmpd="sng" algn="ctr">
              <a:solidFill>
                <a:sysClr val="window" lastClr="FFFFFF"/>
              </a:solidFill>
              <a:prstDash val="soli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53" name="Gruppieren 2">
            <a:extLst>
              <a:ext uri="{FF2B5EF4-FFF2-40B4-BE49-F238E27FC236}">
                <a16:creationId xmlns:a16="http://schemas.microsoft.com/office/drawing/2014/main" id="{80A1AF5B-0FB4-4C46-BBF6-4748FB8101F7}"/>
              </a:ext>
            </a:extLst>
          </p:cNvPr>
          <p:cNvGrpSpPr/>
          <p:nvPr/>
        </p:nvGrpSpPr>
        <p:grpSpPr>
          <a:xfrm>
            <a:off x="3943591" y="2994671"/>
            <a:ext cx="3879894" cy="3868908"/>
            <a:chOff x="3852040" y="1467149"/>
            <a:chExt cx="4485521" cy="4472820"/>
          </a:xfrm>
        </p:grpSpPr>
        <p:graphicFrame>
          <p:nvGraphicFramePr>
            <p:cNvPr id="54" name="Inhaltsplatzhalter 45">
              <a:extLst>
                <a:ext uri="{FF2B5EF4-FFF2-40B4-BE49-F238E27FC236}">
                  <a16:creationId xmlns:a16="http://schemas.microsoft.com/office/drawing/2014/main" id="{A8B1F4CA-5788-460C-B50F-6287E834303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93364521"/>
                </p:ext>
              </p:extLst>
            </p:nvPr>
          </p:nvGraphicFramePr>
          <p:xfrm>
            <a:off x="3864740" y="1467149"/>
            <a:ext cx="4472821" cy="44728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55" name="Inhaltsplatzhalter 45">
              <a:extLst>
                <a:ext uri="{FF2B5EF4-FFF2-40B4-BE49-F238E27FC236}">
                  <a16:creationId xmlns:a16="http://schemas.microsoft.com/office/drawing/2014/main" id="{A7DBBEF6-CB3E-42F0-8F8A-C6702CF881F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534626924"/>
                </p:ext>
              </p:extLst>
            </p:nvPr>
          </p:nvGraphicFramePr>
          <p:xfrm>
            <a:off x="3852040" y="1568372"/>
            <a:ext cx="4375437" cy="42957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56" name="Gruppieren 29">
              <a:extLst>
                <a:ext uri="{FF2B5EF4-FFF2-40B4-BE49-F238E27FC236}">
                  <a16:creationId xmlns:a16="http://schemas.microsoft.com/office/drawing/2014/main" id="{1D2E8D15-551A-4349-BC00-E7226D5B73DD}"/>
                </a:ext>
              </a:extLst>
            </p:cNvPr>
            <p:cNvGrpSpPr/>
            <p:nvPr/>
          </p:nvGrpSpPr>
          <p:grpSpPr>
            <a:xfrm>
              <a:off x="4058468" y="1798596"/>
              <a:ext cx="4076415" cy="3787851"/>
              <a:chOff x="4047891" y="1798596"/>
              <a:chExt cx="4076415" cy="3787851"/>
            </a:xfrm>
          </p:grpSpPr>
          <p:sp>
            <p:nvSpPr>
              <p:cNvPr id="57" name="Rechteck 23">
                <a:extLst>
                  <a:ext uri="{FF2B5EF4-FFF2-40B4-BE49-F238E27FC236}">
                    <a16:creationId xmlns:a16="http://schemas.microsoft.com/office/drawing/2014/main" id="{213E15E5-4455-492A-A198-956BD1B750F1}"/>
                  </a:ext>
                </a:extLst>
              </p:cNvPr>
              <p:cNvSpPr/>
              <p:nvPr/>
            </p:nvSpPr>
            <p:spPr>
              <a:xfrm>
                <a:off x="6200258" y="17985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grpSp>
            <p:nvGrpSpPr>
              <p:cNvPr id="58" name="Gruppieren 25">
                <a:extLst>
                  <a:ext uri="{FF2B5EF4-FFF2-40B4-BE49-F238E27FC236}">
                    <a16:creationId xmlns:a16="http://schemas.microsoft.com/office/drawing/2014/main" id="{7FE5B3BE-FB06-4DB6-9CE9-7F42B943D2A0}"/>
                  </a:ext>
                </a:extLst>
              </p:cNvPr>
              <p:cNvGrpSpPr/>
              <p:nvPr/>
            </p:nvGrpSpPr>
            <p:grpSpPr>
              <a:xfrm>
                <a:off x="4943046" y="3186704"/>
                <a:ext cx="2221257" cy="994593"/>
                <a:chOff x="4943046" y="3186704"/>
                <a:chExt cx="2221257" cy="994593"/>
              </a:xfrm>
            </p:grpSpPr>
            <p:sp>
              <p:nvSpPr>
                <p:cNvPr id="70" name="Rechteck 24">
                  <a:extLst>
                    <a:ext uri="{FF2B5EF4-FFF2-40B4-BE49-F238E27FC236}">
                      <a16:creationId xmlns:a16="http://schemas.microsoft.com/office/drawing/2014/main" id="{DE79890E-5656-4CDE-891D-9936850CB727}"/>
                    </a:ext>
                  </a:extLst>
                </p:cNvPr>
                <p:cNvSpPr/>
                <p:nvPr/>
              </p:nvSpPr>
              <p:spPr>
                <a:xfrm>
                  <a:off x="6200256" y="3186704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1" name="Rechteck 26">
                  <a:extLst>
                    <a:ext uri="{FF2B5EF4-FFF2-40B4-BE49-F238E27FC236}">
                      <a16:creationId xmlns:a16="http://schemas.microsoft.com/office/drawing/2014/main" id="{71D2357C-F642-4CCE-A50B-664F56F0016B}"/>
                    </a:ext>
                  </a:extLst>
                </p:cNvPr>
                <p:cNvSpPr/>
                <p:nvPr/>
              </p:nvSpPr>
              <p:spPr>
                <a:xfrm>
                  <a:off x="6200256" y="3861060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2" name="Rechteck 27">
                  <a:extLst>
                    <a:ext uri="{FF2B5EF4-FFF2-40B4-BE49-F238E27FC236}">
                      <a16:creationId xmlns:a16="http://schemas.microsoft.com/office/drawing/2014/main" id="{B5F1E9A0-283B-480E-B47D-C35700353CCD}"/>
                    </a:ext>
                  </a:extLst>
                </p:cNvPr>
                <p:cNvSpPr/>
                <p:nvPr/>
              </p:nvSpPr>
              <p:spPr>
                <a:xfrm>
                  <a:off x="4943046" y="3186704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3" name="Rechteck 28">
                  <a:extLst>
                    <a:ext uri="{FF2B5EF4-FFF2-40B4-BE49-F238E27FC236}">
                      <a16:creationId xmlns:a16="http://schemas.microsoft.com/office/drawing/2014/main" id="{67994C2F-CEBD-4820-893D-E2187EB15DF1}"/>
                    </a:ext>
                  </a:extLst>
                </p:cNvPr>
                <p:cNvSpPr/>
                <p:nvPr/>
              </p:nvSpPr>
              <p:spPr>
                <a:xfrm>
                  <a:off x="4943046" y="3861060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</p:grpSp>
          <p:sp>
            <p:nvSpPr>
              <p:cNvPr id="59" name="Rechteck 30">
                <a:extLst>
                  <a:ext uri="{FF2B5EF4-FFF2-40B4-BE49-F238E27FC236}">
                    <a16:creationId xmlns:a16="http://schemas.microsoft.com/office/drawing/2014/main" id="{B6E90CED-396B-45B7-9308-CE20CCBD886A}"/>
                  </a:ext>
                </a:extLst>
              </p:cNvPr>
              <p:cNvSpPr/>
              <p:nvPr/>
            </p:nvSpPr>
            <p:spPr>
              <a:xfrm>
                <a:off x="7070206" y="22811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0" name="Rechteck 31">
                <a:extLst>
                  <a:ext uri="{FF2B5EF4-FFF2-40B4-BE49-F238E27FC236}">
                    <a16:creationId xmlns:a16="http://schemas.microsoft.com/office/drawing/2014/main" id="{A43CA16E-FE5C-4603-81D5-89F42A786BCB}"/>
                  </a:ext>
                </a:extLst>
              </p:cNvPr>
              <p:cNvSpPr/>
              <p:nvPr/>
            </p:nvSpPr>
            <p:spPr>
              <a:xfrm>
                <a:off x="7502007" y="3076063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1" name="Rechteck 32">
                <a:extLst>
                  <a:ext uri="{FF2B5EF4-FFF2-40B4-BE49-F238E27FC236}">
                    <a16:creationId xmlns:a16="http://schemas.microsoft.com/office/drawing/2014/main" id="{FB35F94A-EE9F-45F6-AF33-51C4AEA3C885}"/>
                  </a:ext>
                </a:extLst>
              </p:cNvPr>
              <p:cNvSpPr/>
              <p:nvPr/>
            </p:nvSpPr>
            <p:spPr>
              <a:xfrm>
                <a:off x="7502007" y="397117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2" name="Rechteck 33">
                <a:extLst>
                  <a:ext uri="{FF2B5EF4-FFF2-40B4-BE49-F238E27FC236}">
                    <a16:creationId xmlns:a16="http://schemas.microsoft.com/office/drawing/2014/main" id="{36AAA1BF-25F6-4378-8E10-D83472C1FD35}"/>
                  </a:ext>
                </a:extLst>
              </p:cNvPr>
              <p:cNvSpPr/>
              <p:nvPr/>
            </p:nvSpPr>
            <p:spPr>
              <a:xfrm>
                <a:off x="7044806" y="478563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3" name="Rechteck 34">
                <a:extLst>
                  <a:ext uri="{FF2B5EF4-FFF2-40B4-BE49-F238E27FC236}">
                    <a16:creationId xmlns:a16="http://schemas.microsoft.com/office/drawing/2014/main" id="{B25A7D80-326A-4851-8B79-D5F66AE748E4}"/>
                  </a:ext>
                </a:extLst>
              </p:cNvPr>
              <p:cNvSpPr/>
              <p:nvPr/>
            </p:nvSpPr>
            <p:spPr>
              <a:xfrm>
                <a:off x="6200258" y="525553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4" name="Rechteck 35">
                <a:extLst>
                  <a:ext uri="{FF2B5EF4-FFF2-40B4-BE49-F238E27FC236}">
                    <a16:creationId xmlns:a16="http://schemas.microsoft.com/office/drawing/2014/main" id="{1426D6C5-5A6B-4EB1-88EA-B555379AB52F}"/>
                  </a:ext>
                </a:extLst>
              </p:cNvPr>
              <p:cNvSpPr/>
              <p:nvPr/>
            </p:nvSpPr>
            <p:spPr>
              <a:xfrm>
                <a:off x="5303097" y="5255535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5" name="Rechteck 36">
                <a:extLst>
                  <a:ext uri="{FF2B5EF4-FFF2-40B4-BE49-F238E27FC236}">
                    <a16:creationId xmlns:a16="http://schemas.microsoft.com/office/drawing/2014/main" id="{210A7568-4BB0-49D4-9A4C-D829017C038F}"/>
                  </a:ext>
                </a:extLst>
              </p:cNvPr>
              <p:cNvSpPr/>
              <p:nvPr/>
            </p:nvSpPr>
            <p:spPr>
              <a:xfrm>
                <a:off x="4521395" y="4772935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6" name="Rechteck 37">
                <a:extLst>
                  <a:ext uri="{FF2B5EF4-FFF2-40B4-BE49-F238E27FC236}">
                    <a16:creationId xmlns:a16="http://schemas.microsoft.com/office/drawing/2014/main" id="{40AA1E27-1DB1-4DF5-AA44-DC0679210F28}"/>
                  </a:ext>
                </a:extLst>
              </p:cNvPr>
              <p:cNvSpPr/>
              <p:nvPr/>
            </p:nvSpPr>
            <p:spPr>
              <a:xfrm>
                <a:off x="4047891" y="397117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7" name="Rechteck 38">
                <a:extLst>
                  <a:ext uri="{FF2B5EF4-FFF2-40B4-BE49-F238E27FC236}">
                    <a16:creationId xmlns:a16="http://schemas.microsoft.com/office/drawing/2014/main" id="{E0D19179-04A7-4081-B13F-0BEFD7717C5A}"/>
                  </a:ext>
                </a:extLst>
              </p:cNvPr>
              <p:cNvSpPr/>
              <p:nvPr/>
            </p:nvSpPr>
            <p:spPr>
              <a:xfrm>
                <a:off x="4047891" y="306895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8" name="Rechteck 39">
                <a:extLst>
                  <a:ext uri="{FF2B5EF4-FFF2-40B4-BE49-F238E27FC236}">
                    <a16:creationId xmlns:a16="http://schemas.microsoft.com/office/drawing/2014/main" id="{9A34729A-81E1-41D0-AECB-A90EEC1C43A3}"/>
                  </a:ext>
                </a:extLst>
              </p:cNvPr>
              <p:cNvSpPr/>
              <p:nvPr/>
            </p:nvSpPr>
            <p:spPr>
              <a:xfrm>
                <a:off x="4508694" y="2224644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9" name="Rechteck 40">
                <a:extLst>
                  <a:ext uri="{FF2B5EF4-FFF2-40B4-BE49-F238E27FC236}">
                    <a16:creationId xmlns:a16="http://schemas.microsoft.com/office/drawing/2014/main" id="{DE347B4E-5CCD-4CA3-B6BD-C85834F4E7F8}"/>
                  </a:ext>
                </a:extLst>
              </p:cNvPr>
              <p:cNvSpPr/>
              <p:nvPr/>
            </p:nvSpPr>
            <p:spPr>
              <a:xfrm>
                <a:off x="5366596" y="17985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</p:grpSp>
      </p:grpSp>
      <p:grpSp>
        <p:nvGrpSpPr>
          <p:cNvPr id="180" name="Gruppieren 69">
            <a:extLst>
              <a:ext uri="{FF2B5EF4-FFF2-40B4-BE49-F238E27FC236}">
                <a16:creationId xmlns:a16="http://schemas.microsoft.com/office/drawing/2014/main" id="{00E21AA4-D7D2-4C7C-B1D7-BF39233B56F6}"/>
              </a:ext>
            </a:extLst>
          </p:cNvPr>
          <p:cNvGrpSpPr/>
          <p:nvPr/>
        </p:nvGrpSpPr>
        <p:grpSpPr bwMode="gray">
          <a:xfrm>
            <a:off x="6943055" y="115509"/>
            <a:ext cx="5236608" cy="4925032"/>
            <a:chOff x="1583254" y="1484730"/>
            <a:chExt cx="5236608" cy="4925032"/>
          </a:xfrm>
        </p:grpSpPr>
        <p:grpSp>
          <p:nvGrpSpPr>
            <p:cNvPr id="181" name="Gruppieren 70">
              <a:extLst>
                <a:ext uri="{FF2B5EF4-FFF2-40B4-BE49-F238E27FC236}">
                  <a16:creationId xmlns:a16="http://schemas.microsoft.com/office/drawing/2014/main" id="{F654CEFC-E1AD-4831-B5E5-AED80ED8B0E1}"/>
                </a:ext>
              </a:extLst>
            </p:cNvPr>
            <p:cNvGrpSpPr/>
            <p:nvPr/>
          </p:nvGrpSpPr>
          <p:grpSpPr bwMode="gray">
            <a:xfrm>
              <a:off x="1583254" y="1484730"/>
              <a:ext cx="5236608" cy="4925032"/>
              <a:chOff x="1583254" y="1484730"/>
              <a:chExt cx="5236608" cy="4925032"/>
            </a:xfrm>
          </p:grpSpPr>
          <p:grpSp>
            <p:nvGrpSpPr>
              <p:cNvPr id="229" name="Gruppieren 133">
                <a:extLst>
                  <a:ext uri="{FF2B5EF4-FFF2-40B4-BE49-F238E27FC236}">
                    <a16:creationId xmlns:a16="http://schemas.microsoft.com/office/drawing/2014/main" id="{C034C9C7-44AC-4E48-B4E5-50A243B8EF89}"/>
                  </a:ext>
                </a:extLst>
              </p:cNvPr>
              <p:cNvGrpSpPr/>
              <p:nvPr/>
            </p:nvGrpSpPr>
            <p:grpSpPr bwMode="gray">
              <a:xfrm>
                <a:off x="1583254" y="1484730"/>
                <a:ext cx="5236608" cy="4925032"/>
                <a:chOff x="1174524" y="1513638"/>
                <a:chExt cx="4286952" cy="4286952"/>
              </a:xfrm>
            </p:grpSpPr>
            <p:sp>
              <p:nvSpPr>
                <p:cNvPr id="238" name="Kreis 142">
                  <a:extLst>
                    <a:ext uri="{FF2B5EF4-FFF2-40B4-BE49-F238E27FC236}">
                      <a16:creationId xmlns:a16="http://schemas.microsoft.com/office/drawing/2014/main" id="{99832D40-2D6C-4219-BBCB-162590898D91}"/>
                    </a:ext>
                  </a:extLst>
                </p:cNvPr>
                <p:cNvSpPr/>
                <p:nvPr/>
              </p:nvSpPr>
              <p:spPr bwMode="gray">
                <a:xfrm rot="7380493">
                  <a:off x="1869353" y="2208468"/>
                  <a:ext cx="2897296" cy="2897296"/>
                </a:xfrm>
                <a:prstGeom prst="pie">
                  <a:avLst>
                    <a:gd name="adj1" fmla="val 13407960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2C3E50">
                        <a:lumMod val="75000"/>
                      </a:srgbClr>
                    </a:gs>
                    <a:gs pos="100000">
                      <a:srgbClr val="2C3E50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9" name="Kreis 143">
                  <a:extLst>
                    <a:ext uri="{FF2B5EF4-FFF2-40B4-BE49-F238E27FC236}">
                      <a16:creationId xmlns:a16="http://schemas.microsoft.com/office/drawing/2014/main" id="{7204B0CB-C1F6-4C91-A657-6EA9D16AC485}"/>
                    </a:ext>
                  </a:extLst>
                </p:cNvPr>
                <p:cNvSpPr/>
                <p:nvPr/>
              </p:nvSpPr>
              <p:spPr bwMode="gray">
                <a:xfrm rot="9775693">
                  <a:off x="1787729" y="2126844"/>
                  <a:ext cx="3060544" cy="3060544"/>
                </a:xfrm>
                <a:prstGeom prst="pie">
                  <a:avLst>
                    <a:gd name="adj1" fmla="val 13705263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2C3E50">
                        <a:lumMod val="60000"/>
                        <a:lumOff val="40000"/>
                      </a:srgbClr>
                    </a:gs>
                    <a:gs pos="100000">
                      <a:srgbClr val="2C3E50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Kreis 144">
                  <a:extLst>
                    <a:ext uri="{FF2B5EF4-FFF2-40B4-BE49-F238E27FC236}">
                      <a16:creationId xmlns:a16="http://schemas.microsoft.com/office/drawing/2014/main" id="{80F1158C-1C29-4040-998D-557DD2588C12}"/>
                    </a:ext>
                  </a:extLst>
                </p:cNvPr>
                <p:cNvSpPr/>
                <p:nvPr/>
              </p:nvSpPr>
              <p:spPr bwMode="gray">
                <a:xfrm rot="11457546">
                  <a:off x="1686649" y="2025764"/>
                  <a:ext cx="3262704" cy="3262704"/>
                </a:xfrm>
                <a:prstGeom prst="pie">
                  <a:avLst>
                    <a:gd name="adj1" fmla="val 14365027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2C3E50">
                        <a:lumMod val="40000"/>
                        <a:lumOff val="60000"/>
                      </a:srgbClr>
                    </a:gs>
                    <a:gs pos="100000">
                      <a:srgbClr val="2C3E5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Kreis 145">
                  <a:extLst>
                    <a:ext uri="{FF2B5EF4-FFF2-40B4-BE49-F238E27FC236}">
                      <a16:creationId xmlns:a16="http://schemas.microsoft.com/office/drawing/2014/main" id="{016B95C0-A75C-4FF5-BD39-79F6E38AD3CF}"/>
                    </a:ext>
                  </a:extLst>
                </p:cNvPr>
                <p:cNvSpPr/>
                <p:nvPr/>
              </p:nvSpPr>
              <p:spPr bwMode="gray">
                <a:xfrm rot="15154788">
                  <a:off x="1544869" y="1883984"/>
                  <a:ext cx="3546264" cy="3546264"/>
                </a:xfrm>
                <a:prstGeom prst="pie">
                  <a:avLst>
                    <a:gd name="adj1" fmla="val 12371132"/>
                    <a:gd name="adj2" fmla="val 16200000"/>
                  </a:avLst>
                </a:prstGeom>
                <a:gradFill>
                  <a:gsLst>
                    <a:gs pos="0">
                      <a:srgbClr val="2C3E50">
                        <a:lumMod val="20000"/>
                        <a:lumOff val="80000"/>
                      </a:srgbClr>
                    </a:gs>
                    <a:gs pos="100000">
                      <a:srgbClr val="2C3E5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Kreis 146">
                  <a:extLst>
                    <a:ext uri="{FF2B5EF4-FFF2-40B4-BE49-F238E27FC236}">
                      <a16:creationId xmlns:a16="http://schemas.microsoft.com/office/drawing/2014/main" id="{875A3CA3-CE69-4898-81DF-FA5B15BBCAFB}"/>
                    </a:ext>
                  </a:extLst>
                </p:cNvPr>
                <p:cNvSpPr/>
                <p:nvPr/>
              </p:nvSpPr>
              <p:spPr bwMode="gray">
                <a:xfrm rot="18777418">
                  <a:off x="1361860" y="1700975"/>
                  <a:ext cx="3912282" cy="3912282"/>
                </a:xfrm>
                <a:prstGeom prst="pie">
                  <a:avLst>
                    <a:gd name="adj1" fmla="val 12371132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9BBB59">
                        <a:lumMod val="60000"/>
                        <a:lumOff val="40000"/>
                      </a:srgbClr>
                    </a:gs>
                    <a:gs pos="100000">
                      <a:srgbClr val="9BBB59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Kreis 147">
                  <a:extLst>
                    <a:ext uri="{FF2B5EF4-FFF2-40B4-BE49-F238E27FC236}">
                      <a16:creationId xmlns:a16="http://schemas.microsoft.com/office/drawing/2014/main" id="{D090EF09-0337-41D6-9FD0-5BD50BD8578C}"/>
                    </a:ext>
                  </a:extLst>
                </p:cNvPr>
                <p:cNvSpPr/>
                <p:nvPr/>
              </p:nvSpPr>
              <p:spPr bwMode="gray">
                <a:xfrm rot="218614">
                  <a:off x="1244493" y="1583608"/>
                  <a:ext cx="4147016" cy="4147016"/>
                </a:xfrm>
                <a:prstGeom prst="pie">
                  <a:avLst>
                    <a:gd name="adj1" fmla="val 12963394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9BBB59"/>
                    </a:gs>
                    <a:gs pos="100000">
                      <a:srgbClr val="9BBB59">
                        <a:lumMod val="7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Kreis 148">
                  <a:extLst>
                    <a:ext uri="{FF2B5EF4-FFF2-40B4-BE49-F238E27FC236}">
                      <a16:creationId xmlns:a16="http://schemas.microsoft.com/office/drawing/2014/main" id="{849A9152-A0CB-4F15-A750-484C19FCEB5E}"/>
                    </a:ext>
                  </a:extLst>
                </p:cNvPr>
                <p:cNvSpPr/>
                <p:nvPr/>
              </p:nvSpPr>
              <p:spPr bwMode="gray">
                <a:xfrm rot="4952729">
                  <a:off x="1174524" y="1513638"/>
                  <a:ext cx="4286952" cy="4286952"/>
                </a:xfrm>
                <a:prstGeom prst="pie">
                  <a:avLst>
                    <a:gd name="adj1" fmla="val 11344899"/>
                    <a:gd name="adj2" fmla="val 16200000"/>
                  </a:avLst>
                </a:prstGeom>
                <a:gradFill flip="none" rotWithShape="1">
                  <a:gsLst>
                    <a:gs pos="0">
                      <a:srgbClr val="9BBB59">
                        <a:lumMod val="75000"/>
                      </a:srgbClr>
                    </a:gs>
                    <a:gs pos="100000">
                      <a:srgbClr val="9BBB59">
                        <a:lumMod val="5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0" name="Gruppieren 134">
                <a:extLst>
                  <a:ext uri="{FF2B5EF4-FFF2-40B4-BE49-F238E27FC236}">
                    <a16:creationId xmlns:a16="http://schemas.microsoft.com/office/drawing/2014/main" id="{7E21454A-984F-44DE-B5B0-75B1709442BB}"/>
                  </a:ext>
                </a:extLst>
              </p:cNvPr>
              <p:cNvGrpSpPr/>
              <p:nvPr/>
            </p:nvGrpSpPr>
            <p:grpSpPr bwMode="gray">
              <a:xfrm>
                <a:off x="1989214" y="1734902"/>
                <a:ext cx="4424688" cy="4424688"/>
                <a:chOff x="1174524" y="1513638"/>
                <a:chExt cx="4286952" cy="4286952"/>
              </a:xfrm>
            </p:grpSpPr>
            <p:sp>
              <p:nvSpPr>
                <p:cNvPr id="231" name="Kreis 135">
                  <a:extLst>
                    <a:ext uri="{FF2B5EF4-FFF2-40B4-BE49-F238E27FC236}">
                      <a16:creationId xmlns:a16="http://schemas.microsoft.com/office/drawing/2014/main" id="{1B54AB38-1980-4BB9-8C06-C558C6FBB960}"/>
                    </a:ext>
                  </a:extLst>
                </p:cNvPr>
                <p:cNvSpPr/>
                <p:nvPr/>
              </p:nvSpPr>
              <p:spPr bwMode="gray">
                <a:xfrm rot="7380493">
                  <a:off x="1869353" y="2208468"/>
                  <a:ext cx="2897296" cy="2897296"/>
                </a:xfrm>
                <a:prstGeom prst="pie">
                  <a:avLst>
                    <a:gd name="adj1" fmla="val 13407960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algn="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Kreis 136">
                  <a:extLst>
                    <a:ext uri="{FF2B5EF4-FFF2-40B4-BE49-F238E27FC236}">
                      <a16:creationId xmlns:a16="http://schemas.microsoft.com/office/drawing/2014/main" id="{E8EFE7B1-57BE-4CBC-87ED-AB95F9293AF4}"/>
                    </a:ext>
                  </a:extLst>
                </p:cNvPr>
                <p:cNvSpPr/>
                <p:nvPr/>
              </p:nvSpPr>
              <p:spPr bwMode="gray">
                <a:xfrm rot="9775693">
                  <a:off x="1787729" y="2126844"/>
                  <a:ext cx="3060544" cy="3060544"/>
                </a:xfrm>
                <a:prstGeom prst="pie">
                  <a:avLst>
                    <a:gd name="adj1" fmla="val 13705263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Kreis 137">
                  <a:extLst>
                    <a:ext uri="{FF2B5EF4-FFF2-40B4-BE49-F238E27FC236}">
                      <a16:creationId xmlns:a16="http://schemas.microsoft.com/office/drawing/2014/main" id="{6E35CC0A-40D3-4CD2-B707-F115286AE872}"/>
                    </a:ext>
                  </a:extLst>
                </p:cNvPr>
                <p:cNvSpPr/>
                <p:nvPr/>
              </p:nvSpPr>
              <p:spPr bwMode="gray">
                <a:xfrm rot="11457546">
                  <a:off x="1686649" y="2025764"/>
                  <a:ext cx="3262704" cy="3262704"/>
                </a:xfrm>
                <a:prstGeom prst="pie">
                  <a:avLst>
                    <a:gd name="adj1" fmla="val 14365027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Kreis 138">
                  <a:extLst>
                    <a:ext uri="{FF2B5EF4-FFF2-40B4-BE49-F238E27FC236}">
                      <a16:creationId xmlns:a16="http://schemas.microsoft.com/office/drawing/2014/main" id="{64EEDE76-1E03-4EAD-AF34-273AC0695B68}"/>
                    </a:ext>
                  </a:extLst>
                </p:cNvPr>
                <p:cNvSpPr/>
                <p:nvPr/>
              </p:nvSpPr>
              <p:spPr bwMode="gray">
                <a:xfrm rot="15154788">
                  <a:off x="1544869" y="1883984"/>
                  <a:ext cx="3546264" cy="3546264"/>
                </a:xfrm>
                <a:prstGeom prst="pie">
                  <a:avLst>
                    <a:gd name="adj1" fmla="val 12371132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Kreis 139">
                  <a:extLst>
                    <a:ext uri="{FF2B5EF4-FFF2-40B4-BE49-F238E27FC236}">
                      <a16:creationId xmlns:a16="http://schemas.microsoft.com/office/drawing/2014/main" id="{1941362E-E593-446A-8ED8-2DEE026F5332}"/>
                    </a:ext>
                  </a:extLst>
                </p:cNvPr>
                <p:cNvSpPr/>
                <p:nvPr/>
              </p:nvSpPr>
              <p:spPr bwMode="gray">
                <a:xfrm rot="18777418">
                  <a:off x="1361860" y="1700975"/>
                  <a:ext cx="3912282" cy="3912282"/>
                </a:xfrm>
                <a:prstGeom prst="pie">
                  <a:avLst>
                    <a:gd name="adj1" fmla="val 12371132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dir="10800000" algn="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6" name="Kreis 140">
                  <a:extLst>
                    <a:ext uri="{FF2B5EF4-FFF2-40B4-BE49-F238E27FC236}">
                      <a16:creationId xmlns:a16="http://schemas.microsoft.com/office/drawing/2014/main" id="{FFD42A50-0F12-437C-9C9E-6D9078AB2CB2}"/>
                    </a:ext>
                  </a:extLst>
                </p:cNvPr>
                <p:cNvSpPr/>
                <p:nvPr/>
              </p:nvSpPr>
              <p:spPr bwMode="gray">
                <a:xfrm rot="218614">
                  <a:off x="1244493" y="1583608"/>
                  <a:ext cx="4147016" cy="4147016"/>
                </a:xfrm>
                <a:prstGeom prst="pie">
                  <a:avLst>
                    <a:gd name="adj1" fmla="val 12963394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dist="38100" dir="16200000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Kreis 141">
                  <a:extLst>
                    <a:ext uri="{FF2B5EF4-FFF2-40B4-BE49-F238E27FC236}">
                      <a16:creationId xmlns:a16="http://schemas.microsoft.com/office/drawing/2014/main" id="{59E99B50-30BB-4A9F-9EBF-FDE18051BF31}"/>
                    </a:ext>
                  </a:extLst>
                </p:cNvPr>
                <p:cNvSpPr/>
                <p:nvPr/>
              </p:nvSpPr>
              <p:spPr bwMode="gray">
                <a:xfrm rot="4952729">
                  <a:off x="1174524" y="1513638"/>
                  <a:ext cx="4286952" cy="4286952"/>
                </a:xfrm>
                <a:prstGeom prst="pie">
                  <a:avLst>
                    <a:gd name="adj1" fmla="val 11344899"/>
                    <a:gd name="adj2" fmla="val 16200000"/>
                  </a:avLst>
                </a:prstGeom>
                <a:gradFill>
                  <a:gsLst>
                    <a:gs pos="0">
                      <a:sysClr val="window" lastClr="FFFFFF"/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path path="circle">
                    <a:fillToRect l="50000" t="50000" r="50000" b="50000"/>
                  </a:path>
                </a:gradFill>
                <a:ln w="25400" cap="flat" cmpd="sng" algn="ctr">
                  <a:noFill/>
                  <a:prstDash val="solid"/>
                </a:ln>
                <a:effectLst>
                  <a:outerShdw blurRad="139700" sx="102000" sy="102000" algn="ctr" rotWithShape="0">
                    <a:prstClr val="black">
                      <a:alpha val="29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82" name="Gruppieren 71">
              <a:extLst>
                <a:ext uri="{FF2B5EF4-FFF2-40B4-BE49-F238E27FC236}">
                  <a16:creationId xmlns:a16="http://schemas.microsoft.com/office/drawing/2014/main" id="{D7C0FBB1-705E-44EE-B5DF-D10DCF28A014}"/>
                </a:ext>
              </a:extLst>
            </p:cNvPr>
            <p:cNvGrpSpPr/>
            <p:nvPr/>
          </p:nvGrpSpPr>
          <p:grpSpPr bwMode="gray">
            <a:xfrm>
              <a:off x="2089394" y="1797997"/>
              <a:ext cx="4477574" cy="3964375"/>
              <a:chOff x="2089394" y="1797997"/>
              <a:chExt cx="4477574" cy="3964375"/>
            </a:xfrm>
          </p:grpSpPr>
          <p:sp>
            <p:nvSpPr>
              <p:cNvPr id="222" name="Text Box 13">
                <a:extLst>
                  <a:ext uri="{FF2B5EF4-FFF2-40B4-BE49-F238E27FC236}">
                    <a16:creationId xmlns:a16="http://schemas.microsoft.com/office/drawing/2014/main" id="{99081EF4-064D-4E3A-8217-C96F6CCEB8B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380342">
                <a:off x="3628638" y="1954269"/>
                <a:ext cx="2938330" cy="187964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Up">
                  <a:avLst>
                    <a:gd name="adj" fmla="val 11532776"/>
                  </a:avLst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  <p:sp>
            <p:nvSpPr>
              <p:cNvPr id="223" name="Text Box 13">
                <a:extLst>
                  <a:ext uri="{FF2B5EF4-FFF2-40B4-BE49-F238E27FC236}">
                    <a16:creationId xmlns:a16="http://schemas.microsoft.com/office/drawing/2014/main" id="{94F7499A-86E3-473E-BF33-64A3CA39D85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599196">
                <a:off x="2208118" y="4397900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  <p:sp>
            <p:nvSpPr>
              <p:cNvPr id="224" name="Text Box 13">
                <a:extLst>
                  <a:ext uri="{FF2B5EF4-FFF2-40B4-BE49-F238E27FC236}">
                    <a16:creationId xmlns:a16="http://schemas.microsoft.com/office/drawing/2014/main" id="{D4D690C8-E4FB-43C3-9A07-7EF360F8F88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408693">
                <a:off x="2253502" y="1797997"/>
                <a:ext cx="2938330" cy="187964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Up">
                  <a:avLst>
                    <a:gd name="adj" fmla="val 11532776"/>
                  </a:avLst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  <p:sp>
            <p:nvSpPr>
              <p:cNvPr id="225" name="Text Box 13">
                <a:extLst>
                  <a:ext uri="{FF2B5EF4-FFF2-40B4-BE49-F238E27FC236}">
                    <a16:creationId xmlns:a16="http://schemas.microsoft.com/office/drawing/2014/main" id="{A5CB1A27-8047-43AF-AE52-12F97A9DC09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817846">
                <a:off x="1560054" y="2719591"/>
                <a:ext cx="2938330" cy="187964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Up">
                  <a:avLst>
                    <a:gd name="adj" fmla="val 11532776"/>
                  </a:avLst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  <p:sp>
            <p:nvSpPr>
              <p:cNvPr id="226" name="Text Box 13">
                <a:extLst>
                  <a:ext uri="{FF2B5EF4-FFF2-40B4-BE49-F238E27FC236}">
                    <a16:creationId xmlns:a16="http://schemas.microsoft.com/office/drawing/2014/main" id="{5BD4BB75-F299-40EA-8016-5D72F1211E6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1360241">
                <a:off x="3305993" y="4585232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TEXT</a:t>
                </a:r>
              </a:p>
            </p:txBody>
          </p:sp>
          <p:sp>
            <p:nvSpPr>
              <p:cNvPr id="227" name="Text Box 13">
                <a:extLst>
                  <a:ext uri="{FF2B5EF4-FFF2-40B4-BE49-F238E27FC236}">
                    <a16:creationId xmlns:a16="http://schemas.microsoft.com/office/drawing/2014/main" id="{D0147928-93B7-416E-9894-693D2368DD9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229272">
                <a:off x="3907653" y="4233152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TEXT</a:t>
                </a:r>
              </a:p>
            </p:txBody>
          </p:sp>
          <p:sp>
            <p:nvSpPr>
              <p:cNvPr id="228" name="Text Box 13">
                <a:extLst>
                  <a:ext uri="{FF2B5EF4-FFF2-40B4-BE49-F238E27FC236}">
                    <a16:creationId xmlns:a16="http://schemas.microsoft.com/office/drawing/2014/main" id="{CA55D0F3-228E-49E2-8A0E-81E7CCAC1C7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854351">
                <a:off x="4240615" y="3567669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TEXT</a:t>
                </a:r>
              </a:p>
            </p:txBody>
          </p:sp>
        </p:grpSp>
        <p:grpSp>
          <p:nvGrpSpPr>
            <p:cNvPr id="183" name="Gruppieren 72">
              <a:extLst>
                <a:ext uri="{FF2B5EF4-FFF2-40B4-BE49-F238E27FC236}">
                  <a16:creationId xmlns:a16="http://schemas.microsoft.com/office/drawing/2014/main" id="{BF0239CB-937B-4453-A73C-0EBE36F0D008}"/>
                </a:ext>
              </a:extLst>
            </p:cNvPr>
            <p:cNvGrpSpPr/>
            <p:nvPr/>
          </p:nvGrpSpPr>
          <p:grpSpPr bwMode="gray">
            <a:xfrm>
              <a:off x="3460070" y="3205758"/>
              <a:ext cx="1482976" cy="1482976"/>
              <a:chOff x="3460070" y="3205758"/>
              <a:chExt cx="1482976" cy="1482976"/>
            </a:xfrm>
          </p:grpSpPr>
          <p:grpSp>
            <p:nvGrpSpPr>
              <p:cNvPr id="218" name="Gruppieren 117">
                <a:extLst>
                  <a:ext uri="{FF2B5EF4-FFF2-40B4-BE49-F238E27FC236}">
                    <a16:creationId xmlns:a16="http://schemas.microsoft.com/office/drawing/2014/main" id="{5A29B802-E6FD-4DBA-9367-5E363DCEFE91}"/>
                  </a:ext>
                </a:extLst>
              </p:cNvPr>
              <p:cNvGrpSpPr/>
              <p:nvPr/>
            </p:nvGrpSpPr>
            <p:grpSpPr bwMode="gray">
              <a:xfrm>
                <a:off x="3460070" y="3205758"/>
                <a:ext cx="1482976" cy="1482976"/>
                <a:chOff x="3460070" y="3205758"/>
                <a:chExt cx="1482976" cy="1482976"/>
              </a:xfrm>
            </p:grpSpPr>
            <p:sp>
              <p:nvSpPr>
                <p:cNvPr id="220" name="Ellipse 120">
                  <a:extLst>
                    <a:ext uri="{FF2B5EF4-FFF2-40B4-BE49-F238E27FC236}">
                      <a16:creationId xmlns:a16="http://schemas.microsoft.com/office/drawing/2014/main" id="{AB3D5480-21E7-4D6B-AA01-349397CA3C25}"/>
                    </a:ext>
                  </a:extLst>
                </p:cNvPr>
                <p:cNvSpPr/>
                <p:nvPr/>
              </p:nvSpPr>
              <p:spPr bwMode="gray">
                <a:xfrm>
                  <a:off x="3460070" y="3205758"/>
                  <a:ext cx="1482976" cy="1482976"/>
                </a:xfrm>
                <a:prstGeom prst="ellipse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127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>
                  <a:innerShdw blurRad="266700">
                    <a:sysClr val="windowText" lastClr="000000">
                      <a:lumMod val="65000"/>
                      <a:lumOff val="35000"/>
                      <a:alpha val="54000"/>
                    </a:sysClr>
                  </a:inn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Ellipse 121">
                  <a:extLst>
                    <a:ext uri="{FF2B5EF4-FFF2-40B4-BE49-F238E27FC236}">
                      <a16:creationId xmlns:a16="http://schemas.microsoft.com/office/drawing/2014/main" id="{0F47B044-C5F4-4EA9-8D6F-1EE107FE679C}"/>
                    </a:ext>
                  </a:extLst>
                </p:cNvPr>
                <p:cNvSpPr/>
                <p:nvPr/>
              </p:nvSpPr>
              <p:spPr bwMode="gray">
                <a:xfrm>
                  <a:off x="3677207" y="3422895"/>
                  <a:ext cx="1048702" cy="1048702"/>
                </a:xfrm>
                <a:prstGeom prst="ellipse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25400" cap="flat" cmpd="sng" algn="ctr">
                  <a:noFill/>
                  <a:prstDash val="solid"/>
                </a:ln>
                <a:effectLst>
                  <a:outerShdw blurRad="203200" dist="38100" dir="2700000" algn="tl" rotWithShape="0">
                    <a:prstClr val="black">
                      <a:alpha val="53000"/>
                    </a:prstClr>
                  </a:outerShdw>
                </a:effectLst>
              </p:spPr>
              <p:txBody>
                <a:bodyPr lIns="36000" tIns="36000" r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9" name="METRO ICON - hand 6">
                <a:extLst>
                  <a:ext uri="{FF2B5EF4-FFF2-40B4-BE49-F238E27FC236}">
                    <a16:creationId xmlns:a16="http://schemas.microsoft.com/office/drawing/2014/main" id="{27663650-10FE-44E3-BF0F-915F102E3CE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973888" y="3703599"/>
                <a:ext cx="455341" cy="487295"/>
              </a:xfrm>
              <a:custGeom>
                <a:avLst/>
                <a:gdLst>
                  <a:gd name="T0" fmla="*/ 289 w 321"/>
                  <a:gd name="T1" fmla="*/ 193 h 342"/>
                  <a:gd name="T2" fmla="*/ 279 w 321"/>
                  <a:gd name="T3" fmla="*/ 257 h 342"/>
                  <a:gd name="T4" fmla="*/ 257 w 321"/>
                  <a:gd name="T5" fmla="*/ 310 h 342"/>
                  <a:gd name="T6" fmla="*/ 214 w 321"/>
                  <a:gd name="T7" fmla="*/ 342 h 342"/>
                  <a:gd name="T8" fmla="*/ 65 w 321"/>
                  <a:gd name="T9" fmla="*/ 310 h 342"/>
                  <a:gd name="T10" fmla="*/ 65 w 321"/>
                  <a:gd name="T11" fmla="*/ 139 h 342"/>
                  <a:gd name="T12" fmla="*/ 225 w 321"/>
                  <a:gd name="T13" fmla="*/ 0 h 342"/>
                  <a:gd name="T14" fmla="*/ 225 w 321"/>
                  <a:gd name="T15" fmla="*/ 128 h 342"/>
                  <a:gd name="T16" fmla="*/ 289 w 321"/>
                  <a:gd name="T17" fmla="*/ 128 h 342"/>
                  <a:gd name="T18" fmla="*/ 289 w 321"/>
                  <a:gd name="T19" fmla="*/ 193 h 342"/>
                  <a:gd name="T20" fmla="*/ 43 w 321"/>
                  <a:gd name="T21" fmla="*/ 139 h 342"/>
                  <a:gd name="T22" fmla="*/ 43 w 321"/>
                  <a:gd name="T23" fmla="*/ 310 h 342"/>
                  <a:gd name="T24" fmla="*/ 65 w 321"/>
                  <a:gd name="T25" fmla="*/ 310 h 342"/>
                  <a:gd name="T26" fmla="*/ 65 w 321"/>
                  <a:gd name="T27" fmla="*/ 321 h 342"/>
                  <a:gd name="T28" fmla="*/ 22 w 321"/>
                  <a:gd name="T29" fmla="*/ 321 h 342"/>
                  <a:gd name="T30" fmla="*/ 0 w 321"/>
                  <a:gd name="T31" fmla="*/ 289 h 342"/>
                  <a:gd name="T32" fmla="*/ 0 w 321"/>
                  <a:gd name="T33" fmla="*/ 161 h 342"/>
                  <a:gd name="T34" fmla="*/ 22 w 321"/>
                  <a:gd name="T35" fmla="*/ 128 h 342"/>
                  <a:gd name="T36" fmla="*/ 65 w 321"/>
                  <a:gd name="T37" fmla="*/ 128 h 342"/>
                  <a:gd name="T38" fmla="*/ 65 w 321"/>
                  <a:gd name="T39" fmla="*/ 139 h 342"/>
                  <a:gd name="T40" fmla="*/ 43 w 321"/>
                  <a:gd name="T41" fmla="*/ 13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1" h="342">
                    <a:moveTo>
                      <a:pt x="289" y="193"/>
                    </a:moveTo>
                    <a:cubicBezTo>
                      <a:pt x="314" y="193"/>
                      <a:pt x="300" y="257"/>
                      <a:pt x="279" y="257"/>
                    </a:cubicBezTo>
                    <a:cubicBezTo>
                      <a:pt x="289" y="257"/>
                      <a:pt x="279" y="310"/>
                      <a:pt x="257" y="310"/>
                    </a:cubicBezTo>
                    <a:cubicBezTo>
                      <a:pt x="257" y="332"/>
                      <a:pt x="236" y="342"/>
                      <a:pt x="214" y="342"/>
                    </a:cubicBezTo>
                    <a:cubicBezTo>
                      <a:pt x="124" y="342"/>
                      <a:pt x="156" y="320"/>
                      <a:pt x="65" y="310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145" y="115"/>
                      <a:pt x="225" y="54"/>
                      <a:pt x="225" y="0"/>
                    </a:cubicBezTo>
                    <a:cubicBezTo>
                      <a:pt x="243" y="0"/>
                      <a:pt x="289" y="21"/>
                      <a:pt x="225" y="128"/>
                    </a:cubicBezTo>
                    <a:cubicBezTo>
                      <a:pt x="225" y="128"/>
                      <a:pt x="279" y="128"/>
                      <a:pt x="289" y="128"/>
                    </a:cubicBezTo>
                    <a:cubicBezTo>
                      <a:pt x="321" y="128"/>
                      <a:pt x="311" y="193"/>
                      <a:pt x="289" y="193"/>
                    </a:cubicBezTo>
                    <a:close/>
                    <a:moveTo>
                      <a:pt x="43" y="139"/>
                    </a:moveTo>
                    <a:cubicBezTo>
                      <a:pt x="43" y="310"/>
                      <a:pt x="43" y="310"/>
                      <a:pt x="43" y="310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65" y="321"/>
                      <a:pt x="65" y="321"/>
                      <a:pt x="65" y="321"/>
                    </a:cubicBezTo>
                    <a:cubicBezTo>
                      <a:pt x="22" y="321"/>
                      <a:pt x="22" y="321"/>
                      <a:pt x="22" y="321"/>
                    </a:cubicBezTo>
                    <a:cubicBezTo>
                      <a:pt x="10" y="321"/>
                      <a:pt x="0" y="307"/>
                      <a:pt x="0" y="289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43"/>
                      <a:pt x="10" y="128"/>
                      <a:pt x="22" y="128"/>
                    </a:cubicBezTo>
                    <a:cubicBezTo>
                      <a:pt x="65" y="128"/>
                      <a:pt x="65" y="128"/>
                      <a:pt x="65" y="128"/>
                    </a:cubicBezTo>
                    <a:cubicBezTo>
                      <a:pt x="65" y="139"/>
                      <a:pt x="65" y="139"/>
                      <a:pt x="65" y="139"/>
                    </a:cubicBezTo>
                    <a:lnTo>
                      <a:pt x="43" y="139"/>
                    </a:lnTo>
                    <a:close/>
                  </a:path>
                </a:pathLst>
              </a:custGeom>
              <a:solidFill>
                <a:srgbClr val="2C3E50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184" name="Gruppieren 74">
              <a:extLst>
                <a:ext uri="{FF2B5EF4-FFF2-40B4-BE49-F238E27FC236}">
                  <a16:creationId xmlns:a16="http://schemas.microsoft.com/office/drawing/2014/main" id="{F7EAADB8-C267-4FFE-8BB3-A179A90E57A3}"/>
                </a:ext>
              </a:extLst>
            </p:cNvPr>
            <p:cNvGrpSpPr/>
            <p:nvPr/>
          </p:nvGrpSpPr>
          <p:grpSpPr bwMode="gray">
            <a:xfrm>
              <a:off x="2131289" y="2240342"/>
              <a:ext cx="3778436" cy="3342839"/>
              <a:chOff x="2131289" y="2240342"/>
              <a:chExt cx="3778436" cy="3342839"/>
            </a:xfrm>
          </p:grpSpPr>
          <p:grpSp>
            <p:nvGrpSpPr>
              <p:cNvPr id="185" name="Gruppieren 75">
                <a:extLst>
                  <a:ext uri="{FF2B5EF4-FFF2-40B4-BE49-F238E27FC236}">
                    <a16:creationId xmlns:a16="http://schemas.microsoft.com/office/drawing/2014/main" id="{729705A2-8D6F-46AF-9DD3-FC59E78D3497}"/>
                  </a:ext>
                </a:extLst>
              </p:cNvPr>
              <p:cNvGrpSpPr/>
              <p:nvPr/>
            </p:nvGrpSpPr>
            <p:grpSpPr bwMode="gray">
              <a:xfrm>
                <a:off x="4564222" y="2419529"/>
                <a:ext cx="1345503" cy="887049"/>
                <a:chOff x="4564222" y="2419529"/>
                <a:chExt cx="1345503" cy="887049"/>
              </a:xfrm>
            </p:grpSpPr>
            <p:grpSp>
              <p:nvGrpSpPr>
                <p:cNvPr id="209" name="METRO ICON - world 2">
                  <a:extLst>
                    <a:ext uri="{FF2B5EF4-FFF2-40B4-BE49-F238E27FC236}">
                      <a16:creationId xmlns:a16="http://schemas.microsoft.com/office/drawing/2014/main" id="{474E3800-521E-4271-986B-1A3332BD905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5037741" y="2419529"/>
                  <a:ext cx="398464" cy="392426"/>
                  <a:chOff x="7089699" y="3420936"/>
                  <a:chExt cx="585039" cy="576174"/>
                </a:xfrm>
                <a:solidFill>
                  <a:sysClr val="window" lastClr="FFFFFF">
                    <a:lumMod val="75000"/>
                  </a:sysClr>
                </a:solidFill>
              </p:grpSpPr>
              <p:sp>
                <p:nvSpPr>
                  <p:cNvPr id="211" name="Freeform 24">
                    <a:extLst>
                      <a:ext uri="{FF2B5EF4-FFF2-40B4-BE49-F238E27FC236}">
                        <a16:creationId xmlns:a16="http://schemas.microsoft.com/office/drawing/2014/main" id="{02A3004E-1C14-4F60-9A23-66BC2CE962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095608" y="3642541"/>
                    <a:ext cx="372298" cy="354569"/>
                  </a:xfrm>
                  <a:custGeom>
                    <a:avLst/>
                    <a:gdLst>
                      <a:gd name="T0" fmla="*/ 176 w 176"/>
                      <a:gd name="T1" fmla="*/ 84 h 168"/>
                      <a:gd name="T2" fmla="*/ 176 w 176"/>
                      <a:gd name="T3" fmla="*/ 114 h 168"/>
                      <a:gd name="T4" fmla="*/ 157 w 176"/>
                      <a:gd name="T5" fmla="*/ 144 h 168"/>
                      <a:gd name="T6" fmla="*/ 137 w 176"/>
                      <a:gd name="T7" fmla="*/ 166 h 168"/>
                      <a:gd name="T8" fmla="*/ 132 w 176"/>
                      <a:gd name="T9" fmla="*/ 168 h 168"/>
                      <a:gd name="T10" fmla="*/ 35 w 176"/>
                      <a:gd name="T11" fmla="*/ 126 h 168"/>
                      <a:gd name="T12" fmla="*/ 1 w 176"/>
                      <a:gd name="T13" fmla="*/ 59 h 168"/>
                      <a:gd name="T14" fmla="*/ 1 w 176"/>
                      <a:gd name="T15" fmla="*/ 54 h 168"/>
                      <a:gd name="T16" fmla="*/ 44 w 176"/>
                      <a:gd name="T17" fmla="*/ 5 h 168"/>
                      <a:gd name="T18" fmla="*/ 48 w 176"/>
                      <a:gd name="T19" fmla="*/ 5 h 168"/>
                      <a:gd name="T20" fmla="*/ 71 w 176"/>
                      <a:gd name="T21" fmla="*/ 2 h 168"/>
                      <a:gd name="T22" fmla="*/ 75 w 176"/>
                      <a:gd name="T23" fmla="*/ 1 h 168"/>
                      <a:gd name="T24" fmla="*/ 176 w 176"/>
                      <a:gd name="T25" fmla="*/ 84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76" h="168">
                        <a:moveTo>
                          <a:pt x="176" y="84"/>
                        </a:moveTo>
                        <a:cubicBezTo>
                          <a:pt x="168" y="93"/>
                          <a:pt x="168" y="105"/>
                          <a:pt x="176" y="114"/>
                        </a:cubicBezTo>
                        <a:cubicBezTo>
                          <a:pt x="171" y="125"/>
                          <a:pt x="165" y="135"/>
                          <a:pt x="157" y="144"/>
                        </a:cubicBezTo>
                        <a:cubicBezTo>
                          <a:pt x="151" y="152"/>
                          <a:pt x="144" y="159"/>
                          <a:pt x="137" y="166"/>
                        </a:cubicBezTo>
                        <a:cubicBezTo>
                          <a:pt x="136" y="167"/>
                          <a:pt x="134" y="168"/>
                          <a:pt x="132" y="168"/>
                        </a:cubicBezTo>
                        <a:cubicBezTo>
                          <a:pt x="94" y="167"/>
                          <a:pt x="62" y="153"/>
                          <a:pt x="35" y="126"/>
                        </a:cubicBezTo>
                        <a:cubicBezTo>
                          <a:pt x="17" y="107"/>
                          <a:pt x="6" y="85"/>
                          <a:pt x="1" y="59"/>
                        </a:cubicBezTo>
                        <a:cubicBezTo>
                          <a:pt x="0" y="58"/>
                          <a:pt x="1" y="55"/>
                          <a:pt x="1" y="54"/>
                        </a:cubicBezTo>
                        <a:cubicBezTo>
                          <a:pt x="13" y="35"/>
                          <a:pt x="27" y="19"/>
                          <a:pt x="44" y="5"/>
                        </a:cubicBezTo>
                        <a:cubicBezTo>
                          <a:pt x="46" y="4"/>
                          <a:pt x="47" y="4"/>
                          <a:pt x="48" y="5"/>
                        </a:cubicBezTo>
                        <a:cubicBezTo>
                          <a:pt x="56" y="9"/>
                          <a:pt x="64" y="8"/>
                          <a:pt x="71" y="2"/>
                        </a:cubicBezTo>
                        <a:cubicBezTo>
                          <a:pt x="72" y="1"/>
                          <a:pt x="73" y="0"/>
                          <a:pt x="75" y="1"/>
                        </a:cubicBezTo>
                        <a:cubicBezTo>
                          <a:pt x="118" y="16"/>
                          <a:pt x="153" y="45"/>
                          <a:pt x="176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2" name="Freeform 24">
                    <a:extLst>
                      <a:ext uri="{FF2B5EF4-FFF2-40B4-BE49-F238E27FC236}">
                        <a16:creationId xmlns:a16="http://schemas.microsoft.com/office/drawing/2014/main" id="{2E716354-2EE5-426D-BA6E-5A326B8659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527001" y="3580492"/>
                    <a:ext cx="147737" cy="366388"/>
                  </a:xfrm>
                  <a:custGeom>
                    <a:avLst/>
                    <a:gdLst>
                      <a:gd name="T0" fmla="*/ 9 w 70"/>
                      <a:gd name="T1" fmla="*/ 174 h 174"/>
                      <a:gd name="T2" fmla="*/ 1 w 70"/>
                      <a:gd name="T3" fmla="*/ 145 h 174"/>
                      <a:gd name="T4" fmla="*/ 1 w 70"/>
                      <a:gd name="T5" fmla="*/ 142 h 174"/>
                      <a:gd name="T6" fmla="*/ 1 w 70"/>
                      <a:gd name="T7" fmla="*/ 114 h 174"/>
                      <a:gd name="T8" fmla="*/ 0 w 70"/>
                      <a:gd name="T9" fmla="*/ 110 h 174"/>
                      <a:gd name="T10" fmla="*/ 6 w 70"/>
                      <a:gd name="T11" fmla="*/ 72 h 174"/>
                      <a:gd name="T12" fmla="*/ 0 w 70"/>
                      <a:gd name="T13" fmla="*/ 8 h 174"/>
                      <a:gd name="T14" fmla="*/ 6 w 70"/>
                      <a:gd name="T15" fmla="*/ 1 h 174"/>
                      <a:gd name="T16" fmla="*/ 9 w 70"/>
                      <a:gd name="T17" fmla="*/ 1 h 174"/>
                      <a:gd name="T18" fmla="*/ 61 w 70"/>
                      <a:gd name="T19" fmla="*/ 24 h 174"/>
                      <a:gd name="T20" fmla="*/ 63 w 70"/>
                      <a:gd name="T21" fmla="*/ 26 h 174"/>
                      <a:gd name="T22" fmla="*/ 58 w 70"/>
                      <a:gd name="T23" fmla="*/ 110 h 174"/>
                      <a:gd name="T24" fmla="*/ 11 w 70"/>
                      <a:gd name="T25" fmla="*/ 172 h 174"/>
                      <a:gd name="T26" fmla="*/ 9 w 70"/>
                      <a:gd name="T27" fmla="*/ 174 h 1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0" h="174">
                        <a:moveTo>
                          <a:pt x="9" y="174"/>
                        </a:moveTo>
                        <a:cubicBezTo>
                          <a:pt x="6" y="164"/>
                          <a:pt x="3" y="154"/>
                          <a:pt x="1" y="145"/>
                        </a:cubicBezTo>
                        <a:cubicBezTo>
                          <a:pt x="0" y="144"/>
                          <a:pt x="1" y="143"/>
                          <a:pt x="1" y="142"/>
                        </a:cubicBezTo>
                        <a:cubicBezTo>
                          <a:pt x="9" y="132"/>
                          <a:pt x="9" y="122"/>
                          <a:pt x="1" y="114"/>
                        </a:cubicBezTo>
                        <a:cubicBezTo>
                          <a:pt x="0" y="113"/>
                          <a:pt x="0" y="111"/>
                          <a:pt x="0" y="110"/>
                        </a:cubicBezTo>
                        <a:cubicBezTo>
                          <a:pt x="2" y="97"/>
                          <a:pt x="5" y="84"/>
                          <a:pt x="6" y="72"/>
                        </a:cubicBezTo>
                        <a:cubicBezTo>
                          <a:pt x="8" y="50"/>
                          <a:pt x="5" y="29"/>
                          <a:pt x="0" y="8"/>
                        </a:cubicBezTo>
                        <a:cubicBezTo>
                          <a:pt x="2" y="5"/>
                          <a:pt x="4" y="3"/>
                          <a:pt x="6" y="1"/>
                        </a:cubicBezTo>
                        <a:cubicBezTo>
                          <a:pt x="7" y="1"/>
                          <a:pt x="8" y="0"/>
                          <a:pt x="9" y="1"/>
                        </a:cubicBezTo>
                        <a:cubicBezTo>
                          <a:pt x="27" y="6"/>
                          <a:pt x="45" y="13"/>
                          <a:pt x="61" y="24"/>
                        </a:cubicBezTo>
                        <a:cubicBezTo>
                          <a:pt x="62" y="24"/>
                          <a:pt x="62" y="25"/>
                          <a:pt x="63" y="26"/>
                        </a:cubicBezTo>
                        <a:cubicBezTo>
                          <a:pt x="70" y="55"/>
                          <a:pt x="69" y="83"/>
                          <a:pt x="58" y="110"/>
                        </a:cubicBezTo>
                        <a:cubicBezTo>
                          <a:pt x="49" y="135"/>
                          <a:pt x="33" y="156"/>
                          <a:pt x="11" y="172"/>
                        </a:cubicBezTo>
                        <a:cubicBezTo>
                          <a:pt x="10" y="172"/>
                          <a:pt x="9" y="173"/>
                          <a:pt x="9" y="17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3" name="Freeform 24">
                    <a:extLst>
                      <a:ext uri="{FF2B5EF4-FFF2-40B4-BE49-F238E27FC236}">
                        <a16:creationId xmlns:a16="http://schemas.microsoft.com/office/drawing/2014/main" id="{1141DE9F-E900-45A2-8385-A510DF4DE8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116293" y="3420936"/>
                    <a:ext cx="354569" cy="177285"/>
                  </a:xfrm>
                  <a:custGeom>
                    <a:avLst/>
                    <a:gdLst>
                      <a:gd name="T0" fmla="*/ 0 w 168"/>
                      <a:gd name="T1" fmla="*/ 82 h 84"/>
                      <a:gd name="T2" fmla="*/ 10 w 168"/>
                      <a:gd name="T3" fmla="*/ 63 h 84"/>
                      <a:gd name="T4" fmla="*/ 101 w 168"/>
                      <a:gd name="T5" fmla="*/ 2 h 84"/>
                      <a:gd name="T6" fmla="*/ 131 w 168"/>
                      <a:gd name="T7" fmla="*/ 0 h 84"/>
                      <a:gd name="T8" fmla="*/ 135 w 168"/>
                      <a:gd name="T9" fmla="*/ 1 h 84"/>
                      <a:gd name="T10" fmla="*/ 167 w 168"/>
                      <a:gd name="T11" fmla="*/ 46 h 84"/>
                      <a:gd name="T12" fmla="*/ 166 w 168"/>
                      <a:gd name="T13" fmla="*/ 51 h 84"/>
                      <a:gd name="T14" fmla="*/ 166 w 168"/>
                      <a:gd name="T15" fmla="*/ 51 h 84"/>
                      <a:gd name="T16" fmla="*/ 154 w 168"/>
                      <a:gd name="T17" fmla="*/ 56 h 84"/>
                      <a:gd name="T18" fmla="*/ 67 w 168"/>
                      <a:gd name="T19" fmla="*/ 75 h 84"/>
                      <a:gd name="T20" fmla="*/ 59 w 168"/>
                      <a:gd name="T21" fmla="*/ 75 h 84"/>
                      <a:gd name="T22" fmla="*/ 33 w 168"/>
                      <a:gd name="T23" fmla="*/ 81 h 84"/>
                      <a:gd name="T24" fmla="*/ 27 w 168"/>
                      <a:gd name="T25" fmla="*/ 83 h 84"/>
                      <a:gd name="T26" fmla="*/ 0 w 168"/>
                      <a:gd name="T27" fmla="*/ 82 h 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68" h="84">
                        <a:moveTo>
                          <a:pt x="0" y="82"/>
                        </a:moveTo>
                        <a:cubicBezTo>
                          <a:pt x="3" y="75"/>
                          <a:pt x="6" y="69"/>
                          <a:pt x="10" y="63"/>
                        </a:cubicBezTo>
                        <a:cubicBezTo>
                          <a:pt x="32" y="30"/>
                          <a:pt x="62" y="9"/>
                          <a:pt x="101" y="2"/>
                        </a:cubicBezTo>
                        <a:cubicBezTo>
                          <a:pt x="111" y="0"/>
                          <a:pt x="121" y="0"/>
                          <a:pt x="131" y="0"/>
                        </a:cubicBezTo>
                        <a:cubicBezTo>
                          <a:pt x="132" y="0"/>
                          <a:pt x="134" y="1"/>
                          <a:pt x="135" y="1"/>
                        </a:cubicBezTo>
                        <a:cubicBezTo>
                          <a:pt x="147" y="15"/>
                          <a:pt x="158" y="30"/>
                          <a:pt x="167" y="46"/>
                        </a:cubicBezTo>
                        <a:cubicBezTo>
                          <a:pt x="168" y="48"/>
                          <a:pt x="168" y="49"/>
                          <a:pt x="166" y="51"/>
                        </a:cubicBezTo>
                        <a:cubicBezTo>
                          <a:pt x="166" y="51"/>
                          <a:pt x="166" y="51"/>
                          <a:pt x="166" y="51"/>
                        </a:cubicBezTo>
                        <a:cubicBezTo>
                          <a:pt x="163" y="56"/>
                          <a:pt x="159" y="56"/>
                          <a:pt x="154" y="56"/>
                        </a:cubicBezTo>
                        <a:cubicBezTo>
                          <a:pt x="124" y="55"/>
                          <a:pt x="95" y="62"/>
                          <a:pt x="67" y="75"/>
                        </a:cubicBezTo>
                        <a:cubicBezTo>
                          <a:pt x="64" y="76"/>
                          <a:pt x="62" y="77"/>
                          <a:pt x="59" y="75"/>
                        </a:cubicBezTo>
                        <a:cubicBezTo>
                          <a:pt x="51" y="69"/>
                          <a:pt x="38" y="72"/>
                          <a:pt x="33" y="81"/>
                        </a:cubicBezTo>
                        <a:cubicBezTo>
                          <a:pt x="31" y="83"/>
                          <a:pt x="30" y="84"/>
                          <a:pt x="27" y="83"/>
                        </a:cubicBezTo>
                        <a:cubicBezTo>
                          <a:pt x="19" y="83"/>
                          <a:pt x="10" y="82"/>
                          <a:pt x="0" y="8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4" name="Freeform 24">
                    <a:extLst>
                      <a:ext uri="{FF2B5EF4-FFF2-40B4-BE49-F238E27FC236}">
                        <a16:creationId xmlns:a16="http://schemas.microsoft.com/office/drawing/2014/main" id="{B7987500-3D2F-425B-AE55-29CEF3CC5B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261074" y="3565717"/>
                    <a:ext cx="251154" cy="242289"/>
                  </a:xfrm>
                  <a:custGeom>
                    <a:avLst/>
                    <a:gdLst>
                      <a:gd name="T0" fmla="*/ 119 w 119"/>
                      <a:gd name="T1" fmla="*/ 65 h 115"/>
                      <a:gd name="T2" fmla="*/ 113 w 119"/>
                      <a:gd name="T3" fmla="*/ 113 h 115"/>
                      <a:gd name="T4" fmla="*/ 111 w 119"/>
                      <a:gd name="T5" fmla="*/ 115 h 115"/>
                      <a:gd name="T6" fmla="*/ 109 w 119"/>
                      <a:gd name="T7" fmla="*/ 113 h 115"/>
                      <a:gd name="T8" fmla="*/ 58 w 119"/>
                      <a:gd name="T9" fmla="*/ 56 h 115"/>
                      <a:gd name="T10" fmla="*/ 3 w 119"/>
                      <a:gd name="T11" fmla="*/ 26 h 115"/>
                      <a:gd name="T12" fmla="*/ 0 w 119"/>
                      <a:gd name="T13" fmla="*/ 23 h 115"/>
                      <a:gd name="T14" fmla="*/ 3 w 119"/>
                      <a:gd name="T15" fmla="*/ 19 h 115"/>
                      <a:gd name="T16" fmla="*/ 91 w 119"/>
                      <a:gd name="T17" fmla="*/ 1 h 115"/>
                      <a:gd name="T18" fmla="*/ 94 w 119"/>
                      <a:gd name="T19" fmla="*/ 3 h 115"/>
                      <a:gd name="T20" fmla="*/ 110 w 119"/>
                      <a:gd name="T21" fmla="*/ 16 h 115"/>
                      <a:gd name="T22" fmla="*/ 113 w 119"/>
                      <a:gd name="T23" fmla="*/ 19 h 115"/>
                      <a:gd name="T24" fmla="*/ 119 w 119"/>
                      <a:gd name="T25" fmla="*/ 65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9" h="115">
                        <a:moveTo>
                          <a:pt x="119" y="65"/>
                        </a:moveTo>
                        <a:cubicBezTo>
                          <a:pt x="119" y="81"/>
                          <a:pt x="117" y="97"/>
                          <a:pt x="113" y="113"/>
                        </a:cubicBezTo>
                        <a:cubicBezTo>
                          <a:pt x="113" y="114"/>
                          <a:pt x="112" y="114"/>
                          <a:pt x="111" y="115"/>
                        </a:cubicBezTo>
                        <a:cubicBezTo>
                          <a:pt x="110" y="115"/>
                          <a:pt x="109" y="114"/>
                          <a:pt x="109" y="113"/>
                        </a:cubicBezTo>
                        <a:cubicBezTo>
                          <a:pt x="95" y="91"/>
                          <a:pt x="79" y="72"/>
                          <a:pt x="58" y="56"/>
                        </a:cubicBezTo>
                        <a:cubicBezTo>
                          <a:pt x="41" y="43"/>
                          <a:pt x="23" y="33"/>
                          <a:pt x="3" y="26"/>
                        </a:cubicBezTo>
                        <a:cubicBezTo>
                          <a:pt x="2" y="25"/>
                          <a:pt x="0" y="25"/>
                          <a:pt x="0" y="23"/>
                        </a:cubicBezTo>
                        <a:cubicBezTo>
                          <a:pt x="0" y="20"/>
                          <a:pt x="1" y="20"/>
                          <a:pt x="3" y="19"/>
                        </a:cubicBezTo>
                        <a:cubicBezTo>
                          <a:pt x="31" y="6"/>
                          <a:pt x="60" y="0"/>
                          <a:pt x="91" y="1"/>
                        </a:cubicBezTo>
                        <a:cubicBezTo>
                          <a:pt x="92" y="1"/>
                          <a:pt x="93" y="1"/>
                          <a:pt x="94" y="3"/>
                        </a:cubicBezTo>
                        <a:cubicBezTo>
                          <a:pt x="97" y="10"/>
                          <a:pt x="103" y="14"/>
                          <a:pt x="110" y="16"/>
                        </a:cubicBezTo>
                        <a:cubicBezTo>
                          <a:pt x="112" y="16"/>
                          <a:pt x="113" y="17"/>
                          <a:pt x="113" y="19"/>
                        </a:cubicBezTo>
                        <a:cubicBezTo>
                          <a:pt x="117" y="34"/>
                          <a:pt x="119" y="50"/>
                          <a:pt x="119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5" name="Freeform 24">
                    <a:extLst>
                      <a:ext uri="{FF2B5EF4-FFF2-40B4-BE49-F238E27FC236}">
                        <a16:creationId xmlns:a16="http://schemas.microsoft.com/office/drawing/2014/main" id="{FB9661F3-0EC9-4650-A117-58A0DE3E50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441314" y="3429799"/>
                    <a:ext cx="197969" cy="159556"/>
                  </a:xfrm>
                  <a:custGeom>
                    <a:avLst/>
                    <a:gdLst>
                      <a:gd name="T0" fmla="*/ 0 w 95"/>
                      <a:gd name="T1" fmla="*/ 0 h 76"/>
                      <a:gd name="T2" fmla="*/ 95 w 95"/>
                      <a:gd name="T3" fmla="*/ 76 h 76"/>
                      <a:gd name="T4" fmla="*/ 91 w 95"/>
                      <a:gd name="T5" fmla="*/ 74 h 76"/>
                      <a:gd name="T6" fmla="*/ 52 w 95"/>
                      <a:gd name="T7" fmla="*/ 59 h 76"/>
                      <a:gd name="T8" fmla="*/ 49 w 95"/>
                      <a:gd name="T9" fmla="*/ 57 h 76"/>
                      <a:gd name="T10" fmla="*/ 29 w 95"/>
                      <a:gd name="T11" fmla="*/ 42 h 76"/>
                      <a:gd name="T12" fmla="*/ 26 w 95"/>
                      <a:gd name="T13" fmla="*/ 40 h 76"/>
                      <a:gd name="T14" fmla="*/ 1 w 95"/>
                      <a:gd name="T15" fmla="*/ 1 h 76"/>
                      <a:gd name="T16" fmla="*/ 0 w 95"/>
                      <a:gd name="T17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5" h="76">
                        <a:moveTo>
                          <a:pt x="0" y="0"/>
                        </a:moveTo>
                        <a:cubicBezTo>
                          <a:pt x="44" y="10"/>
                          <a:pt x="76" y="36"/>
                          <a:pt x="95" y="76"/>
                        </a:cubicBezTo>
                        <a:cubicBezTo>
                          <a:pt x="94" y="76"/>
                          <a:pt x="93" y="75"/>
                          <a:pt x="91" y="74"/>
                        </a:cubicBezTo>
                        <a:cubicBezTo>
                          <a:pt x="79" y="68"/>
                          <a:pt x="66" y="63"/>
                          <a:pt x="52" y="59"/>
                        </a:cubicBezTo>
                        <a:cubicBezTo>
                          <a:pt x="51" y="59"/>
                          <a:pt x="49" y="58"/>
                          <a:pt x="49" y="57"/>
                        </a:cubicBezTo>
                        <a:cubicBezTo>
                          <a:pt x="45" y="48"/>
                          <a:pt x="38" y="44"/>
                          <a:pt x="29" y="42"/>
                        </a:cubicBezTo>
                        <a:cubicBezTo>
                          <a:pt x="28" y="42"/>
                          <a:pt x="27" y="41"/>
                          <a:pt x="26" y="40"/>
                        </a:cubicBezTo>
                        <a:cubicBezTo>
                          <a:pt x="19" y="26"/>
                          <a:pt x="11" y="13"/>
                          <a:pt x="1" y="1"/>
                        </a:cubicBezTo>
                        <a:cubicBezTo>
                          <a:pt x="1" y="1"/>
                          <a:pt x="1" y="1"/>
                          <a:pt x="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6" name="Freeform 24">
                    <a:extLst>
                      <a:ext uri="{FF2B5EF4-FFF2-40B4-BE49-F238E27FC236}">
                        <a16:creationId xmlns:a16="http://schemas.microsoft.com/office/drawing/2014/main" id="{30E2A229-ADF0-4702-8825-88F3D669A88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426540" y="3893695"/>
                    <a:ext cx="91598" cy="100461"/>
                  </a:xfrm>
                  <a:custGeom>
                    <a:avLst/>
                    <a:gdLst>
                      <a:gd name="T0" fmla="*/ 0 w 44"/>
                      <a:gd name="T1" fmla="*/ 47 h 47"/>
                      <a:gd name="T2" fmla="*/ 10 w 44"/>
                      <a:gd name="T3" fmla="*/ 35 h 47"/>
                      <a:gd name="T4" fmla="*/ 32 w 44"/>
                      <a:gd name="T5" fmla="*/ 2 h 47"/>
                      <a:gd name="T6" fmla="*/ 35 w 44"/>
                      <a:gd name="T7" fmla="*/ 0 h 47"/>
                      <a:gd name="T8" fmla="*/ 37 w 44"/>
                      <a:gd name="T9" fmla="*/ 3 h 47"/>
                      <a:gd name="T10" fmla="*/ 44 w 44"/>
                      <a:gd name="T11" fmla="*/ 32 h 47"/>
                      <a:gd name="T12" fmla="*/ 0 w 44"/>
                      <a:gd name="T13" fmla="*/ 4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4" h="47">
                        <a:moveTo>
                          <a:pt x="0" y="47"/>
                        </a:moveTo>
                        <a:cubicBezTo>
                          <a:pt x="4" y="43"/>
                          <a:pt x="7" y="39"/>
                          <a:pt x="10" y="35"/>
                        </a:cubicBezTo>
                        <a:cubicBezTo>
                          <a:pt x="18" y="25"/>
                          <a:pt x="25" y="13"/>
                          <a:pt x="32" y="2"/>
                        </a:cubicBezTo>
                        <a:cubicBezTo>
                          <a:pt x="33" y="1"/>
                          <a:pt x="34" y="1"/>
                          <a:pt x="35" y="0"/>
                        </a:cubicBezTo>
                        <a:cubicBezTo>
                          <a:pt x="35" y="1"/>
                          <a:pt x="36" y="2"/>
                          <a:pt x="37" y="3"/>
                        </a:cubicBezTo>
                        <a:cubicBezTo>
                          <a:pt x="39" y="13"/>
                          <a:pt x="42" y="23"/>
                          <a:pt x="44" y="32"/>
                        </a:cubicBezTo>
                        <a:cubicBezTo>
                          <a:pt x="30" y="40"/>
                          <a:pt x="16" y="45"/>
                          <a:pt x="0" y="4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17" name="Freeform 24">
                    <a:extLst>
                      <a:ext uri="{FF2B5EF4-FFF2-40B4-BE49-F238E27FC236}">
                        <a16:creationId xmlns:a16="http://schemas.microsoft.com/office/drawing/2014/main" id="{C4A84939-369B-4D41-9EFA-5D98F4624E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7089699" y="3621859"/>
                    <a:ext cx="88642" cy="94552"/>
                  </a:xfrm>
                  <a:custGeom>
                    <a:avLst/>
                    <a:gdLst>
                      <a:gd name="T0" fmla="*/ 0 w 42"/>
                      <a:gd name="T1" fmla="*/ 44 h 44"/>
                      <a:gd name="T2" fmla="*/ 3 w 42"/>
                      <a:gd name="T3" fmla="*/ 20 h 44"/>
                      <a:gd name="T4" fmla="*/ 6 w 42"/>
                      <a:gd name="T5" fmla="*/ 3 h 44"/>
                      <a:gd name="T6" fmla="*/ 8 w 42"/>
                      <a:gd name="T7" fmla="*/ 1 h 44"/>
                      <a:gd name="T8" fmla="*/ 40 w 42"/>
                      <a:gd name="T9" fmla="*/ 2 h 44"/>
                      <a:gd name="T10" fmla="*/ 42 w 42"/>
                      <a:gd name="T11" fmla="*/ 3 h 44"/>
                      <a:gd name="T12" fmla="*/ 2 w 42"/>
                      <a:gd name="T13" fmla="*/ 44 h 44"/>
                      <a:gd name="T14" fmla="*/ 0 w 42"/>
                      <a:gd name="T15" fmla="*/ 44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2" h="44">
                        <a:moveTo>
                          <a:pt x="0" y="44"/>
                        </a:moveTo>
                        <a:cubicBezTo>
                          <a:pt x="1" y="36"/>
                          <a:pt x="1" y="28"/>
                          <a:pt x="3" y="20"/>
                        </a:cubicBezTo>
                        <a:cubicBezTo>
                          <a:pt x="3" y="14"/>
                          <a:pt x="5" y="8"/>
                          <a:pt x="6" y="3"/>
                        </a:cubicBezTo>
                        <a:cubicBezTo>
                          <a:pt x="7" y="2"/>
                          <a:pt x="8" y="0"/>
                          <a:pt x="8" y="1"/>
                        </a:cubicBezTo>
                        <a:cubicBezTo>
                          <a:pt x="19" y="1"/>
                          <a:pt x="30" y="1"/>
                          <a:pt x="40" y="2"/>
                        </a:cubicBezTo>
                        <a:cubicBezTo>
                          <a:pt x="41" y="2"/>
                          <a:pt x="41" y="2"/>
                          <a:pt x="42" y="3"/>
                        </a:cubicBezTo>
                        <a:cubicBezTo>
                          <a:pt x="26" y="15"/>
                          <a:pt x="13" y="29"/>
                          <a:pt x="2" y="44"/>
                        </a:cubicBezTo>
                        <a:cubicBezTo>
                          <a:pt x="1" y="44"/>
                          <a:pt x="1" y="44"/>
                          <a:pt x="0" y="4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</p:grpSp>
            <p:sp>
              <p:nvSpPr>
                <p:cNvPr id="210" name="Rechteck 102">
                  <a:extLst>
                    <a:ext uri="{FF2B5EF4-FFF2-40B4-BE49-F238E27FC236}">
                      <a16:creationId xmlns:a16="http://schemas.microsoft.com/office/drawing/2014/main" id="{ABF7670C-BFD0-40E9-AB0A-BB6B117AF44A}"/>
                    </a:ext>
                  </a:extLst>
                </p:cNvPr>
                <p:cNvSpPr/>
                <p:nvPr/>
              </p:nvSpPr>
              <p:spPr bwMode="gray">
                <a:xfrm>
                  <a:off x="4564222" y="2854146"/>
                  <a:ext cx="1345503" cy="4524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30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Placeholder text</a:t>
                  </a:r>
                </a:p>
              </p:txBody>
            </p:sp>
          </p:grpSp>
          <p:grpSp>
            <p:nvGrpSpPr>
              <p:cNvPr id="186" name="Gruppieren 76">
                <a:extLst>
                  <a:ext uri="{FF2B5EF4-FFF2-40B4-BE49-F238E27FC236}">
                    <a16:creationId xmlns:a16="http://schemas.microsoft.com/office/drawing/2014/main" id="{4E681682-2574-4823-B31A-15B691F528BE}"/>
                  </a:ext>
                </a:extLst>
              </p:cNvPr>
              <p:cNvGrpSpPr/>
              <p:nvPr/>
            </p:nvGrpSpPr>
            <p:grpSpPr bwMode="gray">
              <a:xfrm>
                <a:off x="2963904" y="2240342"/>
                <a:ext cx="1345503" cy="770182"/>
                <a:chOff x="2963904" y="2240342"/>
                <a:chExt cx="1345503" cy="770182"/>
              </a:xfrm>
            </p:grpSpPr>
            <p:sp>
              <p:nvSpPr>
                <p:cNvPr id="204" name="Rechteck 96">
                  <a:extLst>
                    <a:ext uri="{FF2B5EF4-FFF2-40B4-BE49-F238E27FC236}">
                      <a16:creationId xmlns:a16="http://schemas.microsoft.com/office/drawing/2014/main" id="{08500084-26EF-4B2C-AA90-A9FB2C7A748E}"/>
                    </a:ext>
                  </a:extLst>
                </p:cNvPr>
                <p:cNvSpPr/>
                <p:nvPr/>
              </p:nvSpPr>
              <p:spPr bwMode="gray">
                <a:xfrm>
                  <a:off x="2963904" y="2558092"/>
                  <a:ext cx="1345503" cy="4524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25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Placeholder</a:t>
                  </a:r>
                </a:p>
              </p:txBody>
            </p:sp>
            <p:grpSp>
              <p:nvGrpSpPr>
                <p:cNvPr id="205" name="METRO ICON - person 3">
                  <a:extLst>
                    <a:ext uri="{FF2B5EF4-FFF2-40B4-BE49-F238E27FC236}">
                      <a16:creationId xmlns:a16="http://schemas.microsoft.com/office/drawing/2014/main" id="{5A6090EE-87D8-498A-866C-19BDB09254C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3361414" y="2240342"/>
                  <a:ext cx="514970" cy="316536"/>
                  <a:chOff x="3188782" y="3518523"/>
                  <a:chExt cx="612115" cy="376248"/>
                </a:xfrm>
                <a:solidFill>
                  <a:sysClr val="window" lastClr="FFFFFF">
                    <a:lumMod val="75000"/>
                  </a:sysClr>
                </a:solidFill>
              </p:grpSpPr>
              <p:sp>
                <p:nvSpPr>
                  <p:cNvPr id="206" name="Freeform 21">
                    <a:extLst>
                      <a:ext uri="{FF2B5EF4-FFF2-40B4-BE49-F238E27FC236}">
                        <a16:creationId xmlns:a16="http://schemas.microsoft.com/office/drawing/2014/main" id="{7A897528-E70C-41A2-B72F-9858C2E7F4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334629" y="3518523"/>
                    <a:ext cx="327399" cy="376248"/>
                  </a:xfrm>
                  <a:custGeom>
                    <a:avLst/>
                    <a:gdLst>
                      <a:gd name="T0" fmla="*/ 175 w 237"/>
                      <a:gd name="T1" fmla="*/ 191 h 271"/>
                      <a:gd name="T2" fmla="*/ 130 w 237"/>
                      <a:gd name="T3" fmla="*/ 145 h 271"/>
                      <a:gd name="T4" fmla="*/ 145 w 237"/>
                      <a:gd name="T5" fmla="*/ 110 h 271"/>
                      <a:gd name="T6" fmla="*/ 157 w 237"/>
                      <a:gd name="T7" fmla="*/ 86 h 271"/>
                      <a:gd name="T8" fmla="*/ 153 w 237"/>
                      <a:gd name="T9" fmla="*/ 73 h 271"/>
                      <a:gd name="T10" fmla="*/ 156 w 237"/>
                      <a:gd name="T11" fmla="*/ 49 h 271"/>
                      <a:gd name="T12" fmla="*/ 101 w 237"/>
                      <a:gd name="T13" fmla="*/ 0 h 271"/>
                      <a:gd name="T14" fmla="*/ 46 w 237"/>
                      <a:gd name="T15" fmla="*/ 49 h 271"/>
                      <a:gd name="T16" fmla="*/ 50 w 237"/>
                      <a:gd name="T17" fmla="*/ 73 h 271"/>
                      <a:gd name="T18" fmla="*/ 46 w 237"/>
                      <a:gd name="T19" fmla="*/ 86 h 271"/>
                      <a:gd name="T20" fmla="*/ 58 w 237"/>
                      <a:gd name="T21" fmla="*/ 110 h 271"/>
                      <a:gd name="T22" fmla="*/ 73 w 237"/>
                      <a:gd name="T23" fmla="*/ 145 h 271"/>
                      <a:gd name="T24" fmla="*/ 28 w 237"/>
                      <a:gd name="T25" fmla="*/ 191 h 271"/>
                      <a:gd name="T26" fmla="*/ 0 w 237"/>
                      <a:gd name="T27" fmla="*/ 215 h 271"/>
                      <a:gd name="T28" fmla="*/ 0 w 237"/>
                      <a:gd name="T29" fmla="*/ 271 h 271"/>
                      <a:gd name="T30" fmla="*/ 237 w 237"/>
                      <a:gd name="T31" fmla="*/ 271 h 271"/>
                      <a:gd name="T32" fmla="*/ 237 w 237"/>
                      <a:gd name="T33" fmla="*/ 229 h 271"/>
                      <a:gd name="T34" fmla="*/ 175 w 237"/>
                      <a:gd name="T35" fmla="*/ 191 h 2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37" h="271">
                        <a:moveTo>
                          <a:pt x="175" y="191"/>
                        </a:moveTo>
                        <a:cubicBezTo>
                          <a:pt x="141" y="178"/>
                          <a:pt x="130" y="167"/>
                          <a:pt x="130" y="145"/>
                        </a:cubicBezTo>
                        <a:cubicBezTo>
                          <a:pt x="130" y="130"/>
                          <a:pt x="140" y="135"/>
                          <a:pt x="145" y="110"/>
                        </a:cubicBezTo>
                        <a:cubicBezTo>
                          <a:pt x="146" y="99"/>
                          <a:pt x="156" y="110"/>
                          <a:pt x="157" y="86"/>
                        </a:cubicBezTo>
                        <a:cubicBezTo>
                          <a:pt x="157" y="76"/>
                          <a:pt x="153" y="73"/>
                          <a:pt x="153" y="73"/>
                        </a:cubicBezTo>
                        <a:cubicBezTo>
                          <a:pt x="153" y="73"/>
                          <a:pt x="155" y="60"/>
                          <a:pt x="156" y="49"/>
                        </a:cubicBezTo>
                        <a:cubicBezTo>
                          <a:pt x="157" y="35"/>
                          <a:pt x="149" y="0"/>
                          <a:pt x="101" y="0"/>
                        </a:cubicBezTo>
                        <a:cubicBezTo>
                          <a:pt x="54" y="0"/>
                          <a:pt x="46" y="35"/>
                          <a:pt x="46" y="49"/>
                        </a:cubicBezTo>
                        <a:cubicBezTo>
                          <a:pt x="48" y="60"/>
                          <a:pt x="50" y="73"/>
                          <a:pt x="50" y="73"/>
                        </a:cubicBezTo>
                        <a:cubicBezTo>
                          <a:pt x="50" y="73"/>
                          <a:pt x="46" y="76"/>
                          <a:pt x="46" y="86"/>
                        </a:cubicBezTo>
                        <a:cubicBezTo>
                          <a:pt x="47" y="110"/>
                          <a:pt x="56" y="99"/>
                          <a:pt x="58" y="110"/>
                        </a:cubicBezTo>
                        <a:cubicBezTo>
                          <a:pt x="62" y="135"/>
                          <a:pt x="73" y="130"/>
                          <a:pt x="73" y="145"/>
                        </a:cubicBezTo>
                        <a:cubicBezTo>
                          <a:pt x="73" y="167"/>
                          <a:pt x="62" y="178"/>
                          <a:pt x="28" y="191"/>
                        </a:cubicBezTo>
                        <a:cubicBezTo>
                          <a:pt x="18" y="194"/>
                          <a:pt x="0" y="201"/>
                          <a:pt x="0" y="215"/>
                        </a:cubicBezTo>
                        <a:cubicBezTo>
                          <a:pt x="0" y="271"/>
                          <a:pt x="0" y="271"/>
                          <a:pt x="0" y="271"/>
                        </a:cubicBezTo>
                        <a:cubicBezTo>
                          <a:pt x="237" y="271"/>
                          <a:pt x="237" y="271"/>
                          <a:pt x="237" y="271"/>
                        </a:cubicBezTo>
                        <a:cubicBezTo>
                          <a:pt x="237" y="271"/>
                          <a:pt x="237" y="238"/>
                          <a:pt x="237" y="229"/>
                        </a:cubicBezTo>
                        <a:cubicBezTo>
                          <a:pt x="237" y="216"/>
                          <a:pt x="209" y="204"/>
                          <a:pt x="175" y="19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07" name="Freeform 21">
                    <a:extLst>
                      <a:ext uri="{FF2B5EF4-FFF2-40B4-BE49-F238E27FC236}">
                        <a16:creationId xmlns:a16="http://schemas.microsoft.com/office/drawing/2014/main" id="{D97351EB-6CA8-4109-80F1-DEB472527FB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597362" y="3572605"/>
                    <a:ext cx="203535" cy="322166"/>
                  </a:xfrm>
                  <a:custGeom>
                    <a:avLst/>
                    <a:gdLst>
                      <a:gd name="T0" fmla="*/ 97 w 147"/>
                      <a:gd name="T1" fmla="*/ 143 h 232"/>
                      <a:gd name="T2" fmla="*/ 64 w 147"/>
                      <a:gd name="T3" fmla="*/ 109 h 232"/>
                      <a:gd name="T4" fmla="*/ 75 w 147"/>
                      <a:gd name="T5" fmla="*/ 82 h 232"/>
                      <a:gd name="T6" fmla="*/ 84 w 147"/>
                      <a:gd name="T7" fmla="*/ 64 h 232"/>
                      <a:gd name="T8" fmla="*/ 81 w 147"/>
                      <a:gd name="T9" fmla="*/ 55 h 232"/>
                      <a:gd name="T10" fmla="*/ 84 w 147"/>
                      <a:gd name="T11" fmla="*/ 37 h 232"/>
                      <a:gd name="T12" fmla="*/ 42 w 147"/>
                      <a:gd name="T13" fmla="*/ 0 h 232"/>
                      <a:gd name="T14" fmla="*/ 1 w 147"/>
                      <a:gd name="T15" fmla="*/ 37 h 232"/>
                      <a:gd name="T16" fmla="*/ 4 w 147"/>
                      <a:gd name="T17" fmla="*/ 55 h 232"/>
                      <a:gd name="T18" fmla="*/ 0 w 147"/>
                      <a:gd name="T19" fmla="*/ 64 h 232"/>
                      <a:gd name="T20" fmla="*/ 10 w 147"/>
                      <a:gd name="T21" fmla="*/ 82 h 232"/>
                      <a:gd name="T22" fmla="*/ 21 w 147"/>
                      <a:gd name="T23" fmla="*/ 109 h 232"/>
                      <a:gd name="T24" fmla="*/ 7 w 147"/>
                      <a:gd name="T25" fmla="*/ 134 h 232"/>
                      <a:gd name="T26" fmla="*/ 70 w 147"/>
                      <a:gd name="T27" fmla="*/ 187 h 232"/>
                      <a:gd name="T28" fmla="*/ 70 w 147"/>
                      <a:gd name="T29" fmla="*/ 232 h 232"/>
                      <a:gd name="T30" fmla="*/ 147 w 147"/>
                      <a:gd name="T31" fmla="*/ 232 h 232"/>
                      <a:gd name="T32" fmla="*/ 142 w 147"/>
                      <a:gd name="T33" fmla="*/ 168 h 232"/>
                      <a:gd name="T34" fmla="*/ 97 w 147"/>
                      <a:gd name="T35" fmla="*/ 143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7" h="232">
                        <a:moveTo>
                          <a:pt x="97" y="143"/>
                        </a:moveTo>
                        <a:cubicBezTo>
                          <a:pt x="72" y="133"/>
                          <a:pt x="64" y="126"/>
                          <a:pt x="64" y="109"/>
                        </a:cubicBezTo>
                        <a:cubicBezTo>
                          <a:pt x="64" y="98"/>
                          <a:pt x="72" y="101"/>
                          <a:pt x="75" y="82"/>
                        </a:cubicBezTo>
                        <a:cubicBezTo>
                          <a:pt x="76" y="74"/>
                          <a:pt x="84" y="82"/>
                          <a:pt x="84" y="64"/>
                        </a:cubicBezTo>
                        <a:cubicBezTo>
                          <a:pt x="84" y="57"/>
                          <a:pt x="81" y="55"/>
                          <a:pt x="81" y="55"/>
                        </a:cubicBezTo>
                        <a:cubicBezTo>
                          <a:pt x="81" y="55"/>
                          <a:pt x="83" y="44"/>
                          <a:pt x="84" y="37"/>
                        </a:cubicBezTo>
                        <a:cubicBezTo>
                          <a:pt x="84" y="27"/>
                          <a:pt x="78" y="0"/>
                          <a:pt x="42" y="0"/>
                        </a:cubicBezTo>
                        <a:cubicBezTo>
                          <a:pt x="8" y="0"/>
                          <a:pt x="0" y="27"/>
                          <a:pt x="1" y="37"/>
                        </a:cubicBezTo>
                        <a:cubicBezTo>
                          <a:pt x="2" y="44"/>
                          <a:pt x="4" y="55"/>
                          <a:pt x="4" y="55"/>
                        </a:cubicBezTo>
                        <a:cubicBezTo>
                          <a:pt x="4" y="55"/>
                          <a:pt x="0" y="57"/>
                          <a:pt x="0" y="64"/>
                        </a:cubicBezTo>
                        <a:cubicBezTo>
                          <a:pt x="2" y="82"/>
                          <a:pt x="8" y="74"/>
                          <a:pt x="10" y="82"/>
                        </a:cubicBezTo>
                        <a:cubicBezTo>
                          <a:pt x="13" y="101"/>
                          <a:pt x="21" y="98"/>
                          <a:pt x="21" y="109"/>
                        </a:cubicBezTo>
                        <a:cubicBezTo>
                          <a:pt x="21" y="120"/>
                          <a:pt x="17" y="128"/>
                          <a:pt x="7" y="134"/>
                        </a:cubicBezTo>
                        <a:cubicBezTo>
                          <a:pt x="62" y="159"/>
                          <a:pt x="70" y="164"/>
                          <a:pt x="70" y="187"/>
                        </a:cubicBezTo>
                        <a:cubicBezTo>
                          <a:pt x="70" y="232"/>
                          <a:pt x="70" y="232"/>
                          <a:pt x="70" y="232"/>
                        </a:cubicBezTo>
                        <a:cubicBezTo>
                          <a:pt x="147" y="232"/>
                          <a:pt x="147" y="232"/>
                          <a:pt x="147" y="232"/>
                        </a:cubicBezTo>
                        <a:cubicBezTo>
                          <a:pt x="147" y="232"/>
                          <a:pt x="146" y="174"/>
                          <a:pt x="142" y="168"/>
                        </a:cubicBezTo>
                        <a:cubicBezTo>
                          <a:pt x="137" y="159"/>
                          <a:pt x="123" y="153"/>
                          <a:pt x="97" y="14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208" name="Freeform 21">
                    <a:extLst>
                      <a:ext uri="{FF2B5EF4-FFF2-40B4-BE49-F238E27FC236}">
                        <a16:creationId xmlns:a16="http://schemas.microsoft.com/office/drawing/2014/main" id="{460BF9E4-F2E0-45CD-B96C-37DE1E94E7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188782" y="3572605"/>
                    <a:ext cx="201790" cy="322166"/>
                  </a:xfrm>
                  <a:custGeom>
                    <a:avLst/>
                    <a:gdLst>
                      <a:gd name="T0" fmla="*/ 50 w 146"/>
                      <a:gd name="T1" fmla="*/ 143 h 232"/>
                      <a:gd name="T2" fmla="*/ 83 w 146"/>
                      <a:gd name="T3" fmla="*/ 109 h 232"/>
                      <a:gd name="T4" fmla="*/ 72 w 146"/>
                      <a:gd name="T5" fmla="*/ 82 h 232"/>
                      <a:gd name="T6" fmla="*/ 62 w 146"/>
                      <a:gd name="T7" fmla="*/ 64 h 232"/>
                      <a:gd name="T8" fmla="*/ 66 w 146"/>
                      <a:gd name="T9" fmla="*/ 55 h 232"/>
                      <a:gd name="T10" fmla="*/ 63 w 146"/>
                      <a:gd name="T11" fmla="*/ 37 h 232"/>
                      <a:gd name="T12" fmla="*/ 104 w 146"/>
                      <a:gd name="T13" fmla="*/ 0 h 232"/>
                      <a:gd name="T14" fmla="*/ 146 w 146"/>
                      <a:gd name="T15" fmla="*/ 37 h 232"/>
                      <a:gd name="T16" fmla="*/ 142 w 146"/>
                      <a:gd name="T17" fmla="*/ 55 h 232"/>
                      <a:gd name="T18" fmla="*/ 146 w 146"/>
                      <a:gd name="T19" fmla="*/ 64 h 232"/>
                      <a:gd name="T20" fmla="*/ 137 w 146"/>
                      <a:gd name="T21" fmla="*/ 82 h 232"/>
                      <a:gd name="T22" fmla="*/ 126 w 146"/>
                      <a:gd name="T23" fmla="*/ 109 h 232"/>
                      <a:gd name="T24" fmla="*/ 140 w 146"/>
                      <a:gd name="T25" fmla="*/ 134 h 232"/>
                      <a:gd name="T26" fmla="*/ 77 w 146"/>
                      <a:gd name="T27" fmla="*/ 187 h 232"/>
                      <a:gd name="T28" fmla="*/ 77 w 146"/>
                      <a:gd name="T29" fmla="*/ 232 h 232"/>
                      <a:gd name="T30" fmla="*/ 0 w 146"/>
                      <a:gd name="T31" fmla="*/ 232 h 232"/>
                      <a:gd name="T32" fmla="*/ 5 w 146"/>
                      <a:gd name="T33" fmla="*/ 168 h 232"/>
                      <a:gd name="T34" fmla="*/ 50 w 146"/>
                      <a:gd name="T35" fmla="*/ 143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46" h="232">
                        <a:moveTo>
                          <a:pt x="50" y="143"/>
                        </a:moveTo>
                        <a:cubicBezTo>
                          <a:pt x="75" y="133"/>
                          <a:pt x="83" y="126"/>
                          <a:pt x="83" y="109"/>
                        </a:cubicBezTo>
                        <a:cubicBezTo>
                          <a:pt x="83" y="98"/>
                          <a:pt x="75" y="101"/>
                          <a:pt x="72" y="82"/>
                        </a:cubicBezTo>
                        <a:cubicBezTo>
                          <a:pt x="70" y="74"/>
                          <a:pt x="63" y="82"/>
                          <a:pt x="62" y="64"/>
                        </a:cubicBezTo>
                        <a:cubicBezTo>
                          <a:pt x="62" y="57"/>
                          <a:pt x="66" y="55"/>
                          <a:pt x="66" y="55"/>
                        </a:cubicBezTo>
                        <a:cubicBezTo>
                          <a:pt x="66" y="55"/>
                          <a:pt x="64" y="44"/>
                          <a:pt x="63" y="37"/>
                        </a:cubicBezTo>
                        <a:cubicBezTo>
                          <a:pt x="62" y="27"/>
                          <a:pt x="69" y="0"/>
                          <a:pt x="104" y="0"/>
                        </a:cubicBezTo>
                        <a:cubicBezTo>
                          <a:pt x="139" y="0"/>
                          <a:pt x="146" y="27"/>
                          <a:pt x="146" y="37"/>
                        </a:cubicBezTo>
                        <a:cubicBezTo>
                          <a:pt x="145" y="44"/>
                          <a:pt x="142" y="55"/>
                          <a:pt x="142" y="55"/>
                        </a:cubicBezTo>
                        <a:cubicBezTo>
                          <a:pt x="142" y="55"/>
                          <a:pt x="146" y="57"/>
                          <a:pt x="146" y="64"/>
                        </a:cubicBezTo>
                        <a:cubicBezTo>
                          <a:pt x="145" y="82"/>
                          <a:pt x="138" y="74"/>
                          <a:pt x="137" y="82"/>
                        </a:cubicBezTo>
                        <a:cubicBezTo>
                          <a:pt x="134" y="101"/>
                          <a:pt x="126" y="98"/>
                          <a:pt x="126" y="109"/>
                        </a:cubicBezTo>
                        <a:cubicBezTo>
                          <a:pt x="126" y="120"/>
                          <a:pt x="130" y="128"/>
                          <a:pt x="140" y="134"/>
                        </a:cubicBezTo>
                        <a:cubicBezTo>
                          <a:pt x="85" y="159"/>
                          <a:pt x="77" y="164"/>
                          <a:pt x="77" y="187"/>
                        </a:cubicBezTo>
                        <a:cubicBezTo>
                          <a:pt x="77" y="232"/>
                          <a:pt x="77" y="232"/>
                          <a:pt x="77" y="232"/>
                        </a:cubicBezTo>
                        <a:cubicBezTo>
                          <a:pt x="0" y="232"/>
                          <a:pt x="0" y="232"/>
                          <a:pt x="0" y="232"/>
                        </a:cubicBezTo>
                        <a:cubicBezTo>
                          <a:pt x="0" y="232"/>
                          <a:pt x="1" y="174"/>
                          <a:pt x="5" y="168"/>
                        </a:cubicBezTo>
                        <a:cubicBezTo>
                          <a:pt x="10" y="159"/>
                          <a:pt x="24" y="153"/>
                          <a:pt x="50" y="14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</p:grpSp>
          </p:grpSp>
          <p:grpSp>
            <p:nvGrpSpPr>
              <p:cNvPr id="187" name="Gruppieren 77">
                <a:extLst>
                  <a:ext uri="{FF2B5EF4-FFF2-40B4-BE49-F238E27FC236}">
                    <a16:creationId xmlns:a16="http://schemas.microsoft.com/office/drawing/2014/main" id="{902A71F2-42FB-45BB-9796-FC8F2571A1E0}"/>
                  </a:ext>
                </a:extLst>
              </p:cNvPr>
              <p:cNvGrpSpPr/>
              <p:nvPr/>
            </p:nvGrpSpPr>
            <p:grpSpPr bwMode="gray">
              <a:xfrm>
                <a:off x="2131289" y="3266726"/>
                <a:ext cx="1345503" cy="869954"/>
                <a:chOff x="2131289" y="3266726"/>
                <a:chExt cx="1345503" cy="869954"/>
              </a:xfrm>
            </p:grpSpPr>
            <p:sp>
              <p:nvSpPr>
                <p:cNvPr id="202" name="Rechteck 94">
                  <a:extLst>
                    <a:ext uri="{FF2B5EF4-FFF2-40B4-BE49-F238E27FC236}">
                      <a16:creationId xmlns:a16="http://schemas.microsoft.com/office/drawing/2014/main" id="{D776B536-32A8-4A01-89D5-0A24AB6AFBE5}"/>
                    </a:ext>
                  </a:extLst>
                </p:cNvPr>
                <p:cNvSpPr/>
                <p:nvPr/>
              </p:nvSpPr>
              <p:spPr bwMode="gray">
                <a:xfrm>
                  <a:off x="2131289" y="3684248"/>
                  <a:ext cx="1345503" cy="4524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15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Placeholder</a:t>
                  </a:r>
                </a:p>
              </p:txBody>
            </p:sp>
            <p:sp>
              <p:nvSpPr>
                <p:cNvPr id="203" name="METRO ICON - gear wheel 1">
                  <a:extLst>
                    <a:ext uri="{FF2B5EF4-FFF2-40B4-BE49-F238E27FC236}">
                      <a16:creationId xmlns:a16="http://schemas.microsoft.com/office/drawing/2014/main" id="{099D15CF-221B-4261-9F47-E3A9859A5480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 rot="20298125">
                  <a:off x="2601749" y="3266726"/>
                  <a:ext cx="386824" cy="392932"/>
                </a:xfrm>
                <a:custGeom>
                  <a:avLst/>
                  <a:gdLst>
                    <a:gd name="T0" fmla="*/ 51 w 266"/>
                    <a:gd name="T1" fmla="*/ 26 h 270"/>
                    <a:gd name="T2" fmla="*/ 69 w 266"/>
                    <a:gd name="T3" fmla="*/ 35 h 270"/>
                    <a:gd name="T4" fmla="*/ 108 w 266"/>
                    <a:gd name="T5" fmla="*/ 18 h 270"/>
                    <a:gd name="T6" fmla="*/ 113 w 266"/>
                    <a:gd name="T7" fmla="*/ 3 h 270"/>
                    <a:gd name="T8" fmla="*/ 118 w 266"/>
                    <a:gd name="T9" fmla="*/ 0 h 270"/>
                    <a:gd name="T10" fmla="*/ 147 w 266"/>
                    <a:gd name="T11" fmla="*/ 0 h 270"/>
                    <a:gd name="T12" fmla="*/ 152 w 266"/>
                    <a:gd name="T13" fmla="*/ 4 h 270"/>
                    <a:gd name="T14" fmla="*/ 158 w 266"/>
                    <a:gd name="T15" fmla="*/ 21 h 270"/>
                    <a:gd name="T16" fmla="*/ 194 w 266"/>
                    <a:gd name="T17" fmla="*/ 36 h 270"/>
                    <a:gd name="T18" fmla="*/ 210 w 266"/>
                    <a:gd name="T19" fmla="*/ 28 h 270"/>
                    <a:gd name="T20" fmla="*/ 217 w 266"/>
                    <a:gd name="T21" fmla="*/ 29 h 270"/>
                    <a:gd name="T22" fmla="*/ 237 w 266"/>
                    <a:gd name="T23" fmla="*/ 50 h 270"/>
                    <a:gd name="T24" fmla="*/ 238 w 266"/>
                    <a:gd name="T25" fmla="*/ 55 h 270"/>
                    <a:gd name="T26" fmla="*/ 231 w 266"/>
                    <a:gd name="T27" fmla="*/ 70 h 270"/>
                    <a:gd name="T28" fmla="*/ 247 w 266"/>
                    <a:gd name="T29" fmla="*/ 110 h 270"/>
                    <a:gd name="T30" fmla="*/ 262 w 266"/>
                    <a:gd name="T31" fmla="*/ 115 h 270"/>
                    <a:gd name="T32" fmla="*/ 266 w 266"/>
                    <a:gd name="T33" fmla="*/ 121 h 270"/>
                    <a:gd name="T34" fmla="*/ 266 w 266"/>
                    <a:gd name="T35" fmla="*/ 148 h 270"/>
                    <a:gd name="T36" fmla="*/ 261 w 266"/>
                    <a:gd name="T37" fmla="*/ 155 h 270"/>
                    <a:gd name="T38" fmla="*/ 244 w 266"/>
                    <a:gd name="T39" fmla="*/ 161 h 270"/>
                    <a:gd name="T40" fmla="*/ 230 w 266"/>
                    <a:gd name="T41" fmla="*/ 196 h 270"/>
                    <a:gd name="T42" fmla="*/ 239 w 266"/>
                    <a:gd name="T43" fmla="*/ 217 h 270"/>
                    <a:gd name="T44" fmla="*/ 216 w 266"/>
                    <a:gd name="T45" fmla="*/ 241 h 270"/>
                    <a:gd name="T46" fmla="*/ 211 w 266"/>
                    <a:gd name="T47" fmla="*/ 241 h 270"/>
                    <a:gd name="T48" fmla="*/ 195 w 266"/>
                    <a:gd name="T49" fmla="*/ 234 h 270"/>
                    <a:gd name="T50" fmla="*/ 158 w 266"/>
                    <a:gd name="T51" fmla="*/ 249 h 270"/>
                    <a:gd name="T52" fmla="*/ 152 w 266"/>
                    <a:gd name="T53" fmla="*/ 266 h 270"/>
                    <a:gd name="T54" fmla="*/ 147 w 266"/>
                    <a:gd name="T55" fmla="*/ 269 h 270"/>
                    <a:gd name="T56" fmla="*/ 118 w 266"/>
                    <a:gd name="T57" fmla="*/ 269 h 270"/>
                    <a:gd name="T58" fmla="*/ 114 w 266"/>
                    <a:gd name="T59" fmla="*/ 266 h 270"/>
                    <a:gd name="T60" fmla="*/ 108 w 266"/>
                    <a:gd name="T61" fmla="*/ 251 h 270"/>
                    <a:gd name="T62" fmla="*/ 70 w 266"/>
                    <a:gd name="T63" fmla="*/ 234 h 270"/>
                    <a:gd name="T64" fmla="*/ 54 w 266"/>
                    <a:gd name="T65" fmla="*/ 241 h 270"/>
                    <a:gd name="T66" fmla="*/ 49 w 266"/>
                    <a:gd name="T67" fmla="*/ 241 h 270"/>
                    <a:gd name="T68" fmla="*/ 28 w 266"/>
                    <a:gd name="T69" fmla="*/ 220 h 270"/>
                    <a:gd name="T70" fmla="*/ 28 w 266"/>
                    <a:gd name="T71" fmla="*/ 214 h 270"/>
                    <a:gd name="T72" fmla="*/ 36 w 266"/>
                    <a:gd name="T73" fmla="*/ 196 h 270"/>
                    <a:gd name="T74" fmla="*/ 22 w 266"/>
                    <a:gd name="T75" fmla="*/ 161 h 270"/>
                    <a:gd name="T76" fmla="*/ 3 w 266"/>
                    <a:gd name="T77" fmla="*/ 154 h 270"/>
                    <a:gd name="T78" fmla="*/ 0 w 266"/>
                    <a:gd name="T79" fmla="*/ 149 h 270"/>
                    <a:gd name="T80" fmla="*/ 0 w 266"/>
                    <a:gd name="T81" fmla="*/ 120 h 270"/>
                    <a:gd name="T82" fmla="*/ 3 w 266"/>
                    <a:gd name="T83" fmla="*/ 115 h 270"/>
                    <a:gd name="T84" fmla="*/ 19 w 266"/>
                    <a:gd name="T85" fmla="*/ 109 h 270"/>
                    <a:gd name="T86" fmla="*/ 34 w 266"/>
                    <a:gd name="T87" fmla="*/ 70 h 270"/>
                    <a:gd name="T88" fmla="*/ 28 w 266"/>
                    <a:gd name="T89" fmla="*/ 55 h 270"/>
                    <a:gd name="T90" fmla="*/ 28 w 266"/>
                    <a:gd name="T91" fmla="*/ 50 h 270"/>
                    <a:gd name="T92" fmla="*/ 51 w 266"/>
                    <a:gd name="T93" fmla="*/ 26 h 270"/>
                    <a:gd name="T94" fmla="*/ 181 w 266"/>
                    <a:gd name="T95" fmla="*/ 135 h 270"/>
                    <a:gd name="T96" fmla="*/ 133 w 266"/>
                    <a:gd name="T97" fmla="*/ 85 h 270"/>
                    <a:gd name="T98" fmla="*/ 84 w 266"/>
                    <a:gd name="T99" fmla="*/ 135 h 270"/>
                    <a:gd name="T100" fmla="*/ 133 w 266"/>
                    <a:gd name="T101" fmla="*/ 184 h 270"/>
                    <a:gd name="T102" fmla="*/ 181 w 266"/>
                    <a:gd name="T103" fmla="*/ 135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66" h="270">
                      <a:moveTo>
                        <a:pt x="51" y="26"/>
                      </a:moveTo>
                      <a:cubicBezTo>
                        <a:pt x="57" y="29"/>
                        <a:pt x="63" y="32"/>
                        <a:pt x="69" y="35"/>
                      </a:cubicBezTo>
                      <a:cubicBezTo>
                        <a:pt x="86" y="43"/>
                        <a:pt x="102" y="36"/>
                        <a:pt x="108" y="18"/>
                      </a:cubicBezTo>
                      <a:cubicBezTo>
                        <a:pt x="110" y="13"/>
                        <a:pt x="112" y="8"/>
                        <a:pt x="113" y="3"/>
                      </a:cubicBezTo>
                      <a:cubicBezTo>
                        <a:pt x="114" y="1"/>
                        <a:pt x="116" y="0"/>
                        <a:pt x="118" y="0"/>
                      </a:cubicBezTo>
                      <a:cubicBezTo>
                        <a:pt x="128" y="0"/>
                        <a:pt x="137" y="0"/>
                        <a:pt x="147" y="0"/>
                      </a:cubicBezTo>
                      <a:cubicBezTo>
                        <a:pt x="150" y="0"/>
                        <a:pt x="151" y="1"/>
                        <a:pt x="152" y="4"/>
                      </a:cubicBezTo>
                      <a:cubicBezTo>
                        <a:pt x="154" y="10"/>
                        <a:pt x="156" y="16"/>
                        <a:pt x="158" y="21"/>
                      </a:cubicBezTo>
                      <a:cubicBezTo>
                        <a:pt x="165" y="35"/>
                        <a:pt x="179" y="42"/>
                        <a:pt x="194" y="36"/>
                      </a:cubicBezTo>
                      <a:cubicBezTo>
                        <a:pt x="199" y="34"/>
                        <a:pt x="205" y="31"/>
                        <a:pt x="210" y="28"/>
                      </a:cubicBezTo>
                      <a:cubicBezTo>
                        <a:pt x="213" y="27"/>
                        <a:pt x="214" y="27"/>
                        <a:pt x="217" y="29"/>
                      </a:cubicBezTo>
                      <a:cubicBezTo>
                        <a:pt x="223" y="36"/>
                        <a:pt x="230" y="43"/>
                        <a:pt x="237" y="50"/>
                      </a:cubicBezTo>
                      <a:cubicBezTo>
                        <a:pt x="239" y="52"/>
                        <a:pt x="239" y="53"/>
                        <a:pt x="238" y="55"/>
                      </a:cubicBezTo>
                      <a:cubicBezTo>
                        <a:pt x="236" y="60"/>
                        <a:pt x="233" y="65"/>
                        <a:pt x="231" y="70"/>
                      </a:cubicBezTo>
                      <a:cubicBezTo>
                        <a:pt x="223" y="87"/>
                        <a:pt x="230" y="103"/>
                        <a:pt x="247" y="110"/>
                      </a:cubicBezTo>
                      <a:cubicBezTo>
                        <a:pt x="252" y="112"/>
                        <a:pt x="257" y="114"/>
                        <a:pt x="262" y="115"/>
                      </a:cubicBezTo>
                      <a:cubicBezTo>
                        <a:pt x="265" y="116"/>
                        <a:pt x="266" y="118"/>
                        <a:pt x="266" y="121"/>
                      </a:cubicBezTo>
                      <a:cubicBezTo>
                        <a:pt x="265" y="130"/>
                        <a:pt x="265" y="139"/>
                        <a:pt x="266" y="148"/>
                      </a:cubicBezTo>
                      <a:cubicBezTo>
                        <a:pt x="266" y="152"/>
                        <a:pt x="264" y="154"/>
                        <a:pt x="261" y="155"/>
                      </a:cubicBezTo>
                      <a:cubicBezTo>
                        <a:pt x="255" y="156"/>
                        <a:pt x="250" y="158"/>
                        <a:pt x="244" y="161"/>
                      </a:cubicBezTo>
                      <a:cubicBezTo>
                        <a:pt x="231" y="167"/>
                        <a:pt x="224" y="182"/>
                        <a:pt x="230" y="196"/>
                      </a:cubicBezTo>
                      <a:cubicBezTo>
                        <a:pt x="232" y="203"/>
                        <a:pt x="236" y="210"/>
                        <a:pt x="239" y="217"/>
                      </a:cubicBezTo>
                      <a:cubicBezTo>
                        <a:pt x="231" y="225"/>
                        <a:pt x="224" y="233"/>
                        <a:pt x="216" y="241"/>
                      </a:cubicBezTo>
                      <a:cubicBezTo>
                        <a:pt x="215" y="242"/>
                        <a:pt x="212" y="242"/>
                        <a:pt x="211" y="241"/>
                      </a:cubicBezTo>
                      <a:cubicBezTo>
                        <a:pt x="206" y="239"/>
                        <a:pt x="200" y="236"/>
                        <a:pt x="195" y="234"/>
                      </a:cubicBezTo>
                      <a:cubicBezTo>
                        <a:pt x="180" y="228"/>
                        <a:pt x="165" y="234"/>
                        <a:pt x="158" y="249"/>
                      </a:cubicBezTo>
                      <a:cubicBezTo>
                        <a:pt x="156" y="254"/>
                        <a:pt x="154" y="261"/>
                        <a:pt x="152" y="266"/>
                      </a:cubicBezTo>
                      <a:cubicBezTo>
                        <a:pt x="151" y="268"/>
                        <a:pt x="149" y="269"/>
                        <a:pt x="147" y="269"/>
                      </a:cubicBezTo>
                      <a:cubicBezTo>
                        <a:pt x="137" y="270"/>
                        <a:pt x="128" y="270"/>
                        <a:pt x="118" y="269"/>
                      </a:cubicBezTo>
                      <a:cubicBezTo>
                        <a:pt x="116" y="269"/>
                        <a:pt x="114" y="268"/>
                        <a:pt x="114" y="266"/>
                      </a:cubicBezTo>
                      <a:cubicBezTo>
                        <a:pt x="112" y="261"/>
                        <a:pt x="110" y="256"/>
                        <a:pt x="108" y="251"/>
                      </a:cubicBezTo>
                      <a:cubicBezTo>
                        <a:pt x="102" y="234"/>
                        <a:pt x="86" y="227"/>
                        <a:pt x="70" y="234"/>
                      </a:cubicBezTo>
                      <a:cubicBezTo>
                        <a:pt x="65" y="236"/>
                        <a:pt x="59" y="239"/>
                        <a:pt x="54" y="241"/>
                      </a:cubicBezTo>
                      <a:cubicBezTo>
                        <a:pt x="53" y="242"/>
                        <a:pt x="50" y="242"/>
                        <a:pt x="49" y="241"/>
                      </a:cubicBezTo>
                      <a:cubicBezTo>
                        <a:pt x="42" y="234"/>
                        <a:pt x="35" y="227"/>
                        <a:pt x="28" y="220"/>
                      </a:cubicBezTo>
                      <a:cubicBezTo>
                        <a:pt x="26" y="218"/>
                        <a:pt x="26" y="216"/>
                        <a:pt x="28" y="214"/>
                      </a:cubicBezTo>
                      <a:cubicBezTo>
                        <a:pt x="30" y="208"/>
                        <a:pt x="33" y="202"/>
                        <a:pt x="36" y="196"/>
                      </a:cubicBezTo>
                      <a:cubicBezTo>
                        <a:pt x="41" y="182"/>
                        <a:pt x="35" y="167"/>
                        <a:pt x="22" y="161"/>
                      </a:cubicBezTo>
                      <a:cubicBezTo>
                        <a:pt x="16" y="158"/>
                        <a:pt x="9" y="156"/>
                        <a:pt x="3" y="154"/>
                      </a:cubicBezTo>
                      <a:cubicBezTo>
                        <a:pt x="1" y="153"/>
                        <a:pt x="0" y="152"/>
                        <a:pt x="0" y="149"/>
                      </a:cubicBezTo>
                      <a:cubicBezTo>
                        <a:pt x="0" y="139"/>
                        <a:pt x="0" y="130"/>
                        <a:pt x="0" y="120"/>
                      </a:cubicBezTo>
                      <a:cubicBezTo>
                        <a:pt x="0" y="117"/>
                        <a:pt x="0" y="116"/>
                        <a:pt x="3" y="115"/>
                      </a:cubicBezTo>
                      <a:cubicBezTo>
                        <a:pt x="8" y="113"/>
                        <a:pt x="14" y="112"/>
                        <a:pt x="19" y="109"/>
                      </a:cubicBezTo>
                      <a:cubicBezTo>
                        <a:pt x="35" y="103"/>
                        <a:pt x="42" y="86"/>
                        <a:pt x="34" y="70"/>
                      </a:cubicBezTo>
                      <a:cubicBezTo>
                        <a:pt x="32" y="65"/>
                        <a:pt x="30" y="60"/>
                        <a:pt x="28" y="55"/>
                      </a:cubicBezTo>
                      <a:cubicBezTo>
                        <a:pt x="27" y="54"/>
                        <a:pt x="27" y="51"/>
                        <a:pt x="28" y="50"/>
                      </a:cubicBezTo>
                      <a:cubicBezTo>
                        <a:pt x="36" y="42"/>
                        <a:pt x="43" y="34"/>
                        <a:pt x="51" y="26"/>
                      </a:cubicBezTo>
                      <a:close/>
                      <a:moveTo>
                        <a:pt x="181" y="135"/>
                      </a:moveTo>
                      <a:cubicBezTo>
                        <a:pt x="181" y="107"/>
                        <a:pt x="160" y="85"/>
                        <a:pt x="133" y="85"/>
                      </a:cubicBezTo>
                      <a:cubicBezTo>
                        <a:pt x="106" y="85"/>
                        <a:pt x="84" y="107"/>
                        <a:pt x="84" y="135"/>
                      </a:cubicBezTo>
                      <a:cubicBezTo>
                        <a:pt x="84" y="162"/>
                        <a:pt x="106" y="185"/>
                        <a:pt x="133" y="184"/>
                      </a:cubicBezTo>
                      <a:cubicBezTo>
                        <a:pt x="160" y="184"/>
                        <a:pt x="181" y="162"/>
                        <a:pt x="181" y="135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  <p:grpSp>
            <p:nvGrpSpPr>
              <p:cNvPr id="188" name="Gruppieren 78">
                <a:extLst>
                  <a:ext uri="{FF2B5EF4-FFF2-40B4-BE49-F238E27FC236}">
                    <a16:creationId xmlns:a16="http://schemas.microsoft.com/office/drawing/2014/main" id="{A7ADDDCE-7C27-45AB-967C-2764BA2244F4}"/>
                  </a:ext>
                </a:extLst>
              </p:cNvPr>
              <p:cNvGrpSpPr/>
              <p:nvPr/>
            </p:nvGrpSpPr>
            <p:grpSpPr bwMode="gray">
              <a:xfrm>
                <a:off x="2729150" y="4535106"/>
                <a:ext cx="1345503" cy="853325"/>
                <a:chOff x="2729150" y="4535106"/>
                <a:chExt cx="1345503" cy="853325"/>
              </a:xfrm>
            </p:grpSpPr>
            <p:sp>
              <p:nvSpPr>
                <p:cNvPr id="200" name="Rechteck 91">
                  <a:extLst>
                    <a:ext uri="{FF2B5EF4-FFF2-40B4-BE49-F238E27FC236}">
                      <a16:creationId xmlns:a16="http://schemas.microsoft.com/office/drawing/2014/main" id="{43CC59D6-316D-468B-B922-2398F1EB142A}"/>
                    </a:ext>
                  </a:extLst>
                </p:cNvPr>
                <p:cNvSpPr/>
                <p:nvPr/>
              </p:nvSpPr>
              <p:spPr bwMode="gray">
                <a:xfrm>
                  <a:off x="2729150" y="4929074"/>
                  <a:ext cx="1345503" cy="45935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10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Placeholder</a:t>
                  </a:r>
                </a:p>
              </p:txBody>
            </p:sp>
            <p:sp>
              <p:nvSpPr>
                <p:cNvPr id="201" name="METRO ICON - atom 1">
                  <a:extLst>
                    <a:ext uri="{FF2B5EF4-FFF2-40B4-BE49-F238E27FC236}">
                      <a16:creationId xmlns:a16="http://schemas.microsoft.com/office/drawing/2014/main" id="{412921C4-5F2D-456D-9DD5-530E4AB2B1F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208350" y="4535106"/>
                  <a:ext cx="339872" cy="355262"/>
                </a:xfrm>
                <a:custGeom>
                  <a:avLst/>
                  <a:gdLst>
                    <a:gd name="T0" fmla="*/ 298 w 355"/>
                    <a:gd name="T1" fmla="*/ 0 h 370"/>
                    <a:gd name="T2" fmla="*/ 241 w 355"/>
                    <a:gd name="T3" fmla="*/ 57 h 370"/>
                    <a:gd name="T4" fmla="*/ 242 w 355"/>
                    <a:gd name="T5" fmla="*/ 67 h 370"/>
                    <a:gd name="T6" fmla="*/ 99 w 355"/>
                    <a:gd name="T7" fmla="*/ 147 h 370"/>
                    <a:gd name="T8" fmla="*/ 57 w 355"/>
                    <a:gd name="T9" fmla="*/ 128 h 370"/>
                    <a:gd name="T10" fmla="*/ 0 w 355"/>
                    <a:gd name="T11" fmla="*/ 186 h 370"/>
                    <a:gd name="T12" fmla="*/ 57 w 355"/>
                    <a:gd name="T13" fmla="*/ 243 h 370"/>
                    <a:gd name="T14" fmla="*/ 100 w 355"/>
                    <a:gd name="T15" fmla="*/ 224 h 370"/>
                    <a:gd name="T16" fmla="*/ 241 w 355"/>
                    <a:gd name="T17" fmla="*/ 306 h 370"/>
                    <a:gd name="T18" fmla="*/ 240 w 355"/>
                    <a:gd name="T19" fmla="*/ 313 h 370"/>
                    <a:gd name="T20" fmla="*/ 297 w 355"/>
                    <a:gd name="T21" fmla="*/ 370 h 370"/>
                    <a:gd name="T22" fmla="*/ 355 w 355"/>
                    <a:gd name="T23" fmla="*/ 313 h 370"/>
                    <a:gd name="T24" fmla="*/ 297 w 355"/>
                    <a:gd name="T25" fmla="*/ 256 h 370"/>
                    <a:gd name="T26" fmla="*/ 254 w 355"/>
                    <a:gd name="T27" fmla="*/ 276 h 370"/>
                    <a:gd name="T28" fmla="*/ 114 w 355"/>
                    <a:gd name="T29" fmla="*/ 194 h 370"/>
                    <a:gd name="T30" fmla="*/ 114 w 355"/>
                    <a:gd name="T31" fmla="*/ 186 h 370"/>
                    <a:gd name="T32" fmla="*/ 114 w 355"/>
                    <a:gd name="T33" fmla="*/ 176 h 370"/>
                    <a:gd name="T34" fmla="*/ 256 w 355"/>
                    <a:gd name="T35" fmla="*/ 96 h 370"/>
                    <a:gd name="T36" fmla="*/ 298 w 355"/>
                    <a:gd name="T37" fmla="*/ 115 h 370"/>
                    <a:gd name="T38" fmla="*/ 355 w 355"/>
                    <a:gd name="T39" fmla="*/ 57 h 370"/>
                    <a:gd name="T40" fmla="*/ 298 w 355"/>
                    <a:gd name="T41" fmla="*/ 0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5" h="370">
                      <a:moveTo>
                        <a:pt x="298" y="0"/>
                      </a:moveTo>
                      <a:cubicBezTo>
                        <a:pt x="266" y="0"/>
                        <a:pt x="241" y="26"/>
                        <a:pt x="241" y="57"/>
                      </a:cubicBezTo>
                      <a:cubicBezTo>
                        <a:pt x="241" y="61"/>
                        <a:pt x="241" y="64"/>
                        <a:pt x="242" y="67"/>
                      </a:cubicBezTo>
                      <a:cubicBezTo>
                        <a:pt x="99" y="147"/>
                        <a:pt x="99" y="147"/>
                        <a:pt x="99" y="147"/>
                      </a:cubicBezTo>
                      <a:cubicBezTo>
                        <a:pt x="89" y="136"/>
                        <a:pt x="74" y="128"/>
                        <a:pt x="57" y="128"/>
                      </a:cubicBezTo>
                      <a:cubicBezTo>
                        <a:pt x="26" y="128"/>
                        <a:pt x="0" y="154"/>
                        <a:pt x="0" y="186"/>
                      </a:cubicBezTo>
                      <a:cubicBezTo>
                        <a:pt x="0" y="217"/>
                        <a:pt x="26" y="243"/>
                        <a:pt x="57" y="243"/>
                      </a:cubicBezTo>
                      <a:cubicBezTo>
                        <a:pt x="74" y="243"/>
                        <a:pt x="90" y="235"/>
                        <a:pt x="100" y="224"/>
                      </a:cubicBezTo>
                      <a:cubicBezTo>
                        <a:pt x="241" y="306"/>
                        <a:pt x="241" y="306"/>
                        <a:pt x="241" y="306"/>
                      </a:cubicBezTo>
                      <a:cubicBezTo>
                        <a:pt x="240" y="309"/>
                        <a:pt x="240" y="311"/>
                        <a:pt x="240" y="313"/>
                      </a:cubicBezTo>
                      <a:cubicBezTo>
                        <a:pt x="240" y="345"/>
                        <a:pt x="266" y="370"/>
                        <a:pt x="297" y="370"/>
                      </a:cubicBezTo>
                      <a:cubicBezTo>
                        <a:pt x="329" y="370"/>
                        <a:pt x="355" y="345"/>
                        <a:pt x="355" y="313"/>
                      </a:cubicBezTo>
                      <a:cubicBezTo>
                        <a:pt x="355" y="282"/>
                        <a:pt x="329" y="256"/>
                        <a:pt x="297" y="256"/>
                      </a:cubicBezTo>
                      <a:cubicBezTo>
                        <a:pt x="280" y="256"/>
                        <a:pt x="264" y="264"/>
                        <a:pt x="254" y="276"/>
                      </a:cubicBezTo>
                      <a:cubicBezTo>
                        <a:pt x="114" y="194"/>
                        <a:pt x="114" y="194"/>
                        <a:pt x="114" y="194"/>
                      </a:cubicBezTo>
                      <a:cubicBezTo>
                        <a:pt x="114" y="191"/>
                        <a:pt x="114" y="188"/>
                        <a:pt x="114" y="186"/>
                      </a:cubicBezTo>
                      <a:cubicBezTo>
                        <a:pt x="114" y="182"/>
                        <a:pt x="114" y="179"/>
                        <a:pt x="114" y="176"/>
                      </a:cubicBezTo>
                      <a:cubicBezTo>
                        <a:pt x="256" y="96"/>
                        <a:pt x="256" y="96"/>
                        <a:pt x="256" y="96"/>
                      </a:cubicBezTo>
                      <a:cubicBezTo>
                        <a:pt x="267" y="108"/>
                        <a:pt x="282" y="115"/>
                        <a:pt x="298" y="115"/>
                      </a:cubicBezTo>
                      <a:cubicBezTo>
                        <a:pt x="330" y="115"/>
                        <a:pt x="355" y="89"/>
                        <a:pt x="355" y="57"/>
                      </a:cubicBezTo>
                      <a:cubicBezTo>
                        <a:pt x="355" y="26"/>
                        <a:pt x="330" y="0"/>
                        <a:pt x="298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  <p:grpSp>
            <p:nvGrpSpPr>
              <p:cNvPr id="189" name="Gruppieren 79">
                <a:extLst>
                  <a:ext uri="{FF2B5EF4-FFF2-40B4-BE49-F238E27FC236}">
                    <a16:creationId xmlns:a16="http://schemas.microsoft.com/office/drawing/2014/main" id="{95E0F30E-1F5B-4577-B548-F8EB0AD0D5A1}"/>
                  </a:ext>
                </a:extLst>
              </p:cNvPr>
              <p:cNvGrpSpPr/>
              <p:nvPr/>
            </p:nvGrpSpPr>
            <p:grpSpPr bwMode="gray">
              <a:xfrm>
                <a:off x="3832589" y="4847990"/>
                <a:ext cx="958818" cy="735191"/>
                <a:chOff x="3832589" y="4847990"/>
                <a:chExt cx="958818" cy="735191"/>
              </a:xfrm>
            </p:grpSpPr>
            <p:sp>
              <p:nvSpPr>
                <p:cNvPr id="198" name="Rechteck 89">
                  <a:extLst>
                    <a:ext uri="{FF2B5EF4-FFF2-40B4-BE49-F238E27FC236}">
                      <a16:creationId xmlns:a16="http://schemas.microsoft.com/office/drawing/2014/main" id="{39517B55-50A3-4016-BFF7-4ADB029B1D40}"/>
                    </a:ext>
                  </a:extLst>
                </p:cNvPr>
                <p:cNvSpPr/>
                <p:nvPr/>
              </p:nvSpPr>
              <p:spPr bwMode="gray">
                <a:xfrm>
                  <a:off x="3832589" y="5130749"/>
                  <a:ext cx="958818" cy="4524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5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Text</a:t>
                  </a:r>
                </a:p>
              </p:txBody>
            </p:sp>
            <p:sp>
              <p:nvSpPr>
                <p:cNvPr id="199" name="METRO ICON - puzzle">
                  <a:extLst>
                    <a:ext uri="{FF2B5EF4-FFF2-40B4-BE49-F238E27FC236}">
                      <a16:creationId xmlns:a16="http://schemas.microsoft.com/office/drawing/2014/main" id="{4AFB5D7A-3E22-425E-A079-B367D7AB36A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4147740" y="4847990"/>
                  <a:ext cx="290416" cy="295236"/>
                </a:xfrm>
                <a:custGeom>
                  <a:avLst/>
                  <a:gdLst>
                    <a:gd name="T0" fmla="*/ 247 w 403"/>
                    <a:gd name="T1" fmla="*/ 0 h 409"/>
                    <a:gd name="T2" fmla="*/ 200 w 403"/>
                    <a:gd name="T3" fmla="*/ 47 h 409"/>
                    <a:gd name="T4" fmla="*/ 211 w 403"/>
                    <a:gd name="T5" fmla="*/ 77 h 409"/>
                    <a:gd name="T6" fmla="*/ 211 w 403"/>
                    <a:gd name="T7" fmla="*/ 88 h 409"/>
                    <a:gd name="T8" fmla="*/ 93 w 403"/>
                    <a:gd name="T9" fmla="*/ 88 h 409"/>
                    <a:gd name="T10" fmla="*/ 93 w 403"/>
                    <a:gd name="T11" fmla="*/ 217 h 409"/>
                    <a:gd name="T12" fmla="*/ 77 w 403"/>
                    <a:gd name="T13" fmla="*/ 217 h 409"/>
                    <a:gd name="T14" fmla="*/ 47 w 403"/>
                    <a:gd name="T15" fmla="*/ 202 h 409"/>
                    <a:gd name="T16" fmla="*/ 0 w 403"/>
                    <a:gd name="T17" fmla="*/ 250 h 409"/>
                    <a:gd name="T18" fmla="*/ 47 w 403"/>
                    <a:gd name="T19" fmla="*/ 298 h 409"/>
                    <a:gd name="T20" fmla="*/ 76 w 403"/>
                    <a:gd name="T21" fmla="*/ 284 h 409"/>
                    <a:gd name="T22" fmla="*/ 93 w 403"/>
                    <a:gd name="T23" fmla="*/ 284 h 409"/>
                    <a:gd name="T24" fmla="*/ 93 w 403"/>
                    <a:gd name="T25" fmla="*/ 398 h 409"/>
                    <a:gd name="T26" fmla="*/ 93 w 403"/>
                    <a:gd name="T27" fmla="*/ 409 h 409"/>
                    <a:gd name="T28" fmla="*/ 207 w 403"/>
                    <a:gd name="T29" fmla="*/ 409 h 409"/>
                    <a:gd name="T30" fmla="*/ 207 w 403"/>
                    <a:gd name="T31" fmla="*/ 389 h 409"/>
                    <a:gd name="T32" fmla="*/ 200 w 403"/>
                    <a:gd name="T33" fmla="*/ 356 h 409"/>
                    <a:gd name="T34" fmla="*/ 247 w 403"/>
                    <a:gd name="T35" fmla="*/ 308 h 409"/>
                    <a:gd name="T36" fmla="*/ 295 w 403"/>
                    <a:gd name="T37" fmla="*/ 356 h 409"/>
                    <a:gd name="T38" fmla="*/ 286 w 403"/>
                    <a:gd name="T39" fmla="*/ 389 h 409"/>
                    <a:gd name="T40" fmla="*/ 286 w 403"/>
                    <a:gd name="T41" fmla="*/ 409 h 409"/>
                    <a:gd name="T42" fmla="*/ 403 w 403"/>
                    <a:gd name="T43" fmla="*/ 409 h 409"/>
                    <a:gd name="T44" fmla="*/ 403 w 403"/>
                    <a:gd name="T45" fmla="*/ 284 h 409"/>
                    <a:gd name="T46" fmla="*/ 382 w 403"/>
                    <a:gd name="T47" fmla="*/ 284 h 409"/>
                    <a:gd name="T48" fmla="*/ 353 w 403"/>
                    <a:gd name="T49" fmla="*/ 298 h 409"/>
                    <a:gd name="T50" fmla="*/ 305 w 403"/>
                    <a:gd name="T51" fmla="*/ 250 h 409"/>
                    <a:gd name="T52" fmla="*/ 353 w 403"/>
                    <a:gd name="T53" fmla="*/ 202 h 409"/>
                    <a:gd name="T54" fmla="*/ 382 w 403"/>
                    <a:gd name="T55" fmla="*/ 217 h 409"/>
                    <a:gd name="T56" fmla="*/ 403 w 403"/>
                    <a:gd name="T57" fmla="*/ 217 h 409"/>
                    <a:gd name="T58" fmla="*/ 403 w 403"/>
                    <a:gd name="T59" fmla="*/ 88 h 409"/>
                    <a:gd name="T60" fmla="*/ 284 w 403"/>
                    <a:gd name="T61" fmla="*/ 88 h 409"/>
                    <a:gd name="T62" fmla="*/ 284 w 403"/>
                    <a:gd name="T63" fmla="*/ 77 h 409"/>
                    <a:gd name="T64" fmla="*/ 295 w 403"/>
                    <a:gd name="T65" fmla="*/ 47 h 409"/>
                    <a:gd name="T66" fmla="*/ 247 w 403"/>
                    <a:gd name="T67" fmla="*/ 0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03" h="409">
                      <a:moveTo>
                        <a:pt x="247" y="0"/>
                      </a:moveTo>
                      <a:cubicBezTo>
                        <a:pt x="221" y="0"/>
                        <a:pt x="200" y="21"/>
                        <a:pt x="200" y="47"/>
                      </a:cubicBezTo>
                      <a:cubicBezTo>
                        <a:pt x="200" y="59"/>
                        <a:pt x="204" y="69"/>
                        <a:pt x="211" y="77"/>
                      </a:cubicBezTo>
                      <a:cubicBezTo>
                        <a:pt x="211" y="88"/>
                        <a:pt x="211" y="88"/>
                        <a:pt x="211" y="88"/>
                      </a:cubicBezTo>
                      <a:cubicBezTo>
                        <a:pt x="93" y="88"/>
                        <a:pt x="93" y="88"/>
                        <a:pt x="93" y="88"/>
                      </a:cubicBezTo>
                      <a:cubicBezTo>
                        <a:pt x="93" y="217"/>
                        <a:pt x="93" y="217"/>
                        <a:pt x="93" y="217"/>
                      </a:cubicBezTo>
                      <a:cubicBezTo>
                        <a:pt x="77" y="217"/>
                        <a:pt x="77" y="217"/>
                        <a:pt x="77" y="217"/>
                      </a:cubicBezTo>
                      <a:cubicBezTo>
                        <a:pt x="69" y="210"/>
                        <a:pt x="59" y="202"/>
                        <a:pt x="47" y="202"/>
                      </a:cubicBezTo>
                      <a:cubicBezTo>
                        <a:pt x="21" y="202"/>
                        <a:pt x="0" y="223"/>
                        <a:pt x="0" y="250"/>
                      </a:cubicBezTo>
                      <a:cubicBezTo>
                        <a:pt x="0" y="276"/>
                        <a:pt x="21" y="298"/>
                        <a:pt x="47" y="298"/>
                      </a:cubicBezTo>
                      <a:cubicBezTo>
                        <a:pt x="59" y="298"/>
                        <a:pt x="68" y="290"/>
                        <a:pt x="76" y="284"/>
                      </a:cubicBezTo>
                      <a:cubicBezTo>
                        <a:pt x="93" y="284"/>
                        <a:pt x="93" y="284"/>
                        <a:pt x="93" y="284"/>
                      </a:cubicBezTo>
                      <a:cubicBezTo>
                        <a:pt x="93" y="398"/>
                        <a:pt x="93" y="398"/>
                        <a:pt x="93" y="398"/>
                      </a:cubicBezTo>
                      <a:cubicBezTo>
                        <a:pt x="93" y="409"/>
                        <a:pt x="93" y="409"/>
                        <a:pt x="93" y="409"/>
                      </a:cubicBezTo>
                      <a:cubicBezTo>
                        <a:pt x="207" y="409"/>
                        <a:pt x="207" y="409"/>
                        <a:pt x="207" y="409"/>
                      </a:cubicBezTo>
                      <a:cubicBezTo>
                        <a:pt x="207" y="389"/>
                        <a:pt x="207" y="389"/>
                        <a:pt x="207" y="389"/>
                      </a:cubicBezTo>
                      <a:cubicBezTo>
                        <a:pt x="201" y="381"/>
                        <a:pt x="200" y="367"/>
                        <a:pt x="200" y="356"/>
                      </a:cubicBezTo>
                      <a:cubicBezTo>
                        <a:pt x="200" y="330"/>
                        <a:pt x="221" y="308"/>
                        <a:pt x="247" y="308"/>
                      </a:cubicBezTo>
                      <a:cubicBezTo>
                        <a:pt x="273" y="308"/>
                        <a:pt x="295" y="330"/>
                        <a:pt x="295" y="356"/>
                      </a:cubicBezTo>
                      <a:cubicBezTo>
                        <a:pt x="295" y="367"/>
                        <a:pt x="293" y="381"/>
                        <a:pt x="286" y="389"/>
                      </a:cubicBezTo>
                      <a:cubicBezTo>
                        <a:pt x="286" y="409"/>
                        <a:pt x="286" y="409"/>
                        <a:pt x="286" y="409"/>
                      </a:cubicBezTo>
                      <a:cubicBezTo>
                        <a:pt x="403" y="409"/>
                        <a:pt x="403" y="409"/>
                        <a:pt x="403" y="409"/>
                      </a:cubicBezTo>
                      <a:cubicBezTo>
                        <a:pt x="403" y="284"/>
                        <a:pt x="403" y="284"/>
                        <a:pt x="403" y="284"/>
                      </a:cubicBezTo>
                      <a:cubicBezTo>
                        <a:pt x="382" y="284"/>
                        <a:pt x="382" y="284"/>
                        <a:pt x="382" y="284"/>
                      </a:cubicBezTo>
                      <a:cubicBezTo>
                        <a:pt x="374" y="290"/>
                        <a:pt x="364" y="298"/>
                        <a:pt x="353" y="298"/>
                      </a:cubicBezTo>
                      <a:cubicBezTo>
                        <a:pt x="326" y="298"/>
                        <a:pt x="305" y="276"/>
                        <a:pt x="305" y="250"/>
                      </a:cubicBezTo>
                      <a:cubicBezTo>
                        <a:pt x="305" y="223"/>
                        <a:pt x="326" y="202"/>
                        <a:pt x="353" y="202"/>
                      </a:cubicBezTo>
                      <a:cubicBezTo>
                        <a:pt x="364" y="202"/>
                        <a:pt x="374" y="210"/>
                        <a:pt x="382" y="217"/>
                      </a:cubicBezTo>
                      <a:cubicBezTo>
                        <a:pt x="403" y="217"/>
                        <a:pt x="403" y="217"/>
                        <a:pt x="403" y="217"/>
                      </a:cubicBezTo>
                      <a:cubicBezTo>
                        <a:pt x="403" y="88"/>
                        <a:pt x="403" y="88"/>
                        <a:pt x="403" y="88"/>
                      </a:cubicBezTo>
                      <a:cubicBezTo>
                        <a:pt x="284" y="88"/>
                        <a:pt x="284" y="88"/>
                        <a:pt x="284" y="88"/>
                      </a:cubicBezTo>
                      <a:cubicBezTo>
                        <a:pt x="284" y="77"/>
                        <a:pt x="284" y="77"/>
                        <a:pt x="284" y="77"/>
                      </a:cubicBezTo>
                      <a:cubicBezTo>
                        <a:pt x="291" y="69"/>
                        <a:pt x="295" y="59"/>
                        <a:pt x="295" y="47"/>
                      </a:cubicBezTo>
                      <a:cubicBezTo>
                        <a:pt x="295" y="21"/>
                        <a:pt x="273" y="0"/>
                        <a:pt x="247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  <p:grpSp>
            <p:nvGrpSpPr>
              <p:cNvPr id="190" name="Gruppieren 80">
                <a:extLst>
                  <a:ext uri="{FF2B5EF4-FFF2-40B4-BE49-F238E27FC236}">
                    <a16:creationId xmlns:a16="http://schemas.microsoft.com/office/drawing/2014/main" id="{715ED5A8-EB57-414C-99DB-70AC4DDA34DD}"/>
                  </a:ext>
                </a:extLst>
              </p:cNvPr>
              <p:cNvGrpSpPr/>
              <p:nvPr/>
            </p:nvGrpSpPr>
            <p:grpSpPr bwMode="gray">
              <a:xfrm>
                <a:off x="4916508" y="3906712"/>
                <a:ext cx="818648" cy="652407"/>
                <a:chOff x="4916508" y="3906712"/>
                <a:chExt cx="818648" cy="652407"/>
              </a:xfrm>
            </p:grpSpPr>
            <p:sp>
              <p:nvSpPr>
                <p:cNvPr id="196" name="Rechteck 87">
                  <a:extLst>
                    <a:ext uri="{FF2B5EF4-FFF2-40B4-BE49-F238E27FC236}">
                      <a16:creationId xmlns:a16="http://schemas.microsoft.com/office/drawing/2014/main" id="{C9C0DE87-EC02-4F86-8A2E-6CCA35B7A32E}"/>
                    </a:ext>
                  </a:extLst>
                </p:cNvPr>
                <p:cNvSpPr/>
                <p:nvPr/>
              </p:nvSpPr>
              <p:spPr bwMode="gray">
                <a:xfrm>
                  <a:off x="4916508" y="4148237"/>
                  <a:ext cx="818648" cy="41088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5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Text</a:t>
                  </a:r>
                </a:p>
              </p:txBody>
            </p:sp>
            <p:sp>
              <p:nvSpPr>
                <p:cNvPr id="197" name="METRO ICON - flag 1">
                  <a:extLst>
                    <a:ext uri="{FF2B5EF4-FFF2-40B4-BE49-F238E27FC236}">
                      <a16:creationId xmlns:a16="http://schemas.microsoft.com/office/drawing/2014/main" id="{62ED9C94-F081-4FD9-9CED-E6576CF20706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5224050" y="3906712"/>
                  <a:ext cx="223066" cy="237414"/>
                </a:xfrm>
                <a:custGeom>
                  <a:avLst/>
                  <a:gdLst>
                    <a:gd name="T0" fmla="*/ 192 w 240"/>
                    <a:gd name="T1" fmla="*/ 43 h 256"/>
                    <a:gd name="T2" fmla="*/ 240 w 240"/>
                    <a:gd name="T3" fmla="*/ 24 h 256"/>
                    <a:gd name="T4" fmla="*/ 240 w 240"/>
                    <a:gd name="T5" fmla="*/ 173 h 256"/>
                    <a:gd name="T6" fmla="*/ 192 w 240"/>
                    <a:gd name="T7" fmla="*/ 192 h 256"/>
                    <a:gd name="T8" fmla="*/ 144 w 240"/>
                    <a:gd name="T9" fmla="*/ 178 h 256"/>
                    <a:gd name="T10" fmla="*/ 96 w 240"/>
                    <a:gd name="T11" fmla="*/ 165 h 256"/>
                    <a:gd name="T12" fmla="*/ 48 w 240"/>
                    <a:gd name="T13" fmla="*/ 182 h 256"/>
                    <a:gd name="T14" fmla="*/ 48 w 240"/>
                    <a:gd name="T15" fmla="*/ 33 h 256"/>
                    <a:gd name="T16" fmla="*/ 96 w 240"/>
                    <a:gd name="T17" fmla="*/ 16 h 256"/>
                    <a:gd name="T18" fmla="*/ 144 w 240"/>
                    <a:gd name="T19" fmla="*/ 29 h 256"/>
                    <a:gd name="T20" fmla="*/ 192 w 240"/>
                    <a:gd name="T21" fmla="*/ 43 h 256"/>
                    <a:gd name="T22" fmla="*/ 16 w 240"/>
                    <a:gd name="T23" fmla="*/ 0 h 256"/>
                    <a:gd name="T24" fmla="*/ 32 w 240"/>
                    <a:gd name="T25" fmla="*/ 16 h 256"/>
                    <a:gd name="T26" fmla="*/ 32 w 240"/>
                    <a:gd name="T27" fmla="*/ 256 h 256"/>
                    <a:gd name="T28" fmla="*/ 0 w 240"/>
                    <a:gd name="T29" fmla="*/ 256 h 256"/>
                    <a:gd name="T30" fmla="*/ 0 w 240"/>
                    <a:gd name="T31" fmla="*/ 16 h 256"/>
                    <a:gd name="T32" fmla="*/ 16 w 240"/>
                    <a:gd name="T33" fmla="*/ 0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40" h="256">
                      <a:moveTo>
                        <a:pt x="192" y="43"/>
                      </a:moveTo>
                      <a:cubicBezTo>
                        <a:pt x="211" y="43"/>
                        <a:pt x="228" y="32"/>
                        <a:pt x="240" y="24"/>
                      </a:cubicBezTo>
                      <a:cubicBezTo>
                        <a:pt x="240" y="173"/>
                        <a:pt x="240" y="173"/>
                        <a:pt x="240" y="173"/>
                      </a:cubicBezTo>
                      <a:cubicBezTo>
                        <a:pt x="228" y="181"/>
                        <a:pt x="211" y="192"/>
                        <a:pt x="192" y="192"/>
                      </a:cubicBezTo>
                      <a:cubicBezTo>
                        <a:pt x="173" y="192"/>
                        <a:pt x="155" y="186"/>
                        <a:pt x="144" y="178"/>
                      </a:cubicBezTo>
                      <a:cubicBezTo>
                        <a:pt x="132" y="170"/>
                        <a:pt x="115" y="165"/>
                        <a:pt x="96" y="165"/>
                      </a:cubicBezTo>
                      <a:cubicBezTo>
                        <a:pt x="77" y="165"/>
                        <a:pt x="59" y="174"/>
                        <a:pt x="48" y="182"/>
                      </a:cubicBezTo>
                      <a:cubicBezTo>
                        <a:pt x="48" y="33"/>
                        <a:pt x="48" y="33"/>
                        <a:pt x="48" y="33"/>
                      </a:cubicBezTo>
                      <a:cubicBezTo>
                        <a:pt x="59" y="25"/>
                        <a:pt x="77" y="16"/>
                        <a:pt x="96" y="16"/>
                      </a:cubicBezTo>
                      <a:cubicBezTo>
                        <a:pt x="115" y="16"/>
                        <a:pt x="132" y="21"/>
                        <a:pt x="144" y="29"/>
                      </a:cubicBezTo>
                      <a:cubicBezTo>
                        <a:pt x="155" y="37"/>
                        <a:pt x="173" y="43"/>
                        <a:pt x="192" y="43"/>
                      </a:cubicBezTo>
                      <a:close/>
                      <a:moveTo>
                        <a:pt x="16" y="0"/>
                      </a:moveTo>
                      <a:cubicBezTo>
                        <a:pt x="25" y="0"/>
                        <a:pt x="32" y="7"/>
                        <a:pt x="32" y="16"/>
                      </a:cubicBezTo>
                      <a:cubicBezTo>
                        <a:pt x="32" y="256"/>
                        <a:pt x="32" y="256"/>
                        <a:pt x="32" y="256"/>
                      </a:cubicBezTo>
                      <a:cubicBezTo>
                        <a:pt x="0" y="256"/>
                        <a:pt x="0" y="256"/>
                        <a:pt x="0" y="25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7" y="0"/>
                        <a:pt x="16" y="0"/>
                      </a:cubicBez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  <p:grpSp>
            <p:nvGrpSpPr>
              <p:cNvPr id="191" name="Gruppieren 81">
                <a:extLst>
                  <a:ext uri="{FF2B5EF4-FFF2-40B4-BE49-F238E27FC236}">
                    <a16:creationId xmlns:a16="http://schemas.microsoft.com/office/drawing/2014/main" id="{86DC98F6-CAEA-4DCB-9AF2-4139B1AB3461}"/>
                  </a:ext>
                </a:extLst>
              </p:cNvPr>
              <p:cNvGrpSpPr/>
              <p:nvPr/>
            </p:nvGrpSpPr>
            <p:grpSpPr bwMode="gray">
              <a:xfrm>
                <a:off x="4467311" y="4586553"/>
                <a:ext cx="958818" cy="707415"/>
                <a:chOff x="4467311" y="4586553"/>
                <a:chExt cx="958818" cy="707415"/>
              </a:xfrm>
            </p:grpSpPr>
            <p:sp>
              <p:nvSpPr>
                <p:cNvPr id="192" name="Rechteck 82">
                  <a:extLst>
                    <a:ext uri="{FF2B5EF4-FFF2-40B4-BE49-F238E27FC236}">
                      <a16:creationId xmlns:a16="http://schemas.microsoft.com/office/drawing/2014/main" id="{ACD10DB4-F3D0-4111-93D4-20B44DE56F96}"/>
                    </a:ext>
                  </a:extLst>
                </p:cNvPr>
                <p:cNvSpPr/>
                <p:nvPr/>
              </p:nvSpPr>
              <p:spPr bwMode="gray">
                <a:xfrm>
                  <a:off x="4467311" y="4841536"/>
                  <a:ext cx="958818" cy="4524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10</a:t>
                  </a: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%</a:t>
                  </a:r>
                  <a:b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</a:b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Text</a:t>
                  </a:r>
                </a:p>
              </p:txBody>
            </p:sp>
            <p:grpSp>
              <p:nvGrpSpPr>
                <p:cNvPr id="193" name="METRO ICON - clock">
                  <a:extLst>
                    <a:ext uri="{FF2B5EF4-FFF2-40B4-BE49-F238E27FC236}">
                      <a16:creationId xmlns:a16="http://schemas.microsoft.com/office/drawing/2014/main" id="{2C3D7893-E9AC-4997-8368-A25BBE16D31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gray">
                <a:xfrm>
                  <a:off x="4804263" y="4586553"/>
                  <a:ext cx="270898" cy="280424"/>
                  <a:chOff x="9755322" y="3432462"/>
                  <a:chExt cx="453379" cy="469327"/>
                </a:xfrm>
                <a:solidFill>
                  <a:sysClr val="window" lastClr="FFFFFF">
                    <a:lumMod val="75000"/>
                  </a:sysClr>
                </a:solidFill>
              </p:grpSpPr>
              <p:sp>
                <p:nvSpPr>
                  <p:cNvPr id="194" name="Freeform 26">
                    <a:extLst>
                      <a:ext uri="{FF2B5EF4-FFF2-40B4-BE49-F238E27FC236}">
                        <a16:creationId xmlns:a16="http://schemas.microsoft.com/office/drawing/2014/main" id="{1932F39A-8898-4A52-8F6E-9A7143E9A0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755322" y="3432462"/>
                    <a:ext cx="453379" cy="469327"/>
                  </a:xfrm>
                  <a:custGeom>
                    <a:avLst/>
                    <a:gdLst>
                      <a:gd name="T0" fmla="*/ 0 w 278"/>
                      <a:gd name="T1" fmla="*/ 152 h 289"/>
                      <a:gd name="T2" fmla="*/ 30 w 278"/>
                      <a:gd name="T3" fmla="*/ 147 h 289"/>
                      <a:gd name="T4" fmla="*/ 31 w 278"/>
                      <a:gd name="T5" fmla="*/ 158 h 289"/>
                      <a:gd name="T6" fmla="*/ 100 w 278"/>
                      <a:gd name="T7" fmla="*/ 246 h 289"/>
                      <a:gd name="T8" fmla="*/ 212 w 278"/>
                      <a:gd name="T9" fmla="*/ 222 h 289"/>
                      <a:gd name="T10" fmla="*/ 238 w 278"/>
                      <a:gd name="T11" fmla="*/ 111 h 289"/>
                      <a:gd name="T12" fmla="*/ 143 w 278"/>
                      <a:gd name="T13" fmla="*/ 39 h 289"/>
                      <a:gd name="T14" fmla="*/ 60 w 278"/>
                      <a:gd name="T15" fmla="*/ 69 h 289"/>
                      <a:gd name="T16" fmla="*/ 83 w 278"/>
                      <a:gd name="T17" fmla="*/ 92 h 289"/>
                      <a:gd name="T18" fmla="*/ 83 w 278"/>
                      <a:gd name="T19" fmla="*/ 93 h 289"/>
                      <a:gd name="T20" fmla="*/ 0 w 278"/>
                      <a:gd name="T21" fmla="*/ 109 h 289"/>
                      <a:gd name="T22" fmla="*/ 15 w 278"/>
                      <a:gd name="T23" fmla="*/ 25 h 289"/>
                      <a:gd name="T24" fmla="*/ 38 w 278"/>
                      <a:gd name="T25" fmla="*/ 48 h 289"/>
                      <a:gd name="T26" fmla="*/ 69 w 278"/>
                      <a:gd name="T27" fmla="*/ 26 h 289"/>
                      <a:gd name="T28" fmla="*/ 222 w 278"/>
                      <a:gd name="T29" fmla="*/ 39 h 289"/>
                      <a:gd name="T30" fmla="*/ 273 w 278"/>
                      <a:gd name="T31" fmla="*/ 159 h 289"/>
                      <a:gd name="T32" fmla="*/ 167 w 278"/>
                      <a:gd name="T33" fmla="*/ 280 h 289"/>
                      <a:gd name="T34" fmla="*/ 47 w 278"/>
                      <a:gd name="T35" fmla="*/ 249 h 289"/>
                      <a:gd name="T36" fmla="*/ 0 w 278"/>
                      <a:gd name="T37" fmla="*/ 156 h 289"/>
                      <a:gd name="T38" fmla="*/ 0 w 278"/>
                      <a:gd name="T39" fmla="*/ 152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278" h="289">
                        <a:moveTo>
                          <a:pt x="0" y="152"/>
                        </a:moveTo>
                        <a:cubicBezTo>
                          <a:pt x="10" y="150"/>
                          <a:pt x="20" y="148"/>
                          <a:pt x="30" y="147"/>
                        </a:cubicBezTo>
                        <a:cubicBezTo>
                          <a:pt x="30" y="151"/>
                          <a:pt x="30" y="154"/>
                          <a:pt x="31" y="158"/>
                        </a:cubicBezTo>
                        <a:cubicBezTo>
                          <a:pt x="37" y="201"/>
                          <a:pt x="60" y="231"/>
                          <a:pt x="100" y="246"/>
                        </a:cubicBezTo>
                        <a:cubicBezTo>
                          <a:pt x="142" y="262"/>
                          <a:pt x="180" y="253"/>
                          <a:pt x="212" y="222"/>
                        </a:cubicBezTo>
                        <a:cubicBezTo>
                          <a:pt x="244" y="191"/>
                          <a:pt x="253" y="152"/>
                          <a:pt x="238" y="111"/>
                        </a:cubicBezTo>
                        <a:cubicBezTo>
                          <a:pt x="222" y="67"/>
                          <a:pt x="189" y="43"/>
                          <a:pt x="143" y="39"/>
                        </a:cubicBezTo>
                        <a:cubicBezTo>
                          <a:pt x="112" y="37"/>
                          <a:pt x="84" y="48"/>
                          <a:pt x="60" y="69"/>
                        </a:cubicBezTo>
                        <a:cubicBezTo>
                          <a:pt x="68" y="77"/>
                          <a:pt x="76" y="85"/>
                          <a:pt x="83" y="92"/>
                        </a:cubicBezTo>
                        <a:cubicBezTo>
                          <a:pt x="83" y="93"/>
                          <a:pt x="83" y="93"/>
                          <a:pt x="83" y="93"/>
                        </a:cubicBezTo>
                        <a:cubicBezTo>
                          <a:pt x="55" y="98"/>
                          <a:pt x="28" y="103"/>
                          <a:pt x="0" y="109"/>
                        </a:cubicBezTo>
                        <a:cubicBezTo>
                          <a:pt x="5" y="80"/>
                          <a:pt x="10" y="53"/>
                          <a:pt x="15" y="25"/>
                        </a:cubicBezTo>
                        <a:cubicBezTo>
                          <a:pt x="23" y="33"/>
                          <a:pt x="31" y="41"/>
                          <a:pt x="38" y="48"/>
                        </a:cubicBezTo>
                        <a:cubicBezTo>
                          <a:pt x="48" y="39"/>
                          <a:pt x="58" y="32"/>
                          <a:pt x="69" y="26"/>
                        </a:cubicBezTo>
                        <a:cubicBezTo>
                          <a:pt x="118" y="0"/>
                          <a:pt x="178" y="3"/>
                          <a:pt x="222" y="39"/>
                        </a:cubicBezTo>
                        <a:cubicBezTo>
                          <a:pt x="260" y="70"/>
                          <a:pt x="278" y="111"/>
                          <a:pt x="273" y="159"/>
                        </a:cubicBezTo>
                        <a:cubicBezTo>
                          <a:pt x="268" y="218"/>
                          <a:pt x="225" y="267"/>
                          <a:pt x="167" y="280"/>
                        </a:cubicBezTo>
                        <a:cubicBezTo>
                          <a:pt x="122" y="289"/>
                          <a:pt x="82" y="279"/>
                          <a:pt x="47" y="249"/>
                        </a:cubicBezTo>
                        <a:cubicBezTo>
                          <a:pt x="19" y="224"/>
                          <a:pt x="4" y="193"/>
                          <a:pt x="0" y="156"/>
                        </a:cubicBezTo>
                        <a:cubicBezTo>
                          <a:pt x="0" y="155"/>
                          <a:pt x="0" y="154"/>
                          <a:pt x="0" y="15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  <p:sp>
                <p:nvSpPr>
                  <p:cNvPr id="195" name="Freeform 26">
                    <a:extLst>
                      <a:ext uri="{FF2B5EF4-FFF2-40B4-BE49-F238E27FC236}">
                        <a16:creationId xmlns:a16="http://schemas.microsoft.com/office/drawing/2014/main" id="{1EEB55D5-0F91-4EDF-8812-BCCAEF17F1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9948977" y="3560046"/>
                    <a:ext cx="141254" cy="152645"/>
                  </a:xfrm>
                  <a:custGeom>
                    <a:avLst/>
                    <a:gdLst>
                      <a:gd name="T0" fmla="*/ 27 w 87"/>
                      <a:gd name="T1" fmla="*/ 0 h 94"/>
                      <a:gd name="T2" fmla="*/ 27 w 87"/>
                      <a:gd name="T3" fmla="*/ 67 h 94"/>
                      <a:gd name="T4" fmla="*/ 87 w 87"/>
                      <a:gd name="T5" fmla="*/ 67 h 94"/>
                      <a:gd name="T6" fmla="*/ 87 w 87"/>
                      <a:gd name="T7" fmla="*/ 94 h 94"/>
                      <a:gd name="T8" fmla="*/ 0 w 87"/>
                      <a:gd name="T9" fmla="*/ 94 h 94"/>
                      <a:gd name="T10" fmla="*/ 0 w 87"/>
                      <a:gd name="T11" fmla="*/ 0 h 94"/>
                      <a:gd name="T12" fmla="*/ 27 w 87"/>
                      <a:gd name="T13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7" h="94">
                        <a:moveTo>
                          <a:pt x="27" y="0"/>
                        </a:moveTo>
                        <a:cubicBezTo>
                          <a:pt x="27" y="22"/>
                          <a:pt x="27" y="45"/>
                          <a:pt x="27" y="67"/>
                        </a:cubicBezTo>
                        <a:cubicBezTo>
                          <a:pt x="47" y="67"/>
                          <a:pt x="67" y="67"/>
                          <a:pt x="87" y="67"/>
                        </a:cubicBezTo>
                        <a:cubicBezTo>
                          <a:pt x="87" y="76"/>
                          <a:pt x="87" y="85"/>
                          <a:pt x="87" y="94"/>
                        </a:cubicBezTo>
                        <a:cubicBezTo>
                          <a:pt x="58" y="94"/>
                          <a:pt x="29" y="94"/>
                          <a:pt x="0" y="94"/>
                        </a:cubicBezTo>
                        <a:cubicBezTo>
                          <a:pt x="0" y="63"/>
                          <a:pt x="0" y="31"/>
                          <a:pt x="0" y="0"/>
                        </a:cubicBezTo>
                        <a:cubicBezTo>
                          <a:pt x="9" y="0"/>
                          <a:pt x="18" y="0"/>
                          <a:pt x="2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35596527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A7541D75-000D-46EC-8C55-1F95207F7C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0034085"/>
              </p:ext>
            </p:extLst>
          </p:nvPr>
        </p:nvGraphicFramePr>
        <p:xfrm>
          <a:off x="1489240" y="1747783"/>
          <a:ext cx="835342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Inhaltsplatzhalter 1">
            <a:extLst>
              <a:ext uri="{FF2B5EF4-FFF2-40B4-BE49-F238E27FC236}">
                <a16:creationId xmlns:a16="http://schemas.microsoft.com/office/drawing/2014/main" id="{710DB709-3C6F-4FA2-BD36-9850593AD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798294"/>
              </p:ext>
            </p:extLst>
          </p:nvPr>
        </p:nvGraphicFramePr>
        <p:xfrm>
          <a:off x="2662197" y="2336480"/>
          <a:ext cx="6050819" cy="3121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hteck 2">
            <a:extLst>
              <a:ext uri="{FF2B5EF4-FFF2-40B4-BE49-F238E27FC236}">
                <a16:creationId xmlns:a16="http://schemas.microsoft.com/office/drawing/2014/main" id="{DBB2E53A-D67C-4989-A62C-5006689C5C8E}"/>
              </a:ext>
            </a:extLst>
          </p:cNvPr>
          <p:cNvSpPr/>
          <p:nvPr/>
        </p:nvSpPr>
        <p:spPr bwMode="gray">
          <a:xfrm>
            <a:off x="1411737" y="1652142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4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7" name="Rechteck 38">
            <a:extLst>
              <a:ext uri="{FF2B5EF4-FFF2-40B4-BE49-F238E27FC236}">
                <a16:creationId xmlns:a16="http://schemas.microsoft.com/office/drawing/2014/main" id="{3D90F093-A414-48BA-A770-B9733B23D11D}"/>
              </a:ext>
            </a:extLst>
          </p:cNvPr>
          <p:cNvSpPr/>
          <p:nvPr/>
        </p:nvSpPr>
        <p:spPr bwMode="gray">
          <a:xfrm>
            <a:off x="1411737" y="4957248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3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8" name="Rechteck 39">
            <a:extLst>
              <a:ext uri="{FF2B5EF4-FFF2-40B4-BE49-F238E27FC236}">
                <a16:creationId xmlns:a16="http://schemas.microsoft.com/office/drawing/2014/main" id="{3397BBB8-F3DE-443A-9B19-FE98C741720D}"/>
              </a:ext>
            </a:extLst>
          </p:cNvPr>
          <p:cNvSpPr/>
          <p:nvPr/>
        </p:nvSpPr>
        <p:spPr bwMode="gray">
          <a:xfrm>
            <a:off x="7743472" y="1652142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1</a:t>
            </a:r>
          </a:p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9" name="Rechteck 40">
            <a:extLst>
              <a:ext uri="{FF2B5EF4-FFF2-40B4-BE49-F238E27FC236}">
                <a16:creationId xmlns:a16="http://schemas.microsoft.com/office/drawing/2014/main" id="{790C56BA-E504-476E-8BEB-80BCDBFA8AE9}"/>
              </a:ext>
            </a:extLst>
          </p:cNvPr>
          <p:cNvSpPr/>
          <p:nvPr/>
        </p:nvSpPr>
        <p:spPr bwMode="gray">
          <a:xfrm>
            <a:off x="7743472" y="4957248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2</a:t>
            </a:r>
          </a:p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grpSp>
        <p:nvGrpSpPr>
          <p:cNvPr id="10" name="Gruppieren 7">
            <a:extLst>
              <a:ext uri="{FF2B5EF4-FFF2-40B4-BE49-F238E27FC236}">
                <a16:creationId xmlns:a16="http://schemas.microsoft.com/office/drawing/2014/main" id="{0DBC31B3-201E-4A25-A9BC-02BAE5E755B5}"/>
              </a:ext>
            </a:extLst>
          </p:cNvPr>
          <p:cNvGrpSpPr/>
          <p:nvPr/>
        </p:nvGrpSpPr>
        <p:grpSpPr bwMode="gray">
          <a:xfrm>
            <a:off x="1503205" y="2065554"/>
            <a:ext cx="9429785" cy="3663408"/>
            <a:chOff x="383853" y="1829071"/>
            <a:chExt cx="9429785" cy="3663408"/>
          </a:xfrm>
        </p:grpSpPr>
        <p:grpSp>
          <p:nvGrpSpPr>
            <p:cNvPr id="11" name="Gruppieren 4">
              <a:extLst>
                <a:ext uri="{FF2B5EF4-FFF2-40B4-BE49-F238E27FC236}">
                  <a16:creationId xmlns:a16="http://schemas.microsoft.com/office/drawing/2014/main" id="{259274F4-F018-4B3B-BEC1-7DA055B22879}"/>
                </a:ext>
              </a:extLst>
            </p:cNvPr>
            <p:cNvGrpSpPr/>
            <p:nvPr/>
          </p:nvGrpSpPr>
          <p:grpSpPr bwMode="gray">
            <a:xfrm>
              <a:off x="383853" y="3657600"/>
              <a:ext cx="9429785" cy="239658"/>
              <a:chOff x="550436" y="3657600"/>
              <a:chExt cx="12571409" cy="239658"/>
            </a:xfrm>
          </p:grpSpPr>
          <p:cxnSp>
            <p:nvCxnSpPr>
              <p:cNvPr id="36" name="Gerade Verbindung 34">
                <a:extLst>
                  <a:ext uri="{FF2B5EF4-FFF2-40B4-BE49-F238E27FC236}">
                    <a16:creationId xmlns:a16="http://schemas.microsoft.com/office/drawing/2014/main" id="{2FEBBEA1-094B-42FF-B552-02FED7B6AF79}"/>
                  </a:ext>
                </a:extLst>
              </p:cNvPr>
              <p:cNvCxnSpPr>
                <a:endCxn id="2" idx="3"/>
              </p:cNvCxnSpPr>
              <p:nvPr/>
            </p:nvCxnSpPr>
            <p:spPr bwMode="gray">
              <a:xfrm>
                <a:off x="10693225" y="3894083"/>
                <a:ext cx="2428620" cy="3175"/>
              </a:xfrm>
              <a:prstGeom prst="line">
                <a:avLst/>
              </a:prstGeom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5">
                <a:extLst>
                  <a:ext uri="{FF2B5EF4-FFF2-40B4-BE49-F238E27FC236}">
                    <a16:creationId xmlns:a16="http://schemas.microsoft.com/office/drawing/2014/main" id="{FDE7BC2D-91C1-4A16-BE5F-36547A6E8E69}"/>
                  </a:ext>
                </a:extLst>
              </p:cNvPr>
              <p:cNvCxnSpPr/>
              <p:nvPr/>
            </p:nvCxnSpPr>
            <p:spPr bwMode="gray">
              <a:xfrm>
                <a:off x="550436" y="3657600"/>
                <a:ext cx="2485667" cy="0"/>
              </a:xfrm>
              <a:prstGeom prst="line">
                <a:avLst/>
              </a:prstGeom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uppieren 71">
              <a:extLst>
                <a:ext uri="{FF2B5EF4-FFF2-40B4-BE49-F238E27FC236}">
                  <a16:creationId xmlns:a16="http://schemas.microsoft.com/office/drawing/2014/main" id="{A95A3C66-DFA8-422A-9235-E5F8D505F3D3}"/>
                </a:ext>
              </a:extLst>
            </p:cNvPr>
            <p:cNvGrpSpPr/>
            <p:nvPr/>
          </p:nvGrpSpPr>
          <p:grpSpPr bwMode="gray">
            <a:xfrm>
              <a:off x="2707690" y="1829071"/>
              <a:ext cx="3678000" cy="3663408"/>
              <a:chOff x="2736718" y="1829071"/>
              <a:chExt cx="3678000" cy="3663408"/>
            </a:xfrm>
          </p:grpSpPr>
          <p:grpSp>
            <p:nvGrpSpPr>
              <p:cNvPr id="13" name="METRO ICON - diagram up">
                <a:extLst>
                  <a:ext uri="{FF2B5EF4-FFF2-40B4-BE49-F238E27FC236}">
                    <a16:creationId xmlns:a16="http://schemas.microsoft.com/office/drawing/2014/main" id="{85847D17-6079-4DE8-A216-1C0EDE7CDC77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134412" y="3143109"/>
                <a:ext cx="866334" cy="921336"/>
                <a:chOff x="5670142" y="-712475"/>
                <a:chExt cx="421613" cy="44838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2" name="Freeform 33">
                  <a:extLst>
                    <a:ext uri="{FF2B5EF4-FFF2-40B4-BE49-F238E27FC236}">
                      <a16:creationId xmlns:a16="http://schemas.microsoft.com/office/drawing/2014/main" id="{41CC7337-C516-4533-BC10-D1C1EB0514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9065" y="-712475"/>
                  <a:ext cx="412690" cy="307844"/>
                </a:xfrm>
                <a:custGeom>
                  <a:avLst/>
                  <a:gdLst>
                    <a:gd name="T0" fmla="*/ 90 w 260"/>
                    <a:gd name="T1" fmla="*/ 80 h 194"/>
                    <a:gd name="T2" fmla="*/ 123 w 260"/>
                    <a:gd name="T3" fmla="*/ 111 h 194"/>
                    <a:gd name="T4" fmla="*/ 214 w 260"/>
                    <a:gd name="T5" fmla="*/ 24 h 194"/>
                    <a:gd name="T6" fmla="*/ 200 w 260"/>
                    <a:gd name="T7" fmla="*/ 12 h 194"/>
                    <a:gd name="T8" fmla="*/ 201 w 260"/>
                    <a:gd name="T9" fmla="*/ 11 h 194"/>
                    <a:gd name="T10" fmla="*/ 260 w 260"/>
                    <a:gd name="T11" fmla="*/ 0 h 194"/>
                    <a:gd name="T12" fmla="*/ 249 w 260"/>
                    <a:gd name="T13" fmla="*/ 60 h 194"/>
                    <a:gd name="T14" fmla="*/ 236 w 260"/>
                    <a:gd name="T15" fmla="*/ 47 h 194"/>
                    <a:gd name="T16" fmla="*/ 123 w 260"/>
                    <a:gd name="T17" fmla="*/ 158 h 194"/>
                    <a:gd name="T18" fmla="*/ 89 w 260"/>
                    <a:gd name="T19" fmla="*/ 126 h 194"/>
                    <a:gd name="T20" fmla="*/ 21 w 260"/>
                    <a:gd name="T21" fmla="*/ 194 h 194"/>
                    <a:gd name="T22" fmla="*/ 0 w 260"/>
                    <a:gd name="T23" fmla="*/ 171 h 194"/>
                    <a:gd name="T24" fmla="*/ 90 w 260"/>
                    <a:gd name="T25" fmla="*/ 80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0" h="194">
                      <a:moveTo>
                        <a:pt x="90" y="80"/>
                      </a:moveTo>
                      <a:cubicBezTo>
                        <a:pt x="101" y="90"/>
                        <a:pt x="112" y="101"/>
                        <a:pt x="123" y="111"/>
                      </a:cubicBezTo>
                      <a:cubicBezTo>
                        <a:pt x="153" y="82"/>
                        <a:pt x="183" y="53"/>
                        <a:pt x="214" y="24"/>
                      </a:cubicBezTo>
                      <a:cubicBezTo>
                        <a:pt x="209" y="20"/>
                        <a:pt x="205" y="16"/>
                        <a:pt x="200" y="12"/>
                      </a:cubicBezTo>
                      <a:cubicBezTo>
                        <a:pt x="200" y="11"/>
                        <a:pt x="201" y="11"/>
                        <a:pt x="201" y="11"/>
                      </a:cubicBezTo>
                      <a:cubicBezTo>
                        <a:pt x="221" y="7"/>
                        <a:pt x="240" y="4"/>
                        <a:pt x="260" y="0"/>
                      </a:cubicBezTo>
                      <a:cubicBezTo>
                        <a:pt x="257" y="20"/>
                        <a:pt x="253" y="40"/>
                        <a:pt x="249" y="60"/>
                      </a:cubicBezTo>
                      <a:cubicBezTo>
                        <a:pt x="244" y="56"/>
                        <a:pt x="240" y="51"/>
                        <a:pt x="236" y="47"/>
                      </a:cubicBezTo>
                      <a:cubicBezTo>
                        <a:pt x="198" y="84"/>
                        <a:pt x="161" y="121"/>
                        <a:pt x="123" y="158"/>
                      </a:cubicBezTo>
                      <a:cubicBezTo>
                        <a:pt x="112" y="147"/>
                        <a:pt x="101" y="136"/>
                        <a:pt x="89" y="126"/>
                      </a:cubicBezTo>
                      <a:cubicBezTo>
                        <a:pt x="67" y="148"/>
                        <a:pt x="44" y="171"/>
                        <a:pt x="21" y="194"/>
                      </a:cubicBezTo>
                      <a:cubicBezTo>
                        <a:pt x="13" y="186"/>
                        <a:pt x="6" y="179"/>
                        <a:pt x="0" y="171"/>
                      </a:cubicBezTo>
                      <a:cubicBezTo>
                        <a:pt x="29" y="141"/>
                        <a:pt x="59" y="111"/>
                        <a:pt x="90" y="8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33">
                  <a:extLst>
                    <a:ext uri="{FF2B5EF4-FFF2-40B4-BE49-F238E27FC236}">
                      <a16:creationId xmlns:a16="http://schemas.microsoft.com/office/drawing/2014/main" id="{A84B7BF9-B7DB-4E8F-95F6-7A14354BAC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73524" y="-502785"/>
                  <a:ext cx="118231" cy="238690"/>
                </a:xfrm>
                <a:custGeom>
                  <a:avLst/>
                  <a:gdLst>
                    <a:gd name="T0" fmla="*/ 74 w 74"/>
                    <a:gd name="T1" fmla="*/ 151 h 151"/>
                    <a:gd name="T2" fmla="*/ 0 w 74"/>
                    <a:gd name="T3" fmla="*/ 151 h 151"/>
                    <a:gd name="T4" fmla="*/ 0 w 74"/>
                    <a:gd name="T5" fmla="*/ 0 h 151"/>
                    <a:gd name="T6" fmla="*/ 74 w 74"/>
                    <a:gd name="T7" fmla="*/ 0 h 151"/>
                    <a:gd name="T8" fmla="*/ 74 w 74"/>
                    <a:gd name="T9" fmla="*/ 15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51">
                      <a:moveTo>
                        <a:pt x="74" y="151"/>
                      </a:moveTo>
                      <a:cubicBezTo>
                        <a:pt x="49" y="151"/>
                        <a:pt x="25" y="151"/>
                        <a:pt x="0" y="151"/>
                      </a:cubicBezTo>
                      <a:cubicBezTo>
                        <a:pt x="0" y="101"/>
                        <a:pt x="0" y="50"/>
                        <a:pt x="0" y="0"/>
                      </a:cubicBezTo>
                      <a:cubicBezTo>
                        <a:pt x="25" y="0"/>
                        <a:pt x="49" y="0"/>
                        <a:pt x="74" y="0"/>
                      </a:cubicBezTo>
                      <a:cubicBezTo>
                        <a:pt x="74" y="50"/>
                        <a:pt x="74" y="100"/>
                        <a:pt x="74" y="15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9491CB37-32A5-4204-A580-0A9589A1C1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21833" y="-429169"/>
                  <a:ext cx="118231" cy="165076"/>
                </a:xfrm>
                <a:custGeom>
                  <a:avLst/>
                  <a:gdLst>
                    <a:gd name="T0" fmla="*/ 0 w 74"/>
                    <a:gd name="T1" fmla="*/ 105 h 105"/>
                    <a:gd name="T2" fmla="*/ 0 w 74"/>
                    <a:gd name="T3" fmla="*/ 0 h 105"/>
                    <a:gd name="T4" fmla="*/ 74 w 74"/>
                    <a:gd name="T5" fmla="*/ 0 h 105"/>
                    <a:gd name="T6" fmla="*/ 74 w 74"/>
                    <a:gd name="T7" fmla="*/ 105 h 105"/>
                    <a:gd name="T8" fmla="*/ 0 w 74"/>
                    <a:gd name="T9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05">
                      <a:moveTo>
                        <a:pt x="0" y="105"/>
                      </a:moveTo>
                      <a:cubicBezTo>
                        <a:pt x="0" y="70"/>
                        <a:pt x="0" y="35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ubicBezTo>
                        <a:pt x="74" y="35"/>
                        <a:pt x="74" y="70"/>
                        <a:pt x="74" y="105"/>
                      </a:cubicBezTo>
                      <a:cubicBezTo>
                        <a:pt x="49" y="105"/>
                        <a:pt x="24" y="105"/>
                        <a:pt x="0" y="10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33">
                  <a:extLst>
                    <a:ext uri="{FF2B5EF4-FFF2-40B4-BE49-F238E27FC236}">
                      <a16:creationId xmlns:a16="http://schemas.microsoft.com/office/drawing/2014/main" id="{D26343F8-B8C8-4E04-856B-D5BAD66ACA6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0142" y="-375631"/>
                  <a:ext cx="115999" cy="111538"/>
                </a:xfrm>
                <a:custGeom>
                  <a:avLst/>
                  <a:gdLst>
                    <a:gd name="T0" fmla="*/ 73 w 73"/>
                    <a:gd name="T1" fmla="*/ 0 h 71"/>
                    <a:gd name="T2" fmla="*/ 73 w 73"/>
                    <a:gd name="T3" fmla="*/ 71 h 71"/>
                    <a:gd name="T4" fmla="*/ 0 w 73"/>
                    <a:gd name="T5" fmla="*/ 71 h 71"/>
                    <a:gd name="T6" fmla="*/ 0 w 73"/>
                    <a:gd name="T7" fmla="*/ 0 h 71"/>
                    <a:gd name="T8" fmla="*/ 73 w 73"/>
                    <a:gd name="T9" fmla="*/ 0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71">
                      <a:moveTo>
                        <a:pt x="73" y="0"/>
                      </a:moveTo>
                      <a:cubicBezTo>
                        <a:pt x="73" y="24"/>
                        <a:pt x="73" y="47"/>
                        <a:pt x="73" y="71"/>
                      </a:cubicBezTo>
                      <a:cubicBezTo>
                        <a:pt x="48" y="71"/>
                        <a:pt x="24" y="71"/>
                        <a:pt x="0" y="71"/>
                      </a:cubicBezTo>
                      <a:cubicBezTo>
                        <a:pt x="0" y="47"/>
                        <a:pt x="0" y="24"/>
                        <a:pt x="0" y="0"/>
                      </a:cubicBezTo>
                      <a:cubicBezTo>
                        <a:pt x="24" y="0"/>
                        <a:pt x="48" y="0"/>
                        <a:pt x="7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4" name="METRO ICON - gear wheel 1">
                <a:extLst>
                  <a:ext uri="{FF2B5EF4-FFF2-40B4-BE49-F238E27FC236}">
                    <a16:creationId xmlns:a16="http://schemas.microsoft.com/office/drawing/2014/main" id="{46DA4741-745B-48D9-80AB-94A87A033BC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 rot="20298125">
                <a:off x="2750692" y="4118358"/>
                <a:ext cx="402146" cy="408496"/>
              </a:xfrm>
              <a:custGeom>
                <a:avLst/>
                <a:gdLst>
                  <a:gd name="T0" fmla="*/ 51 w 266"/>
                  <a:gd name="T1" fmla="*/ 26 h 270"/>
                  <a:gd name="T2" fmla="*/ 69 w 266"/>
                  <a:gd name="T3" fmla="*/ 35 h 270"/>
                  <a:gd name="T4" fmla="*/ 108 w 266"/>
                  <a:gd name="T5" fmla="*/ 18 h 270"/>
                  <a:gd name="T6" fmla="*/ 113 w 266"/>
                  <a:gd name="T7" fmla="*/ 3 h 270"/>
                  <a:gd name="T8" fmla="*/ 118 w 266"/>
                  <a:gd name="T9" fmla="*/ 0 h 270"/>
                  <a:gd name="T10" fmla="*/ 147 w 266"/>
                  <a:gd name="T11" fmla="*/ 0 h 270"/>
                  <a:gd name="T12" fmla="*/ 152 w 266"/>
                  <a:gd name="T13" fmla="*/ 4 h 270"/>
                  <a:gd name="T14" fmla="*/ 158 w 266"/>
                  <a:gd name="T15" fmla="*/ 21 h 270"/>
                  <a:gd name="T16" fmla="*/ 194 w 266"/>
                  <a:gd name="T17" fmla="*/ 36 h 270"/>
                  <a:gd name="T18" fmla="*/ 210 w 266"/>
                  <a:gd name="T19" fmla="*/ 28 h 270"/>
                  <a:gd name="T20" fmla="*/ 217 w 266"/>
                  <a:gd name="T21" fmla="*/ 29 h 270"/>
                  <a:gd name="T22" fmla="*/ 237 w 266"/>
                  <a:gd name="T23" fmla="*/ 50 h 270"/>
                  <a:gd name="T24" fmla="*/ 238 w 266"/>
                  <a:gd name="T25" fmla="*/ 55 h 270"/>
                  <a:gd name="T26" fmla="*/ 231 w 266"/>
                  <a:gd name="T27" fmla="*/ 70 h 270"/>
                  <a:gd name="T28" fmla="*/ 247 w 266"/>
                  <a:gd name="T29" fmla="*/ 110 h 270"/>
                  <a:gd name="T30" fmla="*/ 262 w 266"/>
                  <a:gd name="T31" fmla="*/ 115 h 270"/>
                  <a:gd name="T32" fmla="*/ 266 w 266"/>
                  <a:gd name="T33" fmla="*/ 121 h 270"/>
                  <a:gd name="T34" fmla="*/ 266 w 266"/>
                  <a:gd name="T35" fmla="*/ 148 h 270"/>
                  <a:gd name="T36" fmla="*/ 261 w 266"/>
                  <a:gd name="T37" fmla="*/ 155 h 270"/>
                  <a:gd name="T38" fmla="*/ 244 w 266"/>
                  <a:gd name="T39" fmla="*/ 161 h 270"/>
                  <a:gd name="T40" fmla="*/ 230 w 266"/>
                  <a:gd name="T41" fmla="*/ 196 h 270"/>
                  <a:gd name="T42" fmla="*/ 239 w 266"/>
                  <a:gd name="T43" fmla="*/ 217 h 270"/>
                  <a:gd name="T44" fmla="*/ 216 w 266"/>
                  <a:gd name="T45" fmla="*/ 241 h 270"/>
                  <a:gd name="T46" fmla="*/ 211 w 266"/>
                  <a:gd name="T47" fmla="*/ 241 h 270"/>
                  <a:gd name="T48" fmla="*/ 195 w 266"/>
                  <a:gd name="T49" fmla="*/ 234 h 270"/>
                  <a:gd name="T50" fmla="*/ 158 w 266"/>
                  <a:gd name="T51" fmla="*/ 249 h 270"/>
                  <a:gd name="T52" fmla="*/ 152 w 266"/>
                  <a:gd name="T53" fmla="*/ 266 h 270"/>
                  <a:gd name="T54" fmla="*/ 147 w 266"/>
                  <a:gd name="T55" fmla="*/ 269 h 270"/>
                  <a:gd name="T56" fmla="*/ 118 w 266"/>
                  <a:gd name="T57" fmla="*/ 269 h 270"/>
                  <a:gd name="T58" fmla="*/ 114 w 266"/>
                  <a:gd name="T59" fmla="*/ 266 h 270"/>
                  <a:gd name="T60" fmla="*/ 108 w 266"/>
                  <a:gd name="T61" fmla="*/ 251 h 270"/>
                  <a:gd name="T62" fmla="*/ 70 w 266"/>
                  <a:gd name="T63" fmla="*/ 234 h 270"/>
                  <a:gd name="T64" fmla="*/ 54 w 266"/>
                  <a:gd name="T65" fmla="*/ 241 h 270"/>
                  <a:gd name="T66" fmla="*/ 49 w 266"/>
                  <a:gd name="T67" fmla="*/ 241 h 270"/>
                  <a:gd name="T68" fmla="*/ 28 w 266"/>
                  <a:gd name="T69" fmla="*/ 220 h 270"/>
                  <a:gd name="T70" fmla="*/ 28 w 266"/>
                  <a:gd name="T71" fmla="*/ 214 h 270"/>
                  <a:gd name="T72" fmla="*/ 36 w 266"/>
                  <a:gd name="T73" fmla="*/ 196 h 270"/>
                  <a:gd name="T74" fmla="*/ 22 w 266"/>
                  <a:gd name="T75" fmla="*/ 161 h 270"/>
                  <a:gd name="T76" fmla="*/ 3 w 266"/>
                  <a:gd name="T77" fmla="*/ 154 h 270"/>
                  <a:gd name="T78" fmla="*/ 0 w 266"/>
                  <a:gd name="T79" fmla="*/ 149 h 270"/>
                  <a:gd name="T80" fmla="*/ 0 w 266"/>
                  <a:gd name="T81" fmla="*/ 120 h 270"/>
                  <a:gd name="T82" fmla="*/ 3 w 266"/>
                  <a:gd name="T83" fmla="*/ 115 h 270"/>
                  <a:gd name="T84" fmla="*/ 19 w 266"/>
                  <a:gd name="T85" fmla="*/ 109 h 270"/>
                  <a:gd name="T86" fmla="*/ 34 w 266"/>
                  <a:gd name="T87" fmla="*/ 70 h 270"/>
                  <a:gd name="T88" fmla="*/ 28 w 266"/>
                  <a:gd name="T89" fmla="*/ 55 h 270"/>
                  <a:gd name="T90" fmla="*/ 28 w 266"/>
                  <a:gd name="T91" fmla="*/ 50 h 270"/>
                  <a:gd name="T92" fmla="*/ 51 w 266"/>
                  <a:gd name="T93" fmla="*/ 26 h 270"/>
                  <a:gd name="T94" fmla="*/ 181 w 266"/>
                  <a:gd name="T95" fmla="*/ 135 h 270"/>
                  <a:gd name="T96" fmla="*/ 133 w 266"/>
                  <a:gd name="T97" fmla="*/ 85 h 270"/>
                  <a:gd name="T98" fmla="*/ 84 w 266"/>
                  <a:gd name="T99" fmla="*/ 135 h 270"/>
                  <a:gd name="T100" fmla="*/ 133 w 266"/>
                  <a:gd name="T101" fmla="*/ 184 h 270"/>
                  <a:gd name="T102" fmla="*/ 181 w 266"/>
                  <a:gd name="T103" fmla="*/ 135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6" h="270">
                    <a:moveTo>
                      <a:pt x="51" y="26"/>
                    </a:moveTo>
                    <a:cubicBezTo>
                      <a:pt x="57" y="29"/>
                      <a:pt x="63" y="32"/>
                      <a:pt x="69" y="35"/>
                    </a:cubicBezTo>
                    <a:cubicBezTo>
                      <a:pt x="86" y="43"/>
                      <a:pt x="102" y="36"/>
                      <a:pt x="108" y="18"/>
                    </a:cubicBezTo>
                    <a:cubicBezTo>
                      <a:pt x="110" y="13"/>
                      <a:pt x="112" y="8"/>
                      <a:pt x="113" y="3"/>
                    </a:cubicBezTo>
                    <a:cubicBezTo>
                      <a:pt x="114" y="1"/>
                      <a:pt x="116" y="0"/>
                      <a:pt x="118" y="0"/>
                    </a:cubicBezTo>
                    <a:cubicBezTo>
                      <a:pt x="128" y="0"/>
                      <a:pt x="137" y="0"/>
                      <a:pt x="147" y="0"/>
                    </a:cubicBezTo>
                    <a:cubicBezTo>
                      <a:pt x="150" y="0"/>
                      <a:pt x="151" y="1"/>
                      <a:pt x="152" y="4"/>
                    </a:cubicBezTo>
                    <a:cubicBezTo>
                      <a:pt x="154" y="10"/>
                      <a:pt x="156" y="16"/>
                      <a:pt x="158" y="21"/>
                    </a:cubicBezTo>
                    <a:cubicBezTo>
                      <a:pt x="165" y="35"/>
                      <a:pt x="179" y="42"/>
                      <a:pt x="194" y="36"/>
                    </a:cubicBezTo>
                    <a:cubicBezTo>
                      <a:pt x="199" y="34"/>
                      <a:pt x="205" y="31"/>
                      <a:pt x="210" y="28"/>
                    </a:cubicBezTo>
                    <a:cubicBezTo>
                      <a:pt x="213" y="27"/>
                      <a:pt x="214" y="27"/>
                      <a:pt x="217" y="29"/>
                    </a:cubicBezTo>
                    <a:cubicBezTo>
                      <a:pt x="223" y="36"/>
                      <a:pt x="230" y="43"/>
                      <a:pt x="237" y="50"/>
                    </a:cubicBezTo>
                    <a:cubicBezTo>
                      <a:pt x="239" y="52"/>
                      <a:pt x="239" y="53"/>
                      <a:pt x="238" y="55"/>
                    </a:cubicBezTo>
                    <a:cubicBezTo>
                      <a:pt x="236" y="60"/>
                      <a:pt x="233" y="65"/>
                      <a:pt x="231" y="70"/>
                    </a:cubicBezTo>
                    <a:cubicBezTo>
                      <a:pt x="223" y="87"/>
                      <a:pt x="230" y="103"/>
                      <a:pt x="247" y="110"/>
                    </a:cubicBezTo>
                    <a:cubicBezTo>
                      <a:pt x="252" y="112"/>
                      <a:pt x="257" y="114"/>
                      <a:pt x="262" y="115"/>
                    </a:cubicBezTo>
                    <a:cubicBezTo>
                      <a:pt x="265" y="116"/>
                      <a:pt x="266" y="118"/>
                      <a:pt x="266" y="121"/>
                    </a:cubicBezTo>
                    <a:cubicBezTo>
                      <a:pt x="265" y="130"/>
                      <a:pt x="265" y="139"/>
                      <a:pt x="266" y="148"/>
                    </a:cubicBezTo>
                    <a:cubicBezTo>
                      <a:pt x="266" y="152"/>
                      <a:pt x="264" y="154"/>
                      <a:pt x="261" y="155"/>
                    </a:cubicBezTo>
                    <a:cubicBezTo>
                      <a:pt x="255" y="156"/>
                      <a:pt x="250" y="158"/>
                      <a:pt x="244" y="161"/>
                    </a:cubicBezTo>
                    <a:cubicBezTo>
                      <a:pt x="231" y="167"/>
                      <a:pt x="224" y="182"/>
                      <a:pt x="230" y="196"/>
                    </a:cubicBezTo>
                    <a:cubicBezTo>
                      <a:pt x="232" y="203"/>
                      <a:pt x="236" y="210"/>
                      <a:pt x="239" y="217"/>
                    </a:cubicBezTo>
                    <a:cubicBezTo>
                      <a:pt x="231" y="225"/>
                      <a:pt x="224" y="233"/>
                      <a:pt x="216" y="241"/>
                    </a:cubicBezTo>
                    <a:cubicBezTo>
                      <a:pt x="215" y="242"/>
                      <a:pt x="212" y="242"/>
                      <a:pt x="211" y="241"/>
                    </a:cubicBezTo>
                    <a:cubicBezTo>
                      <a:pt x="206" y="239"/>
                      <a:pt x="200" y="236"/>
                      <a:pt x="195" y="234"/>
                    </a:cubicBezTo>
                    <a:cubicBezTo>
                      <a:pt x="180" y="228"/>
                      <a:pt x="165" y="234"/>
                      <a:pt x="158" y="249"/>
                    </a:cubicBezTo>
                    <a:cubicBezTo>
                      <a:pt x="156" y="254"/>
                      <a:pt x="154" y="261"/>
                      <a:pt x="152" y="266"/>
                    </a:cubicBezTo>
                    <a:cubicBezTo>
                      <a:pt x="151" y="268"/>
                      <a:pt x="149" y="269"/>
                      <a:pt x="147" y="269"/>
                    </a:cubicBezTo>
                    <a:cubicBezTo>
                      <a:pt x="137" y="270"/>
                      <a:pt x="128" y="270"/>
                      <a:pt x="118" y="269"/>
                    </a:cubicBezTo>
                    <a:cubicBezTo>
                      <a:pt x="116" y="269"/>
                      <a:pt x="114" y="268"/>
                      <a:pt x="114" y="266"/>
                    </a:cubicBezTo>
                    <a:cubicBezTo>
                      <a:pt x="112" y="261"/>
                      <a:pt x="110" y="256"/>
                      <a:pt x="108" y="251"/>
                    </a:cubicBezTo>
                    <a:cubicBezTo>
                      <a:pt x="102" y="234"/>
                      <a:pt x="86" y="227"/>
                      <a:pt x="70" y="234"/>
                    </a:cubicBezTo>
                    <a:cubicBezTo>
                      <a:pt x="65" y="236"/>
                      <a:pt x="59" y="239"/>
                      <a:pt x="54" y="241"/>
                    </a:cubicBezTo>
                    <a:cubicBezTo>
                      <a:pt x="53" y="242"/>
                      <a:pt x="50" y="242"/>
                      <a:pt x="49" y="241"/>
                    </a:cubicBezTo>
                    <a:cubicBezTo>
                      <a:pt x="42" y="234"/>
                      <a:pt x="35" y="227"/>
                      <a:pt x="28" y="220"/>
                    </a:cubicBezTo>
                    <a:cubicBezTo>
                      <a:pt x="26" y="218"/>
                      <a:pt x="26" y="216"/>
                      <a:pt x="28" y="214"/>
                    </a:cubicBezTo>
                    <a:cubicBezTo>
                      <a:pt x="30" y="208"/>
                      <a:pt x="33" y="202"/>
                      <a:pt x="36" y="196"/>
                    </a:cubicBezTo>
                    <a:cubicBezTo>
                      <a:pt x="41" y="182"/>
                      <a:pt x="35" y="167"/>
                      <a:pt x="22" y="161"/>
                    </a:cubicBezTo>
                    <a:cubicBezTo>
                      <a:pt x="16" y="158"/>
                      <a:pt x="9" y="156"/>
                      <a:pt x="3" y="154"/>
                    </a:cubicBezTo>
                    <a:cubicBezTo>
                      <a:pt x="1" y="153"/>
                      <a:pt x="0" y="152"/>
                      <a:pt x="0" y="149"/>
                    </a:cubicBezTo>
                    <a:cubicBezTo>
                      <a:pt x="0" y="139"/>
                      <a:pt x="0" y="130"/>
                      <a:pt x="0" y="120"/>
                    </a:cubicBezTo>
                    <a:cubicBezTo>
                      <a:pt x="0" y="117"/>
                      <a:pt x="0" y="116"/>
                      <a:pt x="3" y="115"/>
                    </a:cubicBezTo>
                    <a:cubicBezTo>
                      <a:pt x="8" y="113"/>
                      <a:pt x="14" y="112"/>
                      <a:pt x="19" y="109"/>
                    </a:cubicBezTo>
                    <a:cubicBezTo>
                      <a:pt x="35" y="103"/>
                      <a:pt x="42" y="86"/>
                      <a:pt x="34" y="70"/>
                    </a:cubicBezTo>
                    <a:cubicBezTo>
                      <a:pt x="32" y="65"/>
                      <a:pt x="30" y="60"/>
                      <a:pt x="28" y="55"/>
                    </a:cubicBezTo>
                    <a:cubicBezTo>
                      <a:pt x="27" y="54"/>
                      <a:pt x="27" y="51"/>
                      <a:pt x="28" y="50"/>
                    </a:cubicBezTo>
                    <a:cubicBezTo>
                      <a:pt x="36" y="42"/>
                      <a:pt x="43" y="34"/>
                      <a:pt x="51" y="26"/>
                    </a:cubicBezTo>
                    <a:close/>
                    <a:moveTo>
                      <a:pt x="181" y="135"/>
                    </a:moveTo>
                    <a:cubicBezTo>
                      <a:pt x="181" y="107"/>
                      <a:pt x="160" y="85"/>
                      <a:pt x="133" y="85"/>
                    </a:cubicBezTo>
                    <a:cubicBezTo>
                      <a:pt x="106" y="85"/>
                      <a:pt x="84" y="107"/>
                      <a:pt x="84" y="135"/>
                    </a:cubicBezTo>
                    <a:cubicBezTo>
                      <a:pt x="84" y="162"/>
                      <a:pt x="106" y="185"/>
                      <a:pt x="133" y="184"/>
                    </a:cubicBezTo>
                    <a:cubicBezTo>
                      <a:pt x="160" y="184"/>
                      <a:pt x="181" y="162"/>
                      <a:pt x="181" y="1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METRO ICON - check award">
                <a:extLst>
                  <a:ext uri="{FF2B5EF4-FFF2-40B4-BE49-F238E27FC236}">
                    <a16:creationId xmlns:a16="http://schemas.microsoft.com/office/drawing/2014/main" id="{26044CFE-143E-40F5-BD61-898F7F3F165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735386" y="5106461"/>
                <a:ext cx="390148" cy="386018"/>
              </a:xfrm>
              <a:custGeom>
                <a:avLst/>
                <a:gdLst>
                  <a:gd name="T0" fmla="*/ 161 w 265"/>
                  <a:gd name="T1" fmla="*/ 258 h 263"/>
                  <a:gd name="T2" fmla="*/ 148 w 265"/>
                  <a:gd name="T3" fmla="*/ 254 h 263"/>
                  <a:gd name="T4" fmla="*/ 116 w 265"/>
                  <a:gd name="T5" fmla="*/ 254 h 263"/>
                  <a:gd name="T6" fmla="*/ 80 w 265"/>
                  <a:gd name="T7" fmla="*/ 243 h 263"/>
                  <a:gd name="T8" fmla="*/ 54 w 265"/>
                  <a:gd name="T9" fmla="*/ 226 h 263"/>
                  <a:gd name="T10" fmla="*/ 28 w 265"/>
                  <a:gd name="T11" fmla="*/ 197 h 263"/>
                  <a:gd name="T12" fmla="*/ 15 w 265"/>
                  <a:gd name="T13" fmla="*/ 169 h 263"/>
                  <a:gd name="T14" fmla="*/ 7 w 265"/>
                  <a:gd name="T15" fmla="*/ 135 h 263"/>
                  <a:gd name="T16" fmla="*/ 10 w 265"/>
                  <a:gd name="T17" fmla="*/ 131 h 263"/>
                  <a:gd name="T18" fmla="*/ 15 w 265"/>
                  <a:gd name="T19" fmla="*/ 101 h 263"/>
                  <a:gd name="T20" fmla="*/ 15 w 265"/>
                  <a:gd name="T21" fmla="*/ 77 h 263"/>
                  <a:gd name="T22" fmla="*/ 30 w 265"/>
                  <a:gd name="T23" fmla="*/ 65 h 263"/>
                  <a:gd name="T24" fmla="*/ 50 w 265"/>
                  <a:gd name="T25" fmla="*/ 47 h 263"/>
                  <a:gd name="T26" fmla="*/ 51 w 265"/>
                  <a:gd name="T27" fmla="*/ 42 h 263"/>
                  <a:gd name="T28" fmla="*/ 83 w 265"/>
                  <a:gd name="T29" fmla="*/ 21 h 263"/>
                  <a:gd name="T30" fmla="*/ 108 w 265"/>
                  <a:gd name="T31" fmla="*/ 17 h 263"/>
                  <a:gd name="T32" fmla="*/ 113 w 265"/>
                  <a:gd name="T33" fmla="*/ 12 h 263"/>
                  <a:gd name="T34" fmla="*/ 151 w 265"/>
                  <a:gd name="T35" fmla="*/ 12 h 263"/>
                  <a:gd name="T36" fmla="*/ 167 w 265"/>
                  <a:gd name="T37" fmla="*/ 22 h 263"/>
                  <a:gd name="T38" fmla="*/ 180 w 265"/>
                  <a:gd name="T39" fmla="*/ 21 h 263"/>
                  <a:gd name="T40" fmla="*/ 213 w 265"/>
                  <a:gd name="T41" fmla="*/ 42 h 263"/>
                  <a:gd name="T42" fmla="*/ 233 w 265"/>
                  <a:gd name="T43" fmla="*/ 65 h 263"/>
                  <a:gd name="T44" fmla="*/ 252 w 265"/>
                  <a:gd name="T45" fmla="*/ 86 h 263"/>
                  <a:gd name="T46" fmla="*/ 250 w 265"/>
                  <a:gd name="T47" fmla="*/ 100 h 263"/>
                  <a:gd name="T48" fmla="*/ 254 w 265"/>
                  <a:gd name="T49" fmla="*/ 131 h 263"/>
                  <a:gd name="T50" fmla="*/ 248 w 265"/>
                  <a:gd name="T51" fmla="*/ 169 h 263"/>
                  <a:gd name="T52" fmla="*/ 235 w 265"/>
                  <a:gd name="T53" fmla="*/ 191 h 263"/>
                  <a:gd name="T54" fmla="*/ 236 w 265"/>
                  <a:gd name="T55" fmla="*/ 197 h 263"/>
                  <a:gd name="T56" fmla="*/ 211 w 265"/>
                  <a:gd name="T57" fmla="*/ 226 h 263"/>
                  <a:gd name="T58" fmla="*/ 184 w 265"/>
                  <a:gd name="T59" fmla="*/ 243 h 263"/>
                  <a:gd name="T60" fmla="*/ 161 w 265"/>
                  <a:gd name="T61" fmla="*/ 258 h 263"/>
                  <a:gd name="T62" fmla="*/ 80 w 265"/>
                  <a:gd name="T63" fmla="*/ 116 h 263"/>
                  <a:gd name="T64" fmla="*/ 57 w 265"/>
                  <a:gd name="T65" fmla="*/ 138 h 263"/>
                  <a:gd name="T66" fmla="*/ 111 w 265"/>
                  <a:gd name="T67" fmla="*/ 192 h 263"/>
                  <a:gd name="T68" fmla="*/ 206 w 265"/>
                  <a:gd name="T69" fmla="*/ 97 h 263"/>
                  <a:gd name="T70" fmla="*/ 182 w 265"/>
                  <a:gd name="T71" fmla="*/ 74 h 263"/>
                  <a:gd name="T72" fmla="*/ 110 w 265"/>
                  <a:gd name="T73" fmla="*/ 146 h 263"/>
                  <a:gd name="T74" fmla="*/ 80 w 265"/>
                  <a:gd name="T75" fmla="*/ 11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5" h="263">
                    <a:moveTo>
                      <a:pt x="161" y="258"/>
                    </a:moveTo>
                    <a:cubicBezTo>
                      <a:pt x="156" y="258"/>
                      <a:pt x="152" y="257"/>
                      <a:pt x="148" y="254"/>
                    </a:cubicBezTo>
                    <a:cubicBezTo>
                      <a:pt x="137" y="247"/>
                      <a:pt x="127" y="247"/>
                      <a:pt x="116" y="254"/>
                    </a:cubicBezTo>
                    <a:cubicBezTo>
                      <a:pt x="103" y="263"/>
                      <a:pt x="86" y="257"/>
                      <a:pt x="80" y="243"/>
                    </a:cubicBezTo>
                    <a:cubicBezTo>
                      <a:pt x="75" y="231"/>
                      <a:pt x="66" y="226"/>
                      <a:pt x="54" y="226"/>
                    </a:cubicBezTo>
                    <a:cubicBezTo>
                      <a:pt x="37" y="226"/>
                      <a:pt x="26" y="213"/>
                      <a:pt x="28" y="197"/>
                    </a:cubicBezTo>
                    <a:cubicBezTo>
                      <a:pt x="30" y="184"/>
                      <a:pt x="26" y="175"/>
                      <a:pt x="15" y="169"/>
                    </a:cubicBezTo>
                    <a:cubicBezTo>
                      <a:pt x="4" y="161"/>
                      <a:pt x="0" y="147"/>
                      <a:pt x="7" y="135"/>
                    </a:cubicBezTo>
                    <a:cubicBezTo>
                      <a:pt x="8" y="133"/>
                      <a:pt x="9" y="132"/>
                      <a:pt x="10" y="131"/>
                    </a:cubicBezTo>
                    <a:cubicBezTo>
                      <a:pt x="18" y="122"/>
                      <a:pt x="20" y="112"/>
                      <a:pt x="15" y="101"/>
                    </a:cubicBezTo>
                    <a:cubicBezTo>
                      <a:pt x="11" y="93"/>
                      <a:pt x="11" y="85"/>
                      <a:pt x="15" y="77"/>
                    </a:cubicBezTo>
                    <a:cubicBezTo>
                      <a:pt x="18" y="71"/>
                      <a:pt x="24" y="67"/>
                      <a:pt x="30" y="65"/>
                    </a:cubicBezTo>
                    <a:cubicBezTo>
                      <a:pt x="40" y="63"/>
                      <a:pt x="47" y="57"/>
                      <a:pt x="50" y="47"/>
                    </a:cubicBezTo>
                    <a:cubicBezTo>
                      <a:pt x="50" y="46"/>
                      <a:pt x="50" y="44"/>
                      <a:pt x="51" y="42"/>
                    </a:cubicBezTo>
                    <a:cubicBezTo>
                      <a:pt x="53" y="26"/>
                      <a:pt x="67" y="16"/>
                      <a:pt x="83" y="21"/>
                    </a:cubicBezTo>
                    <a:cubicBezTo>
                      <a:pt x="93" y="24"/>
                      <a:pt x="101" y="23"/>
                      <a:pt x="108" y="17"/>
                    </a:cubicBezTo>
                    <a:cubicBezTo>
                      <a:pt x="110" y="15"/>
                      <a:pt x="112" y="13"/>
                      <a:pt x="113" y="12"/>
                    </a:cubicBezTo>
                    <a:cubicBezTo>
                      <a:pt x="123" y="0"/>
                      <a:pt x="141" y="0"/>
                      <a:pt x="151" y="12"/>
                    </a:cubicBezTo>
                    <a:cubicBezTo>
                      <a:pt x="155" y="17"/>
                      <a:pt x="160" y="21"/>
                      <a:pt x="167" y="22"/>
                    </a:cubicBezTo>
                    <a:cubicBezTo>
                      <a:pt x="172" y="22"/>
                      <a:pt x="176" y="22"/>
                      <a:pt x="180" y="21"/>
                    </a:cubicBezTo>
                    <a:cubicBezTo>
                      <a:pt x="197" y="17"/>
                      <a:pt x="211" y="25"/>
                      <a:pt x="213" y="42"/>
                    </a:cubicBezTo>
                    <a:cubicBezTo>
                      <a:pt x="215" y="54"/>
                      <a:pt x="221" y="62"/>
                      <a:pt x="233" y="65"/>
                    </a:cubicBezTo>
                    <a:cubicBezTo>
                      <a:pt x="244" y="68"/>
                      <a:pt x="250" y="75"/>
                      <a:pt x="252" y="86"/>
                    </a:cubicBezTo>
                    <a:cubicBezTo>
                      <a:pt x="253" y="91"/>
                      <a:pt x="252" y="95"/>
                      <a:pt x="250" y="100"/>
                    </a:cubicBezTo>
                    <a:cubicBezTo>
                      <a:pt x="244" y="111"/>
                      <a:pt x="245" y="121"/>
                      <a:pt x="254" y="131"/>
                    </a:cubicBezTo>
                    <a:cubicBezTo>
                      <a:pt x="265" y="143"/>
                      <a:pt x="262" y="160"/>
                      <a:pt x="248" y="169"/>
                    </a:cubicBezTo>
                    <a:cubicBezTo>
                      <a:pt x="240" y="174"/>
                      <a:pt x="235" y="181"/>
                      <a:pt x="235" y="191"/>
                    </a:cubicBezTo>
                    <a:cubicBezTo>
                      <a:pt x="235" y="193"/>
                      <a:pt x="235" y="195"/>
                      <a:pt x="236" y="197"/>
                    </a:cubicBezTo>
                    <a:cubicBezTo>
                      <a:pt x="238" y="212"/>
                      <a:pt x="227" y="226"/>
                      <a:pt x="211" y="226"/>
                    </a:cubicBezTo>
                    <a:cubicBezTo>
                      <a:pt x="198" y="226"/>
                      <a:pt x="189" y="231"/>
                      <a:pt x="184" y="243"/>
                    </a:cubicBezTo>
                    <a:cubicBezTo>
                      <a:pt x="180" y="253"/>
                      <a:pt x="172" y="258"/>
                      <a:pt x="161" y="258"/>
                    </a:cubicBezTo>
                    <a:close/>
                    <a:moveTo>
                      <a:pt x="80" y="116"/>
                    </a:moveTo>
                    <a:cubicBezTo>
                      <a:pt x="72" y="123"/>
                      <a:pt x="64" y="131"/>
                      <a:pt x="57" y="138"/>
                    </a:cubicBezTo>
                    <a:cubicBezTo>
                      <a:pt x="75" y="156"/>
                      <a:pt x="93" y="174"/>
                      <a:pt x="111" y="192"/>
                    </a:cubicBezTo>
                    <a:cubicBezTo>
                      <a:pt x="142" y="161"/>
                      <a:pt x="174" y="129"/>
                      <a:pt x="206" y="97"/>
                    </a:cubicBezTo>
                    <a:cubicBezTo>
                      <a:pt x="198" y="90"/>
                      <a:pt x="191" y="82"/>
                      <a:pt x="182" y="74"/>
                    </a:cubicBezTo>
                    <a:cubicBezTo>
                      <a:pt x="158" y="98"/>
                      <a:pt x="134" y="122"/>
                      <a:pt x="110" y="146"/>
                    </a:cubicBezTo>
                    <a:cubicBezTo>
                      <a:pt x="100" y="136"/>
                      <a:pt x="90" y="126"/>
                      <a:pt x="80" y="1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6" name="METRO ICON - pocket">
                <a:extLst>
                  <a:ext uri="{FF2B5EF4-FFF2-40B4-BE49-F238E27FC236}">
                    <a16:creationId xmlns:a16="http://schemas.microsoft.com/office/drawing/2014/main" id="{066E02E7-7318-44ED-A7E2-FBCADF579D5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701562" y="1829071"/>
                <a:ext cx="366198" cy="295384"/>
                <a:chOff x="4518321" y="5290869"/>
                <a:chExt cx="560453" cy="452076"/>
              </a:xfrm>
              <a:solidFill>
                <a:schemeClr val="bg1"/>
              </a:solidFill>
            </p:grpSpPr>
            <p:sp>
              <p:nvSpPr>
                <p:cNvPr id="30" name="Freeform 40">
                  <a:extLst>
                    <a:ext uri="{FF2B5EF4-FFF2-40B4-BE49-F238E27FC236}">
                      <a16:creationId xmlns:a16="http://schemas.microsoft.com/office/drawing/2014/main" id="{D2789BE8-523A-4D22-8478-5F97F9D453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18321" y="5386858"/>
                  <a:ext cx="560453" cy="356087"/>
                </a:xfrm>
                <a:custGeom>
                  <a:avLst/>
                  <a:gdLst>
                    <a:gd name="T0" fmla="*/ 5 w 253"/>
                    <a:gd name="T1" fmla="*/ 161 h 161"/>
                    <a:gd name="T2" fmla="*/ 5 w 253"/>
                    <a:gd name="T3" fmla="*/ 78 h 161"/>
                    <a:gd name="T4" fmla="*/ 93 w 253"/>
                    <a:gd name="T5" fmla="*/ 78 h 161"/>
                    <a:gd name="T6" fmla="*/ 93 w 253"/>
                    <a:gd name="T7" fmla="*/ 60 h 161"/>
                    <a:gd name="T8" fmla="*/ 0 w 253"/>
                    <a:gd name="T9" fmla="*/ 60 h 161"/>
                    <a:gd name="T10" fmla="*/ 0 w 253"/>
                    <a:gd name="T11" fmla="*/ 0 h 161"/>
                    <a:gd name="T12" fmla="*/ 253 w 253"/>
                    <a:gd name="T13" fmla="*/ 0 h 161"/>
                    <a:gd name="T14" fmla="*/ 253 w 253"/>
                    <a:gd name="T15" fmla="*/ 60 h 161"/>
                    <a:gd name="T16" fmla="*/ 160 w 253"/>
                    <a:gd name="T17" fmla="*/ 60 h 161"/>
                    <a:gd name="T18" fmla="*/ 160 w 253"/>
                    <a:gd name="T19" fmla="*/ 78 h 161"/>
                    <a:gd name="T20" fmla="*/ 248 w 253"/>
                    <a:gd name="T21" fmla="*/ 78 h 161"/>
                    <a:gd name="T22" fmla="*/ 248 w 253"/>
                    <a:gd name="T23" fmla="*/ 161 h 161"/>
                    <a:gd name="T24" fmla="*/ 5 w 253"/>
                    <a:gd name="T25" fmla="*/ 161 h 161"/>
                    <a:gd name="T26" fmla="*/ 143 w 253"/>
                    <a:gd name="T27" fmla="*/ 85 h 161"/>
                    <a:gd name="T28" fmla="*/ 143 w 253"/>
                    <a:gd name="T29" fmla="*/ 53 h 161"/>
                    <a:gd name="T30" fmla="*/ 110 w 253"/>
                    <a:gd name="T31" fmla="*/ 53 h 161"/>
                    <a:gd name="T32" fmla="*/ 110 w 253"/>
                    <a:gd name="T33" fmla="*/ 85 h 161"/>
                    <a:gd name="T34" fmla="*/ 143 w 253"/>
                    <a:gd name="T35" fmla="*/ 85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53" h="161">
                      <a:moveTo>
                        <a:pt x="5" y="161"/>
                      </a:moveTo>
                      <a:cubicBezTo>
                        <a:pt x="5" y="133"/>
                        <a:pt x="5" y="106"/>
                        <a:pt x="5" y="78"/>
                      </a:cubicBezTo>
                      <a:cubicBezTo>
                        <a:pt x="34" y="78"/>
                        <a:pt x="63" y="78"/>
                        <a:pt x="93" y="78"/>
                      </a:cubicBezTo>
                      <a:cubicBezTo>
                        <a:pt x="93" y="72"/>
                        <a:pt x="93" y="66"/>
                        <a:pt x="93" y="60"/>
                      </a:cubicBezTo>
                      <a:cubicBezTo>
                        <a:pt x="62" y="60"/>
                        <a:pt x="31" y="60"/>
                        <a:pt x="0" y="60"/>
                      </a:cubicBezTo>
                      <a:cubicBezTo>
                        <a:pt x="0" y="40"/>
                        <a:pt x="0" y="21"/>
                        <a:pt x="0" y="0"/>
                      </a:cubicBezTo>
                      <a:cubicBezTo>
                        <a:pt x="84" y="0"/>
                        <a:pt x="168" y="0"/>
                        <a:pt x="253" y="0"/>
                      </a:cubicBezTo>
                      <a:cubicBezTo>
                        <a:pt x="253" y="20"/>
                        <a:pt x="253" y="40"/>
                        <a:pt x="253" y="60"/>
                      </a:cubicBezTo>
                      <a:cubicBezTo>
                        <a:pt x="222" y="60"/>
                        <a:pt x="191" y="60"/>
                        <a:pt x="160" y="60"/>
                      </a:cubicBezTo>
                      <a:cubicBezTo>
                        <a:pt x="160" y="66"/>
                        <a:pt x="160" y="72"/>
                        <a:pt x="160" y="78"/>
                      </a:cubicBezTo>
                      <a:cubicBezTo>
                        <a:pt x="189" y="78"/>
                        <a:pt x="218" y="78"/>
                        <a:pt x="248" y="78"/>
                      </a:cubicBezTo>
                      <a:cubicBezTo>
                        <a:pt x="248" y="105"/>
                        <a:pt x="248" y="133"/>
                        <a:pt x="248" y="161"/>
                      </a:cubicBezTo>
                      <a:cubicBezTo>
                        <a:pt x="167" y="161"/>
                        <a:pt x="86" y="161"/>
                        <a:pt x="5" y="161"/>
                      </a:cubicBezTo>
                      <a:close/>
                      <a:moveTo>
                        <a:pt x="143" y="85"/>
                      </a:moveTo>
                      <a:cubicBezTo>
                        <a:pt x="143" y="74"/>
                        <a:pt x="143" y="64"/>
                        <a:pt x="143" y="53"/>
                      </a:cubicBezTo>
                      <a:cubicBezTo>
                        <a:pt x="132" y="53"/>
                        <a:pt x="121" y="53"/>
                        <a:pt x="110" y="53"/>
                      </a:cubicBezTo>
                      <a:cubicBezTo>
                        <a:pt x="110" y="64"/>
                        <a:pt x="110" y="74"/>
                        <a:pt x="110" y="85"/>
                      </a:cubicBezTo>
                      <a:cubicBezTo>
                        <a:pt x="121" y="85"/>
                        <a:pt x="132" y="85"/>
                        <a:pt x="143" y="8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40">
                  <a:extLst>
                    <a:ext uri="{FF2B5EF4-FFF2-40B4-BE49-F238E27FC236}">
                      <a16:creationId xmlns:a16="http://schemas.microsoft.com/office/drawing/2014/main" id="{7FB59C1D-32F3-4C7B-8F54-363B9CACF0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85527" y="5290869"/>
                  <a:ext cx="226040" cy="68122"/>
                </a:xfrm>
                <a:custGeom>
                  <a:avLst/>
                  <a:gdLst>
                    <a:gd name="T0" fmla="*/ 103 w 103"/>
                    <a:gd name="T1" fmla="*/ 32 h 32"/>
                    <a:gd name="T2" fmla="*/ 85 w 103"/>
                    <a:gd name="T3" fmla="*/ 32 h 32"/>
                    <a:gd name="T4" fmla="*/ 85 w 103"/>
                    <a:gd name="T5" fmla="*/ 23 h 32"/>
                    <a:gd name="T6" fmla="*/ 79 w 103"/>
                    <a:gd name="T7" fmla="*/ 17 h 32"/>
                    <a:gd name="T8" fmla="*/ 24 w 103"/>
                    <a:gd name="T9" fmla="*/ 17 h 32"/>
                    <a:gd name="T10" fmla="*/ 18 w 103"/>
                    <a:gd name="T11" fmla="*/ 23 h 32"/>
                    <a:gd name="T12" fmla="*/ 18 w 103"/>
                    <a:gd name="T13" fmla="*/ 31 h 32"/>
                    <a:gd name="T14" fmla="*/ 18 w 103"/>
                    <a:gd name="T15" fmla="*/ 32 h 32"/>
                    <a:gd name="T16" fmla="*/ 0 w 103"/>
                    <a:gd name="T17" fmla="*/ 32 h 32"/>
                    <a:gd name="T18" fmla="*/ 0 w 103"/>
                    <a:gd name="T19" fmla="*/ 23 h 32"/>
                    <a:gd name="T20" fmla="*/ 0 w 103"/>
                    <a:gd name="T21" fmla="*/ 15 h 32"/>
                    <a:gd name="T22" fmla="*/ 15 w 103"/>
                    <a:gd name="T23" fmla="*/ 0 h 32"/>
                    <a:gd name="T24" fmla="*/ 82 w 103"/>
                    <a:gd name="T25" fmla="*/ 0 h 32"/>
                    <a:gd name="T26" fmla="*/ 92 w 103"/>
                    <a:gd name="T27" fmla="*/ 0 h 32"/>
                    <a:gd name="T28" fmla="*/ 103 w 103"/>
                    <a:gd name="T29" fmla="*/ 12 h 32"/>
                    <a:gd name="T30" fmla="*/ 103 w 103"/>
                    <a:gd name="T31" fmla="*/ 30 h 32"/>
                    <a:gd name="T32" fmla="*/ 103 w 103"/>
                    <a:gd name="T3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3" h="32">
                      <a:moveTo>
                        <a:pt x="103" y="32"/>
                      </a:moveTo>
                      <a:cubicBezTo>
                        <a:pt x="97" y="32"/>
                        <a:pt x="91" y="32"/>
                        <a:pt x="85" y="32"/>
                      </a:cubicBezTo>
                      <a:cubicBezTo>
                        <a:pt x="85" y="29"/>
                        <a:pt x="85" y="26"/>
                        <a:pt x="85" y="23"/>
                      </a:cubicBezTo>
                      <a:cubicBezTo>
                        <a:pt x="85" y="19"/>
                        <a:pt x="83" y="17"/>
                        <a:pt x="79" y="17"/>
                      </a:cubicBezTo>
                      <a:cubicBezTo>
                        <a:pt x="61" y="17"/>
                        <a:pt x="42" y="17"/>
                        <a:pt x="24" y="17"/>
                      </a:cubicBezTo>
                      <a:cubicBezTo>
                        <a:pt x="20" y="17"/>
                        <a:pt x="18" y="19"/>
                        <a:pt x="18" y="23"/>
                      </a:cubicBezTo>
                      <a:cubicBezTo>
                        <a:pt x="18" y="26"/>
                        <a:pt x="18" y="28"/>
                        <a:pt x="18" y="31"/>
                      </a:cubicBezTo>
                      <a:cubicBezTo>
                        <a:pt x="18" y="31"/>
                        <a:pt x="18" y="31"/>
                        <a:pt x="18" y="32"/>
                      </a:cubicBezTo>
                      <a:cubicBezTo>
                        <a:pt x="12" y="32"/>
                        <a:pt x="6" y="32"/>
                        <a:pt x="0" y="32"/>
                      </a:cubicBezTo>
                      <a:cubicBezTo>
                        <a:pt x="0" y="29"/>
                        <a:pt x="0" y="26"/>
                        <a:pt x="0" y="23"/>
                      </a:cubicBezTo>
                      <a:cubicBezTo>
                        <a:pt x="0" y="20"/>
                        <a:pt x="0" y="18"/>
                        <a:pt x="0" y="15"/>
                      </a:cubicBezTo>
                      <a:cubicBezTo>
                        <a:pt x="0" y="5"/>
                        <a:pt x="5" y="0"/>
                        <a:pt x="15" y="0"/>
                      </a:cubicBezTo>
                      <a:cubicBezTo>
                        <a:pt x="37" y="0"/>
                        <a:pt x="60" y="0"/>
                        <a:pt x="82" y="0"/>
                      </a:cubicBezTo>
                      <a:cubicBezTo>
                        <a:pt x="85" y="0"/>
                        <a:pt x="89" y="0"/>
                        <a:pt x="92" y="0"/>
                      </a:cubicBezTo>
                      <a:cubicBezTo>
                        <a:pt x="98" y="1"/>
                        <a:pt x="103" y="6"/>
                        <a:pt x="103" y="12"/>
                      </a:cubicBezTo>
                      <a:cubicBezTo>
                        <a:pt x="103" y="18"/>
                        <a:pt x="103" y="24"/>
                        <a:pt x="103" y="30"/>
                      </a:cubicBezTo>
                      <a:cubicBezTo>
                        <a:pt x="103" y="31"/>
                        <a:pt x="103" y="31"/>
                        <a:pt x="103" y="3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7" name="METRO ICON - price rises">
                <a:extLst>
                  <a:ext uri="{FF2B5EF4-FFF2-40B4-BE49-F238E27FC236}">
                    <a16:creationId xmlns:a16="http://schemas.microsoft.com/office/drawing/2014/main" id="{34F67DE1-A7E0-4AE0-97BF-9BEDEBA4F30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078673" y="1835358"/>
                <a:ext cx="352232" cy="312944"/>
                <a:chOff x="9727968" y="1591636"/>
                <a:chExt cx="508086" cy="451415"/>
              </a:xfrm>
              <a:solidFill>
                <a:schemeClr val="bg1"/>
              </a:solidFill>
            </p:grpSpPr>
            <p:sp>
              <p:nvSpPr>
                <p:cNvPr id="28" name="Freeform 8">
                  <a:extLst>
                    <a:ext uri="{FF2B5EF4-FFF2-40B4-BE49-F238E27FC236}">
                      <a16:creationId xmlns:a16="http://schemas.microsoft.com/office/drawing/2014/main" id="{90B88BE5-82CA-4A4E-B304-EE1DF9E403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727968" y="1591636"/>
                  <a:ext cx="508086" cy="451415"/>
                </a:xfrm>
                <a:custGeom>
                  <a:avLst/>
                  <a:gdLst>
                    <a:gd name="T0" fmla="*/ 0 w 365"/>
                    <a:gd name="T1" fmla="*/ 323 h 323"/>
                    <a:gd name="T2" fmla="*/ 0 w 365"/>
                    <a:gd name="T3" fmla="*/ 0 h 323"/>
                    <a:gd name="T4" fmla="*/ 35 w 365"/>
                    <a:gd name="T5" fmla="*/ 0 h 323"/>
                    <a:gd name="T6" fmla="*/ 35 w 365"/>
                    <a:gd name="T7" fmla="*/ 287 h 323"/>
                    <a:gd name="T8" fmla="*/ 365 w 365"/>
                    <a:gd name="T9" fmla="*/ 287 h 323"/>
                    <a:gd name="T10" fmla="*/ 365 w 365"/>
                    <a:gd name="T11" fmla="*/ 323 h 323"/>
                    <a:gd name="T12" fmla="*/ 0 w 365"/>
                    <a:gd name="T13" fmla="*/ 32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5" h="323">
                      <a:moveTo>
                        <a:pt x="0" y="323"/>
                      </a:moveTo>
                      <a:cubicBezTo>
                        <a:pt x="0" y="215"/>
                        <a:pt x="0" y="108"/>
                        <a:pt x="0" y="0"/>
                      </a:cubicBezTo>
                      <a:cubicBezTo>
                        <a:pt x="11" y="0"/>
                        <a:pt x="23" y="0"/>
                        <a:pt x="35" y="0"/>
                      </a:cubicBezTo>
                      <a:cubicBezTo>
                        <a:pt x="35" y="96"/>
                        <a:pt x="35" y="191"/>
                        <a:pt x="35" y="287"/>
                      </a:cubicBezTo>
                      <a:cubicBezTo>
                        <a:pt x="145" y="287"/>
                        <a:pt x="255" y="287"/>
                        <a:pt x="365" y="287"/>
                      </a:cubicBezTo>
                      <a:cubicBezTo>
                        <a:pt x="365" y="299"/>
                        <a:pt x="365" y="311"/>
                        <a:pt x="365" y="323"/>
                      </a:cubicBezTo>
                      <a:cubicBezTo>
                        <a:pt x="244" y="323"/>
                        <a:pt x="122" y="323"/>
                        <a:pt x="0" y="3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8">
                  <a:extLst>
                    <a:ext uri="{FF2B5EF4-FFF2-40B4-BE49-F238E27FC236}">
                      <a16:creationId xmlns:a16="http://schemas.microsoft.com/office/drawing/2014/main" id="{F051AA75-D7AF-4586-A41C-252D82BC500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829585" y="1654170"/>
                  <a:ext cx="381065" cy="287264"/>
                </a:xfrm>
                <a:custGeom>
                  <a:avLst/>
                  <a:gdLst>
                    <a:gd name="T0" fmla="*/ 95 w 274"/>
                    <a:gd name="T1" fmla="*/ 140 h 206"/>
                    <a:gd name="T2" fmla="*/ 30 w 274"/>
                    <a:gd name="T3" fmla="*/ 206 h 206"/>
                    <a:gd name="T4" fmla="*/ 0 w 274"/>
                    <a:gd name="T5" fmla="*/ 176 h 206"/>
                    <a:gd name="T6" fmla="*/ 95 w 274"/>
                    <a:gd name="T7" fmla="*/ 81 h 206"/>
                    <a:gd name="T8" fmla="*/ 131 w 274"/>
                    <a:gd name="T9" fmla="*/ 114 h 206"/>
                    <a:gd name="T10" fmla="*/ 208 w 274"/>
                    <a:gd name="T11" fmla="*/ 34 h 206"/>
                    <a:gd name="T12" fmla="*/ 189 w 274"/>
                    <a:gd name="T13" fmla="*/ 16 h 206"/>
                    <a:gd name="T14" fmla="*/ 274 w 274"/>
                    <a:gd name="T15" fmla="*/ 0 h 206"/>
                    <a:gd name="T16" fmla="*/ 259 w 274"/>
                    <a:gd name="T17" fmla="*/ 84 h 206"/>
                    <a:gd name="T18" fmla="*/ 241 w 274"/>
                    <a:gd name="T19" fmla="*/ 65 h 206"/>
                    <a:gd name="T20" fmla="*/ 131 w 274"/>
                    <a:gd name="T21" fmla="*/ 174 h 206"/>
                    <a:gd name="T22" fmla="*/ 95 w 274"/>
                    <a:gd name="T23" fmla="*/ 14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4" h="206">
                      <a:moveTo>
                        <a:pt x="95" y="140"/>
                      </a:moveTo>
                      <a:cubicBezTo>
                        <a:pt x="73" y="162"/>
                        <a:pt x="51" y="184"/>
                        <a:pt x="30" y="206"/>
                      </a:cubicBezTo>
                      <a:cubicBezTo>
                        <a:pt x="20" y="196"/>
                        <a:pt x="10" y="186"/>
                        <a:pt x="0" y="176"/>
                      </a:cubicBezTo>
                      <a:cubicBezTo>
                        <a:pt x="31" y="145"/>
                        <a:pt x="63" y="113"/>
                        <a:pt x="95" y="81"/>
                      </a:cubicBezTo>
                      <a:cubicBezTo>
                        <a:pt x="107" y="92"/>
                        <a:pt x="118" y="103"/>
                        <a:pt x="131" y="114"/>
                      </a:cubicBezTo>
                      <a:cubicBezTo>
                        <a:pt x="156" y="88"/>
                        <a:pt x="182" y="61"/>
                        <a:pt x="208" y="34"/>
                      </a:cubicBezTo>
                      <a:cubicBezTo>
                        <a:pt x="203" y="29"/>
                        <a:pt x="196" y="23"/>
                        <a:pt x="189" y="16"/>
                      </a:cubicBezTo>
                      <a:cubicBezTo>
                        <a:pt x="218" y="10"/>
                        <a:pt x="245" y="5"/>
                        <a:pt x="274" y="0"/>
                      </a:cubicBezTo>
                      <a:cubicBezTo>
                        <a:pt x="269" y="28"/>
                        <a:pt x="264" y="56"/>
                        <a:pt x="259" y="84"/>
                      </a:cubicBezTo>
                      <a:cubicBezTo>
                        <a:pt x="253" y="77"/>
                        <a:pt x="247" y="71"/>
                        <a:pt x="241" y="65"/>
                      </a:cubicBezTo>
                      <a:cubicBezTo>
                        <a:pt x="204" y="102"/>
                        <a:pt x="168" y="137"/>
                        <a:pt x="131" y="174"/>
                      </a:cubicBezTo>
                      <a:cubicBezTo>
                        <a:pt x="119" y="162"/>
                        <a:pt x="108" y="151"/>
                        <a:pt x="95" y="1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8" name="METRO ICON - calendar check">
                <a:extLst>
                  <a:ext uri="{FF2B5EF4-FFF2-40B4-BE49-F238E27FC236}">
                    <a16:creationId xmlns:a16="http://schemas.microsoft.com/office/drawing/2014/main" id="{E4A47901-885E-4CCC-9CEB-225848704780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736718" y="2844073"/>
                <a:ext cx="308486" cy="303212"/>
                <a:chOff x="11016877" y="5260371"/>
                <a:chExt cx="521996" cy="513072"/>
              </a:xfrm>
              <a:solidFill>
                <a:schemeClr val="bg1"/>
              </a:solidFill>
            </p:grpSpPr>
            <p:sp>
              <p:nvSpPr>
                <p:cNvPr id="24" name="Freeform 45">
                  <a:extLst>
                    <a:ext uri="{FF2B5EF4-FFF2-40B4-BE49-F238E27FC236}">
                      <a16:creationId xmlns:a16="http://schemas.microsoft.com/office/drawing/2014/main" id="{D02F6D82-5299-4D25-A152-5919AD7C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1016877" y="5316140"/>
                  <a:ext cx="521996" cy="457303"/>
                </a:xfrm>
                <a:custGeom>
                  <a:avLst/>
                  <a:gdLst>
                    <a:gd name="T0" fmla="*/ 0 w 328"/>
                    <a:gd name="T1" fmla="*/ 286 h 286"/>
                    <a:gd name="T2" fmla="*/ 0 w 328"/>
                    <a:gd name="T3" fmla="*/ 0 h 286"/>
                    <a:gd name="T4" fmla="*/ 35 w 328"/>
                    <a:gd name="T5" fmla="*/ 0 h 286"/>
                    <a:gd name="T6" fmla="*/ 35 w 328"/>
                    <a:gd name="T7" fmla="*/ 15 h 286"/>
                    <a:gd name="T8" fmla="*/ 75 w 328"/>
                    <a:gd name="T9" fmla="*/ 45 h 286"/>
                    <a:gd name="T10" fmla="*/ 98 w 328"/>
                    <a:gd name="T11" fmla="*/ 15 h 286"/>
                    <a:gd name="T12" fmla="*/ 98 w 328"/>
                    <a:gd name="T13" fmla="*/ 0 h 286"/>
                    <a:gd name="T14" fmla="*/ 230 w 328"/>
                    <a:gd name="T15" fmla="*/ 0 h 286"/>
                    <a:gd name="T16" fmla="*/ 230 w 328"/>
                    <a:gd name="T17" fmla="*/ 14 h 286"/>
                    <a:gd name="T18" fmla="*/ 253 w 328"/>
                    <a:gd name="T19" fmla="*/ 45 h 286"/>
                    <a:gd name="T20" fmla="*/ 294 w 328"/>
                    <a:gd name="T21" fmla="*/ 16 h 286"/>
                    <a:gd name="T22" fmla="*/ 294 w 328"/>
                    <a:gd name="T23" fmla="*/ 0 h 286"/>
                    <a:gd name="T24" fmla="*/ 328 w 328"/>
                    <a:gd name="T25" fmla="*/ 0 h 286"/>
                    <a:gd name="T26" fmla="*/ 328 w 328"/>
                    <a:gd name="T27" fmla="*/ 286 h 286"/>
                    <a:gd name="T28" fmla="*/ 0 w 328"/>
                    <a:gd name="T29" fmla="*/ 286 h 286"/>
                    <a:gd name="T30" fmla="*/ 32 w 328"/>
                    <a:gd name="T31" fmla="*/ 77 h 286"/>
                    <a:gd name="T32" fmla="*/ 32 w 328"/>
                    <a:gd name="T33" fmla="*/ 254 h 286"/>
                    <a:gd name="T34" fmla="*/ 296 w 328"/>
                    <a:gd name="T35" fmla="*/ 254 h 286"/>
                    <a:gd name="T36" fmla="*/ 296 w 328"/>
                    <a:gd name="T37" fmla="*/ 77 h 286"/>
                    <a:gd name="T38" fmla="*/ 32 w 328"/>
                    <a:gd name="T39" fmla="*/ 77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8" h="286">
                      <a:moveTo>
                        <a:pt x="0" y="286"/>
                      </a:moveTo>
                      <a:cubicBezTo>
                        <a:pt x="0" y="191"/>
                        <a:pt x="0" y="96"/>
                        <a:pt x="0" y="0"/>
                      </a:cubicBezTo>
                      <a:cubicBezTo>
                        <a:pt x="11" y="0"/>
                        <a:pt x="23" y="0"/>
                        <a:pt x="35" y="0"/>
                      </a:cubicBezTo>
                      <a:cubicBezTo>
                        <a:pt x="35" y="5"/>
                        <a:pt x="34" y="10"/>
                        <a:pt x="35" y="15"/>
                      </a:cubicBezTo>
                      <a:cubicBezTo>
                        <a:pt x="35" y="36"/>
                        <a:pt x="55" y="51"/>
                        <a:pt x="75" y="45"/>
                      </a:cubicBezTo>
                      <a:cubicBezTo>
                        <a:pt x="89" y="42"/>
                        <a:pt x="98" y="29"/>
                        <a:pt x="98" y="15"/>
                      </a:cubicBezTo>
                      <a:cubicBezTo>
                        <a:pt x="98" y="10"/>
                        <a:pt x="98" y="5"/>
                        <a:pt x="98" y="0"/>
                      </a:cubicBezTo>
                      <a:cubicBezTo>
                        <a:pt x="142" y="0"/>
                        <a:pt x="186" y="0"/>
                        <a:pt x="230" y="0"/>
                      </a:cubicBezTo>
                      <a:cubicBezTo>
                        <a:pt x="230" y="5"/>
                        <a:pt x="230" y="9"/>
                        <a:pt x="230" y="14"/>
                      </a:cubicBezTo>
                      <a:cubicBezTo>
                        <a:pt x="231" y="29"/>
                        <a:pt x="240" y="41"/>
                        <a:pt x="253" y="45"/>
                      </a:cubicBezTo>
                      <a:cubicBezTo>
                        <a:pt x="273" y="51"/>
                        <a:pt x="293" y="37"/>
                        <a:pt x="294" y="16"/>
                      </a:cubicBezTo>
                      <a:cubicBezTo>
                        <a:pt x="294" y="11"/>
                        <a:pt x="294" y="6"/>
                        <a:pt x="294" y="0"/>
                      </a:cubicBezTo>
                      <a:cubicBezTo>
                        <a:pt x="306" y="0"/>
                        <a:pt x="317" y="0"/>
                        <a:pt x="328" y="0"/>
                      </a:cubicBezTo>
                      <a:cubicBezTo>
                        <a:pt x="328" y="95"/>
                        <a:pt x="328" y="190"/>
                        <a:pt x="328" y="286"/>
                      </a:cubicBezTo>
                      <a:cubicBezTo>
                        <a:pt x="219" y="286"/>
                        <a:pt x="109" y="286"/>
                        <a:pt x="0" y="286"/>
                      </a:cubicBezTo>
                      <a:close/>
                      <a:moveTo>
                        <a:pt x="32" y="77"/>
                      </a:moveTo>
                      <a:cubicBezTo>
                        <a:pt x="32" y="136"/>
                        <a:pt x="32" y="195"/>
                        <a:pt x="32" y="254"/>
                      </a:cubicBezTo>
                      <a:cubicBezTo>
                        <a:pt x="120" y="254"/>
                        <a:pt x="208" y="254"/>
                        <a:pt x="296" y="254"/>
                      </a:cubicBezTo>
                      <a:cubicBezTo>
                        <a:pt x="296" y="195"/>
                        <a:pt x="296" y="136"/>
                        <a:pt x="296" y="77"/>
                      </a:cubicBezTo>
                      <a:cubicBezTo>
                        <a:pt x="208" y="77"/>
                        <a:pt x="120" y="77"/>
                        <a:pt x="32" y="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45">
                  <a:extLst>
                    <a:ext uri="{FF2B5EF4-FFF2-40B4-BE49-F238E27FC236}">
                      <a16:creationId xmlns:a16="http://schemas.microsoft.com/office/drawing/2014/main" id="{48493995-F869-41DD-9D71-D22DF2360F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411721" y="5260371"/>
                  <a:ext cx="46846" cy="104845"/>
                </a:xfrm>
                <a:custGeom>
                  <a:avLst/>
                  <a:gdLst>
                    <a:gd name="T0" fmla="*/ 29 w 29"/>
                    <a:gd name="T1" fmla="*/ 33 h 66"/>
                    <a:gd name="T2" fmla="*/ 29 w 29"/>
                    <a:gd name="T3" fmla="*/ 50 h 66"/>
                    <a:gd name="T4" fmla="*/ 14 w 29"/>
                    <a:gd name="T5" fmla="*/ 66 h 66"/>
                    <a:gd name="T6" fmla="*/ 0 w 29"/>
                    <a:gd name="T7" fmla="*/ 50 h 66"/>
                    <a:gd name="T8" fmla="*/ 0 w 29"/>
                    <a:gd name="T9" fmla="*/ 16 h 66"/>
                    <a:gd name="T10" fmla="*/ 14 w 29"/>
                    <a:gd name="T11" fmla="*/ 0 h 66"/>
                    <a:gd name="T12" fmla="*/ 29 w 29"/>
                    <a:gd name="T13" fmla="*/ 16 h 66"/>
                    <a:gd name="T14" fmla="*/ 29 w 29"/>
                    <a:gd name="T15" fmla="*/ 33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66">
                      <a:moveTo>
                        <a:pt x="29" y="33"/>
                      </a:moveTo>
                      <a:cubicBezTo>
                        <a:pt x="29" y="39"/>
                        <a:pt x="29" y="45"/>
                        <a:pt x="29" y="50"/>
                      </a:cubicBezTo>
                      <a:cubicBezTo>
                        <a:pt x="29" y="59"/>
                        <a:pt x="23" y="65"/>
                        <a:pt x="14" y="66"/>
                      </a:cubicBezTo>
                      <a:cubicBezTo>
                        <a:pt x="6" y="66"/>
                        <a:pt x="0" y="60"/>
                        <a:pt x="0" y="50"/>
                      </a:cubicBezTo>
                      <a:cubicBezTo>
                        <a:pt x="0" y="39"/>
                        <a:pt x="0" y="27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2" y="0"/>
                        <a:pt x="29" y="7"/>
                        <a:pt x="29" y="16"/>
                      </a:cubicBezTo>
                      <a:cubicBezTo>
                        <a:pt x="29" y="22"/>
                        <a:pt x="29" y="28"/>
                        <a:pt x="29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45">
                  <a:extLst>
                    <a:ext uri="{FF2B5EF4-FFF2-40B4-BE49-F238E27FC236}">
                      <a16:creationId xmlns:a16="http://schemas.microsoft.com/office/drawing/2014/main" id="{0AD2D282-0B2C-432B-BA90-2E6F8D9516F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99416" y="5260371"/>
                  <a:ext cx="46846" cy="104845"/>
                </a:xfrm>
                <a:custGeom>
                  <a:avLst/>
                  <a:gdLst>
                    <a:gd name="T0" fmla="*/ 29 w 29"/>
                    <a:gd name="T1" fmla="*/ 33 h 66"/>
                    <a:gd name="T2" fmla="*/ 29 w 29"/>
                    <a:gd name="T3" fmla="*/ 51 h 66"/>
                    <a:gd name="T4" fmla="*/ 14 w 29"/>
                    <a:gd name="T5" fmla="*/ 66 h 66"/>
                    <a:gd name="T6" fmla="*/ 0 w 29"/>
                    <a:gd name="T7" fmla="*/ 51 h 66"/>
                    <a:gd name="T8" fmla="*/ 0 w 29"/>
                    <a:gd name="T9" fmla="*/ 15 h 66"/>
                    <a:gd name="T10" fmla="*/ 14 w 29"/>
                    <a:gd name="T11" fmla="*/ 0 h 66"/>
                    <a:gd name="T12" fmla="*/ 29 w 29"/>
                    <a:gd name="T13" fmla="*/ 15 h 66"/>
                    <a:gd name="T14" fmla="*/ 29 w 29"/>
                    <a:gd name="T15" fmla="*/ 33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66">
                      <a:moveTo>
                        <a:pt x="29" y="33"/>
                      </a:moveTo>
                      <a:cubicBezTo>
                        <a:pt x="29" y="39"/>
                        <a:pt x="29" y="45"/>
                        <a:pt x="29" y="51"/>
                      </a:cubicBezTo>
                      <a:cubicBezTo>
                        <a:pt x="29" y="59"/>
                        <a:pt x="23" y="66"/>
                        <a:pt x="14" y="66"/>
                      </a:cubicBezTo>
                      <a:cubicBezTo>
                        <a:pt x="6" y="66"/>
                        <a:pt x="0" y="59"/>
                        <a:pt x="0" y="51"/>
                      </a:cubicBezTo>
                      <a:cubicBezTo>
                        <a:pt x="0" y="39"/>
                        <a:pt x="0" y="27"/>
                        <a:pt x="0" y="15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2" y="0"/>
                        <a:pt x="29" y="6"/>
                        <a:pt x="29" y="15"/>
                      </a:cubicBezTo>
                      <a:cubicBezTo>
                        <a:pt x="29" y="21"/>
                        <a:pt x="29" y="27"/>
                        <a:pt x="29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45">
                  <a:extLst>
                    <a:ext uri="{FF2B5EF4-FFF2-40B4-BE49-F238E27FC236}">
                      <a16:creationId xmlns:a16="http://schemas.microsoft.com/office/drawing/2014/main" id="{548C8967-2066-494F-B0E0-A61EAEE453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64107" y="5478984"/>
                  <a:ext cx="236460" cy="202998"/>
                </a:xfrm>
                <a:custGeom>
                  <a:avLst/>
                  <a:gdLst>
                    <a:gd name="T0" fmla="*/ 60 w 149"/>
                    <a:gd name="T1" fmla="*/ 128 h 128"/>
                    <a:gd name="T2" fmla="*/ 0 w 149"/>
                    <a:gd name="T3" fmla="*/ 64 h 128"/>
                    <a:gd name="T4" fmla="*/ 11 w 149"/>
                    <a:gd name="T5" fmla="*/ 54 h 128"/>
                    <a:gd name="T6" fmla="*/ 15 w 149"/>
                    <a:gd name="T7" fmla="*/ 55 h 128"/>
                    <a:gd name="T8" fmla="*/ 47 w 149"/>
                    <a:gd name="T9" fmla="*/ 74 h 128"/>
                    <a:gd name="T10" fmla="*/ 54 w 149"/>
                    <a:gd name="T11" fmla="*/ 78 h 128"/>
                    <a:gd name="T12" fmla="*/ 145 w 149"/>
                    <a:gd name="T13" fmla="*/ 0 h 128"/>
                    <a:gd name="T14" fmla="*/ 146 w 149"/>
                    <a:gd name="T15" fmla="*/ 2 h 128"/>
                    <a:gd name="T16" fmla="*/ 149 w 149"/>
                    <a:gd name="T17" fmla="*/ 9 h 128"/>
                    <a:gd name="T18" fmla="*/ 60 w 149"/>
                    <a:gd name="T19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9" h="128">
                      <a:moveTo>
                        <a:pt x="60" y="128"/>
                      </a:moveTo>
                      <a:cubicBezTo>
                        <a:pt x="40" y="107"/>
                        <a:pt x="21" y="86"/>
                        <a:pt x="0" y="64"/>
                      </a:cubicBezTo>
                      <a:cubicBezTo>
                        <a:pt x="4" y="61"/>
                        <a:pt x="7" y="58"/>
                        <a:pt x="11" y="54"/>
                      </a:cubicBezTo>
                      <a:cubicBezTo>
                        <a:pt x="12" y="54"/>
                        <a:pt x="14" y="54"/>
                        <a:pt x="15" y="55"/>
                      </a:cubicBezTo>
                      <a:cubicBezTo>
                        <a:pt x="26" y="61"/>
                        <a:pt x="37" y="67"/>
                        <a:pt x="47" y="74"/>
                      </a:cubicBezTo>
                      <a:cubicBezTo>
                        <a:pt x="49" y="75"/>
                        <a:pt x="51" y="76"/>
                        <a:pt x="54" y="78"/>
                      </a:cubicBezTo>
                      <a:cubicBezTo>
                        <a:pt x="80" y="47"/>
                        <a:pt x="110" y="21"/>
                        <a:pt x="145" y="0"/>
                      </a:cubicBezTo>
                      <a:cubicBezTo>
                        <a:pt x="145" y="1"/>
                        <a:pt x="146" y="1"/>
                        <a:pt x="146" y="2"/>
                      </a:cubicBezTo>
                      <a:cubicBezTo>
                        <a:pt x="147" y="5"/>
                        <a:pt x="148" y="7"/>
                        <a:pt x="149" y="9"/>
                      </a:cubicBezTo>
                      <a:cubicBezTo>
                        <a:pt x="110" y="42"/>
                        <a:pt x="85" y="85"/>
                        <a:pt x="60" y="12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9" name="METRO ICON - piggy bank">
                <a:extLst>
                  <a:ext uri="{FF2B5EF4-FFF2-40B4-BE49-F238E27FC236}">
                    <a16:creationId xmlns:a16="http://schemas.microsoft.com/office/drawing/2014/main" id="{972CC61E-B653-4C45-84F3-4B3AA1C0402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6050200" y="2813762"/>
                <a:ext cx="364518" cy="330344"/>
              </a:xfrm>
              <a:custGeom>
                <a:avLst/>
                <a:gdLst>
                  <a:gd name="T0" fmla="*/ 64 w 170"/>
                  <a:gd name="T1" fmla="*/ 52 h 154"/>
                  <a:gd name="T2" fmla="*/ 51 w 170"/>
                  <a:gd name="T3" fmla="*/ 65 h 154"/>
                  <a:gd name="T4" fmla="*/ 41 w 170"/>
                  <a:gd name="T5" fmla="*/ 60 h 154"/>
                  <a:gd name="T6" fmla="*/ 44 w 170"/>
                  <a:gd name="T7" fmla="*/ 61 h 154"/>
                  <a:gd name="T8" fmla="*/ 52 w 170"/>
                  <a:gd name="T9" fmla="*/ 52 h 154"/>
                  <a:gd name="T10" fmla="*/ 44 w 170"/>
                  <a:gd name="T11" fmla="*/ 44 h 154"/>
                  <a:gd name="T12" fmla="*/ 41 w 170"/>
                  <a:gd name="T13" fmla="*/ 44 h 154"/>
                  <a:gd name="T14" fmla="*/ 51 w 170"/>
                  <a:gd name="T15" fmla="*/ 39 h 154"/>
                  <a:gd name="T16" fmla="*/ 64 w 170"/>
                  <a:gd name="T17" fmla="*/ 52 h 154"/>
                  <a:gd name="T18" fmla="*/ 61 w 170"/>
                  <a:gd name="T19" fmla="*/ 12 h 154"/>
                  <a:gd name="T20" fmla="*/ 92 w 170"/>
                  <a:gd name="T21" fmla="*/ 7 h 154"/>
                  <a:gd name="T22" fmla="*/ 170 w 170"/>
                  <a:gd name="T23" fmla="*/ 75 h 154"/>
                  <a:gd name="T24" fmla="*/ 145 w 170"/>
                  <a:gd name="T25" fmla="*/ 125 h 154"/>
                  <a:gd name="T26" fmla="*/ 138 w 170"/>
                  <a:gd name="T27" fmla="*/ 152 h 154"/>
                  <a:gd name="T28" fmla="*/ 135 w 170"/>
                  <a:gd name="T29" fmla="*/ 154 h 154"/>
                  <a:gd name="T30" fmla="*/ 122 w 170"/>
                  <a:gd name="T31" fmla="*/ 154 h 154"/>
                  <a:gd name="T32" fmla="*/ 120 w 170"/>
                  <a:gd name="T33" fmla="*/ 152 h 154"/>
                  <a:gd name="T34" fmla="*/ 117 w 170"/>
                  <a:gd name="T35" fmla="*/ 139 h 154"/>
                  <a:gd name="T36" fmla="*/ 92 w 170"/>
                  <a:gd name="T37" fmla="*/ 143 h 154"/>
                  <a:gd name="T38" fmla="*/ 67 w 170"/>
                  <a:gd name="T39" fmla="*/ 139 h 154"/>
                  <a:gd name="T40" fmla="*/ 64 w 170"/>
                  <a:gd name="T41" fmla="*/ 152 h 154"/>
                  <a:gd name="T42" fmla="*/ 61 w 170"/>
                  <a:gd name="T43" fmla="*/ 154 h 154"/>
                  <a:gd name="T44" fmla="*/ 49 w 170"/>
                  <a:gd name="T45" fmla="*/ 154 h 154"/>
                  <a:gd name="T46" fmla="*/ 46 w 170"/>
                  <a:gd name="T47" fmla="*/ 152 h 154"/>
                  <a:gd name="T48" fmla="*/ 39 w 170"/>
                  <a:gd name="T49" fmla="*/ 125 h 154"/>
                  <a:gd name="T50" fmla="*/ 21 w 170"/>
                  <a:gd name="T51" fmla="*/ 103 h 154"/>
                  <a:gd name="T52" fmla="*/ 11 w 170"/>
                  <a:gd name="T53" fmla="*/ 97 h 154"/>
                  <a:gd name="T54" fmla="*/ 8 w 170"/>
                  <a:gd name="T55" fmla="*/ 97 h 154"/>
                  <a:gd name="T56" fmla="*/ 0 w 170"/>
                  <a:gd name="T57" fmla="*/ 89 h 154"/>
                  <a:gd name="T58" fmla="*/ 0 w 170"/>
                  <a:gd name="T59" fmla="*/ 61 h 154"/>
                  <a:gd name="T60" fmla="*/ 8 w 170"/>
                  <a:gd name="T61" fmla="*/ 52 h 154"/>
                  <a:gd name="T62" fmla="*/ 11 w 170"/>
                  <a:gd name="T63" fmla="*/ 52 h 154"/>
                  <a:gd name="T64" fmla="*/ 21 w 170"/>
                  <a:gd name="T65" fmla="*/ 46 h 154"/>
                  <a:gd name="T66" fmla="*/ 37 w 170"/>
                  <a:gd name="T67" fmla="*/ 26 h 154"/>
                  <a:gd name="T68" fmla="*/ 32 w 170"/>
                  <a:gd name="T69" fmla="*/ 5 h 154"/>
                  <a:gd name="T70" fmla="*/ 32 w 170"/>
                  <a:gd name="T71" fmla="*/ 3 h 154"/>
                  <a:gd name="T72" fmla="*/ 34 w 170"/>
                  <a:gd name="T73" fmla="*/ 1 h 154"/>
                  <a:gd name="T74" fmla="*/ 61 w 170"/>
                  <a:gd name="T75" fmla="*/ 12 h 154"/>
                  <a:gd name="T76" fmla="*/ 110 w 170"/>
                  <a:gd name="T77" fmla="*/ 23 h 154"/>
                  <a:gd name="T78" fmla="*/ 92 w 170"/>
                  <a:gd name="T79" fmla="*/ 21 h 154"/>
                  <a:gd name="T80" fmla="*/ 74 w 170"/>
                  <a:gd name="T81" fmla="*/ 23 h 154"/>
                  <a:gd name="T82" fmla="*/ 72 w 170"/>
                  <a:gd name="T83" fmla="*/ 26 h 154"/>
                  <a:gd name="T84" fmla="*/ 72 w 170"/>
                  <a:gd name="T85" fmla="*/ 29 h 154"/>
                  <a:gd name="T86" fmla="*/ 73 w 170"/>
                  <a:gd name="T87" fmla="*/ 31 h 154"/>
                  <a:gd name="T88" fmla="*/ 76 w 170"/>
                  <a:gd name="T89" fmla="*/ 31 h 154"/>
                  <a:gd name="T90" fmla="*/ 92 w 170"/>
                  <a:gd name="T91" fmla="*/ 29 h 154"/>
                  <a:gd name="T92" fmla="*/ 108 w 170"/>
                  <a:gd name="T93" fmla="*/ 31 h 154"/>
                  <a:gd name="T94" fmla="*/ 111 w 170"/>
                  <a:gd name="T95" fmla="*/ 31 h 154"/>
                  <a:gd name="T96" fmla="*/ 112 w 170"/>
                  <a:gd name="T97" fmla="*/ 29 h 154"/>
                  <a:gd name="T98" fmla="*/ 112 w 170"/>
                  <a:gd name="T99" fmla="*/ 26 h 154"/>
                  <a:gd name="T100" fmla="*/ 110 w 170"/>
                  <a:gd name="T101" fmla="*/ 2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4">
                    <a:moveTo>
                      <a:pt x="64" y="52"/>
                    </a:moveTo>
                    <a:cubicBezTo>
                      <a:pt x="64" y="59"/>
                      <a:pt x="58" y="65"/>
                      <a:pt x="51" y="65"/>
                    </a:cubicBezTo>
                    <a:cubicBezTo>
                      <a:pt x="47" y="65"/>
                      <a:pt x="43" y="63"/>
                      <a:pt x="41" y="60"/>
                    </a:cubicBezTo>
                    <a:cubicBezTo>
                      <a:pt x="42" y="60"/>
                      <a:pt x="43" y="61"/>
                      <a:pt x="44" y="61"/>
                    </a:cubicBezTo>
                    <a:cubicBezTo>
                      <a:pt x="48" y="61"/>
                      <a:pt x="52" y="57"/>
                      <a:pt x="52" y="52"/>
                    </a:cubicBezTo>
                    <a:cubicBezTo>
                      <a:pt x="52" y="47"/>
                      <a:pt x="48" y="44"/>
                      <a:pt x="44" y="44"/>
                    </a:cubicBezTo>
                    <a:cubicBezTo>
                      <a:pt x="43" y="44"/>
                      <a:pt x="42" y="44"/>
                      <a:pt x="41" y="44"/>
                    </a:cubicBezTo>
                    <a:cubicBezTo>
                      <a:pt x="43" y="41"/>
                      <a:pt x="47" y="39"/>
                      <a:pt x="51" y="39"/>
                    </a:cubicBezTo>
                    <a:cubicBezTo>
                      <a:pt x="58" y="39"/>
                      <a:pt x="64" y="45"/>
                      <a:pt x="64" y="52"/>
                    </a:cubicBezTo>
                    <a:close/>
                    <a:moveTo>
                      <a:pt x="61" y="12"/>
                    </a:moveTo>
                    <a:cubicBezTo>
                      <a:pt x="70" y="9"/>
                      <a:pt x="81" y="7"/>
                      <a:pt x="92" y="7"/>
                    </a:cubicBezTo>
                    <a:cubicBezTo>
                      <a:pt x="135" y="7"/>
                      <a:pt x="170" y="37"/>
                      <a:pt x="170" y="75"/>
                    </a:cubicBezTo>
                    <a:cubicBezTo>
                      <a:pt x="170" y="95"/>
                      <a:pt x="160" y="112"/>
                      <a:pt x="145" y="125"/>
                    </a:cubicBezTo>
                    <a:cubicBezTo>
                      <a:pt x="138" y="152"/>
                      <a:pt x="138" y="152"/>
                      <a:pt x="138" y="152"/>
                    </a:cubicBezTo>
                    <a:cubicBezTo>
                      <a:pt x="138" y="153"/>
                      <a:pt x="136" y="154"/>
                      <a:pt x="135" y="154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1" y="154"/>
                      <a:pt x="120" y="153"/>
                      <a:pt x="120" y="152"/>
                    </a:cubicBezTo>
                    <a:cubicBezTo>
                      <a:pt x="117" y="139"/>
                      <a:pt x="117" y="139"/>
                      <a:pt x="117" y="139"/>
                    </a:cubicBezTo>
                    <a:cubicBezTo>
                      <a:pt x="109" y="142"/>
                      <a:pt x="101" y="143"/>
                      <a:pt x="92" y="143"/>
                    </a:cubicBezTo>
                    <a:cubicBezTo>
                      <a:pt x="83" y="143"/>
                      <a:pt x="75" y="142"/>
                      <a:pt x="67" y="139"/>
                    </a:cubicBezTo>
                    <a:cubicBezTo>
                      <a:pt x="64" y="152"/>
                      <a:pt x="64" y="152"/>
                      <a:pt x="64" y="152"/>
                    </a:cubicBezTo>
                    <a:cubicBezTo>
                      <a:pt x="64" y="153"/>
                      <a:pt x="63" y="154"/>
                      <a:pt x="61" y="154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7" y="154"/>
                      <a:pt x="46" y="153"/>
                      <a:pt x="46" y="152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32" y="119"/>
                      <a:pt x="26" y="112"/>
                      <a:pt x="21" y="103"/>
                    </a:cubicBezTo>
                    <a:cubicBezTo>
                      <a:pt x="19" y="100"/>
                      <a:pt x="16" y="97"/>
                      <a:pt x="11" y="97"/>
                    </a:cubicBezTo>
                    <a:cubicBezTo>
                      <a:pt x="8" y="97"/>
                      <a:pt x="8" y="97"/>
                      <a:pt x="8" y="97"/>
                    </a:cubicBezTo>
                    <a:cubicBezTo>
                      <a:pt x="4" y="97"/>
                      <a:pt x="0" y="94"/>
                      <a:pt x="0" y="8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56"/>
                      <a:pt x="4" y="52"/>
                      <a:pt x="8" y="52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6" y="52"/>
                      <a:pt x="19" y="50"/>
                      <a:pt x="21" y="46"/>
                    </a:cubicBezTo>
                    <a:cubicBezTo>
                      <a:pt x="25" y="39"/>
                      <a:pt x="31" y="32"/>
                      <a:pt x="37" y="26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4"/>
                      <a:pt x="31" y="3"/>
                      <a:pt x="32" y="3"/>
                    </a:cubicBezTo>
                    <a:cubicBezTo>
                      <a:pt x="32" y="2"/>
                      <a:pt x="33" y="1"/>
                      <a:pt x="34" y="1"/>
                    </a:cubicBezTo>
                    <a:cubicBezTo>
                      <a:pt x="44" y="0"/>
                      <a:pt x="55" y="4"/>
                      <a:pt x="61" y="12"/>
                    </a:cubicBezTo>
                    <a:close/>
                    <a:moveTo>
                      <a:pt x="110" y="23"/>
                    </a:moveTo>
                    <a:cubicBezTo>
                      <a:pt x="104" y="22"/>
                      <a:pt x="98" y="21"/>
                      <a:pt x="92" y="21"/>
                    </a:cubicBezTo>
                    <a:cubicBezTo>
                      <a:pt x="86" y="21"/>
                      <a:pt x="80" y="22"/>
                      <a:pt x="74" y="23"/>
                    </a:cubicBezTo>
                    <a:cubicBezTo>
                      <a:pt x="73" y="23"/>
                      <a:pt x="72" y="24"/>
                      <a:pt x="72" y="26"/>
                    </a:cubicBezTo>
                    <a:cubicBezTo>
                      <a:pt x="72" y="29"/>
                      <a:pt x="72" y="29"/>
                      <a:pt x="72" y="29"/>
                    </a:cubicBezTo>
                    <a:cubicBezTo>
                      <a:pt x="72" y="30"/>
                      <a:pt x="72" y="30"/>
                      <a:pt x="73" y="31"/>
                    </a:cubicBezTo>
                    <a:cubicBezTo>
                      <a:pt x="74" y="31"/>
                      <a:pt x="75" y="32"/>
                      <a:pt x="76" y="31"/>
                    </a:cubicBezTo>
                    <a:cubicBezTo>
                      <a:pt x="81" y="30"/>
                      <a:pt x="87" y="29"/>
                      <a:pt x="92" y="29"/>
                    </a:cubicBezTo>
                    <a:cubicBezTo>
                      <a:pt x="97" y="29"/>
                      <a:pt x="103" y="30"/>
                      <a:pt x="108" y="31"/>
                    </a:cubicBezTo>
                    <a:cubicBezTo>
                      <a:pt x="109" y="32"/>
                      <a:pt x="110" y="31"/>
                      <a:pt x="111" y="31"/>
                    </a:cubicBezTo>
                    <a:cubicBezTo>
                      <a:pt x="111" y="30"/>
                      <a:pt x="112" y="30"/>
                      <a:pt x="112" y="29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24"/>
                      <a:pt x="111" y="23"/>
                      <a:pt x="110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0" name="METRO ICON - basket">
                <a:extLst>
                  <a:ext uri="{FF2B5EF4-FFF2-40B4-BE49-F238E27FC236}">
                    <a16:creationId xmlns:a16="http://schemas.microsoft.com/office/drawing/2014/main" id="{52DF79BD-77A8-4CF9-98E6-47805C168E6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043178" y="5084891"/>
                <a:ext cx="442542" cy="354708"/>
                <a:chOff x="9148854" y="-448526"/>
                <a:chExt cx="584457" cy="468457"/>
              </a:xfrm>
              <a:solidFill>
                <a:schemeClr val="bg1"/>
              </a:solidFill>
            </p:grpSpPr>
            <p:sp>
              <p:nvSpPr>
                <p:cNvPr id="22" name="Freeform 14">
                  <a:extLst>
                    <a:ext uri="{FF2B5EF4-FFF2-40B4-BE49-F238E27FC236}">
                      <a16:creationId xmlns:a16="http://schemas.microsoft.com/office/drawing/2014/main" id="{A2EC848A-5C42-4228-86B8-AD1095B7C8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148854" y="-272297"/>
                  <a:ext cx="584457" cy="292228"/>
                </a:xfrm>
                <a:custGeom>
                  <a:avLst/>
                  <a:gdLst>
                    <a:gd name="T0" fmla="*/ 0 w 366"/>
                    <a:gd name="T1" fmla="*/ 35 h 183"/>
                    <a:gd name="T2" fmla="*/ 0 w 366"/>
                    <a:gd name="T3" fmla="*/ 0 h 183"/>
                    <a:gd name="T4" fmla="*/ 5 w 366"/>
                    <a:gd name="T5" fmla="*/ 0 h 183"/>
                    <a:gd name="T6" fmla="*/ 136 w 366"/>
                    <a:gd name="T7" fmla="*/ 0 h 183"/>
                    <a:gd name="T8" fmla="*/ 142 w 366"/>
                    <a:gd name="T9" fmla="*/ 4 h 183"/>
                    <a:gd name="T10" fmla="*/ 221 w 366"/>
                    <a:gd name="T11" fmla="*/ 12 h 183"/>
                    <a:gd name="T12" fmla="*/ 226 w 366"/>
                    <a:gd name="T13" fmla="*/ 5 h 183"/>
                    <a:gd name="T14" fmla="*/ 235 w 366"/>
                    <a:gd name="T15" fmla="*/ 0 h 183"/>
                    <a:gd name="T16" fmla="*/ 360 w 366"/>
                    <a:gd name="T17" fmla="*/ 0 h 183"/>
                    <a:gd name="T18" fmla="*/ 366 w 366"/>
                    <a:gd name="T19" fmla="*/ 0 h 183"/>
                    <a:gd name="T20" fmla="*/ 366 w 366"/>
                    <a:gd name="T21" fmla="*/ 35 h 183"/>
                    <a:gd name="T22" fmla="*/ 358 w 366"/>
                    <a:gd name="T23" fmla="*/ 35 h 183"/>
                    <a:gd name="T24" fmla="*/ 336 w 366"/>
                    <a:gd name="T25" fmla="*/ 49 h 183"/>
                    <a:gd name="T26" fmla="*/ 274 w 366"/>
                    <a:gd name="T27" fmla="*/ 178 h 183"/>
                    <a:gd name="T28" fmla="*/ 265 w 366"/>
                    <a:gd name="T29" fmla="*/ 183 h 183"/>
                    <a:gd name="T30" fmla="*/ 100 w 366"/>
                    <a:gd name="T31" fmla="*/ 183 h 183"/>
                    <a:gd name="T32" fmla="*/ 93 w 366"/>
                    <a:gd name="T33" fmla="*/ 179 h 183"/>
                    <a:gd name="T34" fmla="*/ 31 w 366"/>
                    <a:gd name="T35" fmla="*/ 51 h 183"/>
                    <a:gd name="T36" fmla="*/ 6 w 366"/>
                    <a:gd name="T37" fmla="*/ 35 h 183"/>
                    <a:gd name="T38" fmla="*/ 0 w 366"/>
                    <a:gd name="T39" fmla="*/ 35 h 183"/>
                    <a:gd name="T40" fmla="*/ 222 w 366"/>
                    <a:gd name="T41" fmla="*/ 102 h 183"/>
                    <a:gd name="T42" fmla="*/ 222 w 366"/>
                    <a:gd name="T43" fmla="*/ 132 h 183"/>
                    <a:gd name="T44" fmla="*/ 227 w 366"/>
                    <a:gd name="T45" fmla="*/ 143 h 183"/>
                    <a:gd name="T46" fmla="*/ 239 w 366"/>
                    <a:gd name="T47" fmla="*/ 143 h 183"/>
                    <a:gd name="T48" fmla="*/ 245 w 366"/>
                    <a:gd name="T49" fmla="*/ 132 h 183"/>
                    <a:gd name="T50" fmla="*/ 245 w 366"/>
                    <a:gd name="T51" fmla="*/ 73 h 183"/>
                    <a:gd name="T52" fmla="*/ 245 w 366"/>
                    <a:gd name="T53" fmla="*/ 70 h 183"/>
                    <a:gd name="T54" fmla="*/ 233 w 366"/>
                    <a:gd name="T55" fmla="*/ 59 h 183"/>
                    <a:gd name="T56" fmla="*/ 222 w 366"/>
                    <a:gd name="T57" fmla="*/ 71 h 183"/>
                    <a:gd name="T58" fmla="*/ 222 w 366"/>
                    <a:gd name="T59" fmla="*/ 74 h 183"/>
                    <a:gd name="T60" fmla="*/ 222 w 366"/>
                    <a:gd name="T61" fmla="*/ 102 h 183"/>
                    <a:gd name="T62" fmla="*/ 123 w 366"/>
                    <a:gd name="T63" fmla="*/ 102 h 183"/>
                    <a:gd name="T64" fmla="*/ 123 w 366"/>
                    <a:gd name="T65" fmla="*/ 102 h 183"/>
                    <a:gd name="T66" fmla="*/ 123 w 366"/>
                    <a:gd name="T67" fmla="*/ 134 h 183"/>
                    <a:gd name="T68" fmla="*/ 133 w 366"/>
                    <a:gd name="T69" fmla="*/ 145 h 183"/>
                    <a:gd name="T70" fmla="*/ 145 w 366"/>
                    <a:gd name="T71" fmla="*/ 135 h 183"/>
                    <a:gd name="T72" fmla="*/ 145 w 366"/>
                    <a:gd name="T73" fmla="*/ 130 h 183"/>
                    <a:gd name="T74" fmla="*/ 145 w 366"/>
                    <a:gd name="T75" fmla="*/ 74 h 183"/>
                    <a:gd name="T76" fmla="*/ 144 w 366"/>
                    <a:gd name="T77" fmla="*/ 66 h 183"/>
                    <a:gd name="T78" fmla="*/ 132 w 366"/>
                    <a:gd name="T79" fmla="*/ 59 h 183"/>
                    <a:gd name="T80" fmla="*/ 123 w 366"/>
                    <a:gd name="T81" fmla="*/ 70 h 183"/>
                    <a:gd name="T82" fmla="*/ 123 w 366"/>
                    <a:gd name="T83" fmla="*/ 102 h 183"/>
                    <a:gd name="T84" fmla="*/ 195 w 366"/>
                    <a:gd name="T85" fmla="*/ 102 h 183"/>
                    <a:gd name="T86" fmla="*/ 195 w 366"/>
                    <a:gd name="T87" fmla="*/ 102 h 183"/>
                    <a:gd name="T88" fmla="*/ 195 w 366"/>
                    <a:gd name="T89" fmla="*/ 71 h 183"/>
                    <a:gd name="T90" fmla="*/ 182 w 366"/>
                    <a:gd name="T91" fmla="*/ 59 h 183"/>
                    <a:gd name="T92" fmla="*/ 173 w 366"/>
                    <a:gd name="T93" fmla="*/ 72 h 183"/>
                    <a:gd name="T94" fmla="*/ 173 w 366"/>
                    <a:gd name="T95" fmla="*/ 132 h 183"/>
                    <a:gd name="T96" fmla="*/ 173 w 366"/>
                    <a:gd name="T97" fmla="*/ 136 h 183"/>
                    <a:gd name="T98" fmla="*/ 183 w 366"/>
                    <a:gd name="T99" fmla="*/ 145 h 183"/>
                    <a:gd name="T100" fmla="*/ 194 w 366"/>
                    <a:gd name="T101" fmla="*/ 136 h 183"/>
                    <a:gd name="T102" fmla="*/ 195 w 366"/>
                    <a:gd name="T103" fmla="*/ 130 h 183"/>
                    <a:gd name="T104" fmla="*/ 195 w 366"/>
                    <a:gd name="T105" fmla="*/ 102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66" h="183">
                      <a:moveTo>
                        <a:pt x="0" y="35"/>
                      </a:moveTo>
                      <a:cubicBezTo>
                        <a:pt x="0" y="23"/>
                        <a:pt x="0" y="12"/>
                        <a:pt x="0" y="0"/>
                      </a:cubicBezTo>
                      <a:cubicBezTo>
                        <a:pt x="2" y="0"/>
                        <a:pt x="3" y="0"/>
                        <a:pt x="5" y="0"/>
                      </a:cubicBezTo>
                      <a:cubicBezTo>
                        <a:pt x="48" y="0"/>
                        <a:pt x="92" y="0"/>
                        <a:pt x="136" y="0"/>
                      </a:cubicBezTo>
                      <a:cubicBezTo>
                        <a:pt x="139" y="0"/>
                        <a:pt x="141" y="1"/>
                        <a:pt x="142" y="4"/>
                      </a:cubicBezTo>
                      <a:cubicBezTo>
                        <a:pt x="156" y="36"/>
                        <a:pt x="200" y="40"/>
                        <a:pt x="221" y="12"/>
                      </a:cubicBezTo>
                      <a:cubicBezTo>
                        <a:pt x="223" y="10"/>
                        <a:pt x="225" y="8"/>
                        <a:pt x="226" y="5"/>
                      </a:cubicBezTo>
                      <a:cubicBezTo>
                        <a:pt x="228" y="1"/>
                        <a:pt x="231" y="0"/>
                        <a:pt x="235" y="0"/>
                      </a:cubicBezTo>
                      <a:cubicBezTo>
                        <a:pt x="277" y="0"/>
                        <a:pt x="318" y="0"/>
                        <a:pt x="360" y="0"/>
                      </a:cubicBezTo>
                      <a:cubicBezTo>
                        <a:pt x="362" y="0"/>
                        <a:pt x="363" y="0"/>
                        <a:pt x="366" y="0"/>
                      </a:cubicBezTo>
                      <a:cubicBezTo>
                        <a:pt x="366" y="12"/>
                        <a:pt x="366" y="23"/>
                        <a:pt x="366" y="35"/>
                      </a:cubicBezTo>
                      <a:cubicBezTo>
                        <a:pt x="363" y="35"/>
                        <a:pt x="361" y="35"/>
                        <a:pt x="358" y="35"/>
                      </a:cubicBezTo>
                      <a:cubicBezTo>
                        <a:pt x="348" y="35"/>
                        <a:pt x="341" y="40"/>
                        <a:pt x="336" y="49"/>
                      </a:cubicBezTo>
                      <a:cubicBezTo>
                        <a:pt x="315" y="92"/>
                        <a:pt x="294" y="135"/>
                        <a:pt x="274" y="178"/>
                      </a:cubicBezTo>
                      <a:cubicBezTo>
                        <a:pt x="272" y="182"/>
                        <a:pt x="270" y="183"/>
                        <a:pt x="265" y="183"/>
                      </a:cubicBezTo>
                      <a:cubicBezTo>
                        <a:pt x="210" y="183"/>
                        <a:pt x="155" y="183"/>
                        <a:pt x="100" y="183"/>
                      </a:cubicBezTo>
                      <a:cubicBezTo>
                        <a:pt x="97" y="183"/>
                        <a:pt x="95" y="182"/>
                        <a:pt x="93" y="179"/>
                      </a:cubicBezTo>
                      <a:cubicBezTo>
                        <a:pt x="72" y="136"/>
                        <a:pt x="51" y="94"/>
                        <a:pt x="31" y="51"/>
                      </a:cubicBezTo>
                      <a:cubicBezTo>
                        <a:pt x="26" y="40"/>
                        <a:pt x="18" y="35"/>
                        <a:pt x="6" y="35"/>
                      </a:cubicBezTo>
                      <a:cubicBezTo>
                        <a:pt x="4" y="36"/>
                        <a:pt x="2" y="35"/>
                        <a:pt x="0" y="35"/>
                      </a:cubicBezTo>
                      <a:close/>
                      <a:moveTo>
                        <a:pt x="222" y="102"/>
                      </a:moveTo>
                      <a:cubicBezTo>
                        <a:pt x="222" y="112"/>
                        <a:pt x="222" y="122"/>
                        <a:pt x="222" y="132"/>
                      </a:cubicBezTo>
                      <a:cubicBezTo>
                        <a:pt x="222" y="136"/>
                        <a:pt x="223" y="140"/>
                        <a:pt x="227" y="143"/>
                      </a:cubicBezTo>
                      <a:cubicBezTo>
                        <a:pt x="231" y="145"/>
                        <a:pt x="235" y="145"/>
                        <a:pt x="239" y="143"/>
                      </a:cubicBezTo>
                      <a:cubicBezTo>
                        <a:pt x="243" y="141"/>
                        <a:pt x="245" y="137"/>
                        <a:pt x="245" y="132"/>
                      </a:cubicBezTo>
                      <a:cubicBezTo>
                        <a:pt x="245" y="112"/>
                        <a:pt x="245" y="92"/>
                        <a:pt x="245" y="73"/>
                      </a:cubicBezTo>
                      <a:cubicBezTo>
                        <a:pt x="245" y="72"/>
                        <a:pt x="245" y="71"/>
                        <a:pt x="245" y="70"/>
                      </a:cubicBezTo>
                      <a:cubicBezTo>
                        <a:pt x="244" y="63"/>
                        <a:pt x="240" y="59"/>
                        <a:pt x="233" y="59"/>
                      </a:cubicBezTo>
                      <a:cubicBezTo>
                        <a:pt x="227" y="59"/>
                        <a:pt x="223" y="64"/>
                        <a:pt x="222" y="71"/>
                      </a:cubicBezTo>
                      <a:cubicBezTo>
                        <a:pt x="222" y="72"/>
                        <a:pt x="222" y="73"/>
                        <a:pt x="222" y="74"/>
                      </a:cubicBezTo>
                      <a:cubicBezTo>
                        <a:pt x="222" y="83"/>
                        <a:pt x="222" y="93"/>
                        <a:pt x="222" y="102"/>
                      </a:cubicBezTo>
                      <a:close/>
                      <a:moveTo>
                        <a:pt x="123" y="102"/>
                      </a:moveTo>
                      <a:cubicBezTo>
                        <a:pt x="123" y="102"/>
                        <a:pt x="123" y="102"/>
                        <a:pt x="123" y="102"/>
                      </a:cubicBezTo>
                      <a:cubicBezTo>
                        <a:pt x="123" y="113"/>
                        <a:pt x="123" y="123"/>
                        <a:pt x="123" y="134"/>
                      </a:cubicBezTo>
                      <a:cubicBezTo>
                        <a:pt x="123" y="140"/>
                        <a:pt x="128" y="144"/>
                        <a:pt x="133" y="145"/>
                      </a:cubicBezTo>
                      <a:cubicBezTo>
                        <a:pt x="140" y="145"/>
                        <a:pt x="144" y="141"/>
                        <a:pt x="145" y="135"/>
                      </a:cubicBezTo>
                      <a:cubicBezTo>
                        <a:pt x="145" y="133"/>
                        <a:pt x="145" y="131"/>
                        <a:pt x="145" y="130"/>
                      </a:cubicBezTo>
                      <a:cubicBezTo>
                        <a:pt x="145" y="111"/>
                        <a:pt x="145" y="93"/>
                        <a:pt x="145" y="74"/>
                      </a:cubicBezTo>
                      <a:cubicBezTo>
                        <a:pt x="145" y="71"/>
                        <a:pt x="145" y="69"/>
                        <a:pt x="144" y="66"/>
                      </a:cubicBezTo>
                      <a:cubicBezTo>
                        <a:pt x="143" y="61"/>
                        <a:pt x="137" y="59"/>
                        <a:pt x="132" y="59"/>
                      </a:cubicBezTo>
                      <a:cubicBezTo>
                        <a:pt x="127" y="60"/>
                        <a:pt x="123" y="64"/>
                        <a:pt x="123" y="70"/>
                      </a:cubicBezTo>
                      <a:cubicBezTo>
                        <a:pt x="123" y="81"/>
                        <a:pt x="123" y="92"/>
                        <a:pt x="123" y="102"/>
                      </a:cubicBezTo>
                      <a:close/>
                      <a:moveTo>
                        <a:pt x="195" y="102"/>
                      </a:moveTo>
                      <a:cubicBezTo>
                        <a:pt x="195" y="102"/>
                        <a:pt x="195" y="102"/>
                        <a:pt x="195" y="102"/>
                      </a:cubicBezTo>
                      <a:cubicBezTo>
                        <a:pt x="195" y="91"/>
                        <a:pt x="195" y="81"/>
                        <a:pt x="195" y="71"/>
                      </a:cubicBezTo>
                      <a:cubicBezTo>
                        <a:pt x="195" y="63"/>
                        <a:pt x="189" y="58"/>
                        <a:pt x="182" y="59"/>
                      </a:cubicBezTo>
                      <a:cubicBezTo>
                        <a:pt x="176" y="60"/>
                        <a:pt x="173" y="65"/>
                        <a:pt x="173" y="72"/>
                      </a:cubicBezTo>
                      <a:cubicBezTo>
                        <a:pt x="173" y="92"/>
                        <a:pt x="173" y="112"/>
                        <a:pt x="173" y="132"/>
                      </a:cubicBezTo>
                      <a:cubicBezTo>
                        <a:pt x="173" y="133"/>
                        <a:pt x="173" y="135"/>
                        <a:pt x="173" y="136"/>
                      </a:cubicBezTo>
                      <a:cubicBezTo>
                        <a:pt x="174" y="141"/>
                        <a:pt x="178" y="145"/>
                        <a:pt x="183" y="145"/>
                      </a:cubicBezTo>
                      <a:cubicBezTo>
                        <a:pt x="189" y="145"/>
                        <a:pt x="193" y="141"/>
                        <a:pt x="194" y="136"/>
                      </a:cubicBezTo>
                      <a:cubicBezTo>
                        <a:pt x="195" y="134"/>
                        <a:pt x="195" y="132"/>
                        <a:pt x="195" y="130"/>
                      </a:cubicBezTo>
                      <a:cubicBezTo>
                        <a:pt x="195" y="121"/>
                        <a:pt x="195" y="111"/>
                        <a:pt x="195" y="10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14">
                  <a:extLst>
                    <a:ext uri="{FF2B5EF4-FFF2-40B4-BE49-F238E27FC236}">
                      <a16:creationId xmlns:a16="http://schemas.microsoft.com/office/drawing/2014/main" id="{04FF7D79-A295-4830-97E8-BCDB8E94F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09852" y="-448526"/>
                  <a:ext cx="145000" cy="189613"/>
                </a:xfrm>
                <a:custGeom>
                  <a:avLst/>
                  <a:gdLst>
                    <a:gd name="T0" fmla="*/ 69 w 92"/>
                    <a:gd name="T1" fmla="*/ 0 h 120"/>
                    <a:gd name="T2" fmla="*/ 85 w 92"/>
                    <a:gd name="T3" fmla="*/ 28 h 120"/>
                    <a:gd name="T4" fmla="*/ 73 w 92"/>
                    <a:gd name="T5" fmla="*/ 49 h 120"/>
                    <a:gd name="T6" fmla="*/ 39 w 92"/>
                    <a:gd name="T7" fmla="*/ 105 h 120"/>
                    <a:gd name="T8" fmla="*/ 6 w 92"/>
                    <a:gd name="T9" fmla="*/ 109 h 120"/>
                    <a:gd name="T10" fmla="*/ 3 w 92"/>
                    <a:gd name="T11" fmla="*/ 88 h 120"/>
                    <a:gd name="T12" fmla="*/ 7 w 92"/>
                    <a:gd name="T13" fmla="*/ 81 h 120"/>
                    <a:gd name="T14" fmla="*/ 49 w 92"/>
                    <a:gd name="T15" fmla="*/ 11 h 120"/>
                    <a:gd name="T16" fmla="*/ 69 w 92"/>
                    <a:gd name="T1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2" h="120">
                      <a:moveTo>
                        <a:pt x="69" y="0"/>
                      </a:moveTo>
                      <a:cubicBezTo>
                        <a:pt x="83" y="0"/>
                        <a:pt x="92" y="15"/>
                        <a:pt x="85" y="28"/>
                      </a:cubicBezTo>
                      <a:cubicBezTo>
                        <a:pt x="82" y="35"/>
                        <a:pt x="77" y="42"/>
                        <a:pt x="73" y="49"/>
                      </a:cubicBezTo>
                      <a:cubicBezTo>
                        <a:pt x="62" y="68"/>
                        <a:pt x="50" y="87"/>
                        <a:pt x="39" y="105"/>
                      </a:cubicBezTo>
                      <a:cubicBezTo>
                        <a:pt x="31" y="118"/>
                        <a:pt x="15" y="120"/>
                        <a:pt x="6" y="109"/>
                      </a:cubicBezTo>
                      <a:cubicBezTo>
                        <a:pt x="0" y="103"/>
                        <a:pt x="0" y="96"/>
                        <a:pt x="3" y="88"/>
                      </a:cubicBezTo>
                      <a:cubicBezTo>
                        <a:pt x="4" y="86"/>
                        <a:pt x="5" y="83"/>
                        <a:pt x="7" y="81"/>
                      </a:cubicBezTo>
                      <a:cubicBezTo>
                        <a:pt x="21" y="58"/>
                        <a:pt x="35" y="35"/>
                        <a:pt x="49" y="11"/>
                      </a:cubicBezTo>
                      <a:cubicBezTo>
                        <a:pt x="53" y="4"/>
                        <a:pt x="59" y="0"/>
                        <a:pt x="6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1" name="METRO ICON - person 1">
                <a:extLst>
                  <a:ext uri="{FF2B5EF4-FFF2-40B4-BE49-F238E27FC236}">
                    <a16:creationId xmlns:a16="http://schemas.microsoft.com/office/drawing/2014/main" id="{F1A092B6-11B3-4093-B93F-5A4AA7083F2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040183" y="4128540"/>
                <a:ext cx="351772" cy="337332"/>
              </a:xfrm>
              <a:custGeom>
                <a:avLst/>
                <a:gdLst>
                  <a:gd name="T0" fmla="*/ 295 w 377"/>
                  <a:gd name="T1" fmla="*/ 269 h 361"/>
                  <a:gd name="T2" fmla="*/ 230 w 377"/>
                  <a:gd name="T3" fmla="*/ 204 h 361"/>
                  <a:gd name="T4" fmla="*/ 251 w 377"/>
                  <a:gd name="T5" fmla="*/ 155 h 361"/>
                  <a:gd name="T6" fmla="*/ 270 w 377"/>
                  <a:gd name="T7" fmla="*/ 121 h 361"/>
                  <a:gd name="T8" fmla="*/ 263 w 377"/>
                  <a:gd name="T9" fmla="*/ 104 h 361"/>
                  <a:gd name="T10" fmla="*/ 268 w 377"/>
                  <a:gd name="T11" fmla="*/ 68 h 361"/>
                  <a:gd name="T12" fmla="*/ 188 w 377"/>
                  <a:gd name="T13" fmla="*/ 0 h 361"/>
                  <a:gd name="T14" fmla="*/ 108 w 377"/>
                  <a:gd name="T15" fmla="*/ 68 h 361"/>
                  <a:gd name="T16" fmla="*/ 114 w 377"/>
                  <a:gd name="T17" fmla="*/ 104 h 361"/>
                  <a:gd name="T18" fmla="*/ 106 w 377"/>
                  <a:gd name="T19" fmla="*/ 121 h 361"/>
                  <a:gd name="T20" fmla="*/ 125 w 377"/>
                  <a:gd name="T21" fmla="*/ 155 h 361"/>
                  <a:gd name="T22" fmla="*/ 147 w 377"/>
                  <a:gd name="T23" fmla="*/ 204 h 361"/>
                  <a:gd name="T24" fmla="*/ 81 w 377"/>
                  <a:gd name="T25" fmla="*/ 269 h 361"/>
                  <a:gd name="T26" fmla="*/ 0 w 377"/>
                  <a:gd name="T27" fmla="*/ 318 h 361"/>
                  <a:gd name="T28" fmla="*/ 0 w 377"/>
                  <a:gd name="T29" fmla="*/ 361 h 361"/>
                  <a:gd name="T30" fmla="*/ 377 w 377"/>
                  <a:gd name="T31" fmla="*/ 361 h 361"/>
                  <a:gd name="T32" fmla="*/ 377 w 377"/>
                  <a:gd name="T33" fmla="*/ 318 h 361"/>
                  <a:gd name="T34" fmla="*/ 295 w 377"/>
                  <a:gd name="T35" fmla="*/ 269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7" h="361">
                    <a:moveTo>
                      <a:pt x="295" y="269"/>
                    </a:moveTo>
                    <a:cubicBezTo>
                      <a:pt x="245" y="251"/>
                      <a:pt x="230" y="236"/>
                      <a:pt x="230" y="204"/>
                    </a:cubicBezTo>
                    <a:cubicBezTo>
                      <a:pt x="230" y="184"/>
                      <a:pt x="245" y="191"/>
                      <a:pt x="251" y="155"/>
                    </a:cubicBezTo>
                    <a:cubicBezTo>
                      <a:pt x="254" y="140"/>
                      <a:pt x="267" y="154"/>
                      <a:pt x="270" y="121"/>
                    </a:cubicBezTo>
                    <a:cubicBezTo>
                      <a:pt x="270" y="107"/>
                      <a:pt x="263" y="104"/>
                      <a:pt x="263" y="104"/>
                    </a:cubicBezTo>
                    <a:cubicBezTo>
                      <a:pt x="263" y="104"/>
                      <a:pt x="266" y="84"/>
                      <a:pt x="268" y="68"/>
                    </a:cubicBezTo>
                    <a:cubicBezTo>
                      <a:pt x="270" y="49"/>
                      <a:pt x="257" y="0"/>
                      <a:pt x="188" y="0"/>
                    </a:cubicBezTo>
                    <a:cubicBezTo>
                      <a:pt x="120" y="0"/>
                      <a:pt x="107" y="49"/>
                      <a:pt x="108" y="68"/>
                    </a:cubicBezTo>
                    <a:cubicBezTo>
                      <a:pt x="110" y="84"/>
                      <a:pt x="114" y="104"/>
                      <a:pt x="114" y="104"/>
                    </a:cubicBezTo>
                    <a:cubicBezTo>
                      <a:pt x="114" y="104"/>
                      <a:pt x="106" y="107"/>
                      <a:pt x="106" y="121"/>
                    </a:cubicBezTo>
                    <a:cubicBezTo>
                      <a:pt x="109" y="154"/>
                      <a:pt x="122" y="140"/>
                      <a:pt x="125" y="155"/>
                    </a:cubicBezTo>
                    <a:cubicBezTo>
                      <a:pt x="132" y="191"/>
                      <a:pt x="147" y="184"/>
                      <a:pt x="147" y="204"/>
                    </a:cubicBezTo>
                    <a:cubicBezTo>
                      <a:pt x="147" y="236"/>
                      <a:pt x="131" y="251"/>
                      <a:pt x="81" y="269"/>
                    </a:cubicBezTo>
                    <a:cubicBezTo>
                      <a:pt x="32" y="287"/>
                      <a:pt x="0" y="306"/>
                      <a:pt x="0" y="318"/>
                    </a:cubicBezTo>
                    <a:cubicBezTo>
                      <a:pt x="0" y="331"/>
                      <a:pt x="0" y="361"/>
                      <a:pt x="0" y="361"/>
                    </a:cubicBezTo>
                    <a:cubicBezTo>
                      <a:pt x="377" y="361"/>
                      <a:pt x="377" y="361"/>
                      <a:pt x="377" y="361"/>
                    </a:cubicBezTo>
                    <a:cubicBezTo>
                      <a:pt x="377" y="361"/>
                      <a:pt x="377" y="331"/>
                      <a:pt x="377" y="318"/>
                    </a:cubicBezTo>
                    <a:cubicBezTo>
                      <a:pt x="377" y="306"/>
                      <a:pt x="344" y="287"/>
                      <a:pt x="295" y="2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40155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">
            <a:extLst>
              <a:ext uri="{FF2B5EF4-FFF2-40B4-BE49-F238E27FC236}">
                <a16:creationId xmlns:a16="http://schemas.microsoft.com/office/drawing/2014/main" id="{21DCE4F6-67D7-45F0-9BD2-6DA96BC647E8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51">
              <a:extLst>
                <a:ext uri="{FF2B5EF4-FFF2-40B4-BE49-F238E27FC236}">
                  <a16:creationId xmlns:a16="http://schemas.microsoft.com/office/drawing/2014/main" id="{0B4AC0D3-9257-4DA9-AD35-A53A7D99C006}"/>
                </a:ext>
              </a:extLst>
            </p:cNvPr>
            <p:cNvGrpSpPr/>
            <p:nvPr/>
          </p:nvGrpSpPr>
          <p:grpSpPr>
            <a:xfrm>
              <a:off x="4334401" y="1914801"/>
              <a:ext cx="3520800" cy="3520800"/>
              <a:chOff x="2798463" y="1914801"/>
              <a:chExt cx="3520800" cy="3520800"/>
            </a:xfrm>
            <a:solidFill>
              <a:srgbClr val="C0C0C0"/>
            </a:solidFill>
          </p:grpSpPr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D69E507A-BB17-42BC-9C11-0B53444F85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3746" y="1914801"/>
                <a:ext cx="1873257" cy="1404155"/>
              </a:xfrm>
              <a:custGeom>
                <a:avLst/>
                <a:gdLst/>
                <a:ahLst/>
                <a:cxnLst>
                  <a:cxn ang="0">
                    <a:pos x="1148" y="510"/>
                  </a:cxn>
                  <a:cxn ang="0">
                    <a:pos x="1195" y="472"/>
                  </a:cxn>
                  <a:cxn ang="0">
                    <a:pos x="1226" y="484"/>
                  </a:cxn>
                  <a:cxn ang="0">
                    <a:pos x="1291" y="503"/>
                  </a:cxn>
                  <a:cxn ang="0">
                    <a:pos x="1409" y="385"/>
                  </a:cxn>
                  <a:cxn ang="0">
                    <a:pos x="1291" y="268"/>
                  </a:cxn>
                  <a:cxn ang="0">
                    <a:pos x="1229" y="286"/>
                  </a:cxn>
                  <a:cxn ang="0">
                    <a:pos x="1195" y="300"/>
                  </a:cxn>
                  <a:cxn ang="0">
                    <a:pos x="1147" y="252"/>
                  </a:cxn>
                  <a:cxn ang="0">
                    <a:pos x="1147" y="251"/>
                  </a:cxn>
                  <a:cxn ang="0">
                    <a:pos x="1147" y="251"/>
                  </a:cxn>
                  <a:cxn ang="0">
                    <a:pos x="1147" y="0"/>
                  </a:cxn>
                  <a:cxn ang="0">
                    <a:pos x="1147" y="0"/>
                  </a:cxn>
                  <a:cxn ang="0">
                    <a:pos x="0" y="662"/>
                  </a:cxn>
                  <a:cxn ang="0">
                    <a:pos x="219" y="788"/>
                  </a:cxn>
                  <a:cxn ang="0">
                    <a:pos x="284" y="770"/>
                  </a:cxn>
                  <a:cxn ang="0">
                    <a:pos x="289" y="734"/>
                  </a:cxn>
                  <a:cxn ang="0">
                    <a:pos x="304" y="671"/>
                  </a:cxn>
                  <a:cxn ang="0">
                    <a:pos x="465" y="628"/>
                  </a:cxn>
                  <a:cxn ang="0">
                    <a:pos x="508" y="789"/>
                  </a:cxn>
                  <a:cxn ang="0">
                    <a:pos x="459" y="835"/>
                  </a:cxn>
                  <a:cxn ang="0">
                    <a:pos x="433" y="856"/>
                  </a:cxn>
                  <a:cxn ang="0">
                    <a:pos x="443" y="916"/>
                  </a:cxn>
                  <a:cxn ang="0">
                    <a:pos x="450" y="922"/>
                  </a:cxn>
                  <a:cxn ang="0">
                    <a:pos x="683" y="1056"/>
                  </a:cxn>
                  <a:cxn ang="0">
                    <a:pos x="1147" y="789"/>
                  </a:cxn>
                  <a:cxn ang="0">
                    <a:pos x="1147" y="789"/>
                  </a:cxn>
                  <a:cxn ang="0">
                    <a:pos x="1147" y="520"/>
                  </a:cxn>
                  <a:cxn ang="0">
                    <a:pos x="1148" y="510"/>
                  </a:cxn>
                </a:cxnLst>
                <a:rect l="0" t="0" r="r" b="b"/>
                <a:pathLst>
                  <a:path w="1409" h="1056">
                    <a:moveTo>
                      <a:pt x="1148" y="510"/>
                    </a:moveTo>
                    <a:cubicBezTo>
                      <a:pt x="1152" y="489"/>
                      <a:pt x="1172" y="472"/>
                      <a:pt x="1195" y="472"/>
                    </a:cubicBezTo>
                    <a:cubicBezTo>
                      <a:pt x="1207" y="472"/>
                      <a:pt x="1218" y="476"/>
                      <a:pt x="1226" y="484"/>
                    </a:cubicBezTo>
                    <a:cubicBezTo>
                      <a:pt x="1245" y="496"/>
                      <a:pt x="1267" y="503"/>
                      <a:pt x="1291" y="503"/>
                    </a:cubicBezTo>
                    <a:cubicBezTo>
                      <a:pt x="1356" y="503"/>
                      <a:pt x="1409" y="450"/>
                      <a:pt x="1409" y="385"/>
                    </a:cubicBezTo>
                    <a:cubicBezTo>
                      <a:pt x="1409" y="320"/>
                      <a:pt x="1356" y="268"/>
                      <a:pt x="1291" y="268"/>
                    </a:cubicBezTo>
                    <a:cubicBezTo>
                      <a:pt x="1268" y="268"/>
                      <a:pt x="1247" y="274"/>
                      <a:pt x="1229" y="286"/>
                    </a:cubicBezTo>
                    <a:cubicBezTo>
                      <a:pt x="1220" y="294"/>
                      <a:pt x="1208" y="300"/>
                      <a:pt x="1195" y="300"/>
                    </a:cubicBezTo>
                    <a:cubicBezTo>
                      <a:pt x="1168" y="300"/>
                      <a:pt x="1147" y="278"/>
                      <a:pt x="1147" y="252"/>
                    </a:cubicBezTo>
                    <a:cubicBezTo>
                      <a:pt x="1147" y="251"/>
                      <a:pt x="1147" y="251"/>
                      <a:pt x="1147" y="251"/>
                    </a:cubicBezTo>
                    <a:cubicBezTo>
                      <a:pt x="1147" y="251"/>
                      <a:pt x="1147" y="251"/>
                      <a:pt x="1147" y="251"/>
                    </a:cubicBezTo>
                    <a:cubicBezTo>
                      <a:pt x="1147" y="0"/>
                      <a:pt x="1147" y="0"/>
                      <a:pt x="1147" y="0"/>
                    </a:cubicBezTo>
                    <a:cubicBezTo>
                      <a:pt x="1147" y="0"/>
                      <a:pt x="1147" y="0"/>
                      <a:pt x="1147" y="0"/>
                    </a:cubicBezTo>
                    <a:cubicBezTo>
                      <a:pt x="657" y="0"/>
                      <a:pt x="229" y="266"/>
                      <a:pt x="0" y="662"/>
                    </a:cubicBezTo>
                    <a:cubicBezTo>
                      <a:pt x="219" y="788"/>
                      <a:pt x="219" y="788"/>
                      <a:pt x="219" y="788"/>
                    </a:cubicBezTo>
                    <a:cubicBezTo>
                      <a:pt x="242" y="801"/>
                      <a:pt x="271" y="793"/>
                      <a:pt x="284" y="770"/>
                    </a:cubicBezTo>
                    <a:cubicBezTo>
                      <a:pt x="290" y="759"/>
                      <a:pt x="292" y="746"/>
                      <a:pt x="289" y="734"/>
                    </a:cubicBezTo>
                    <a:cubicBezTo>
                      <a:pt x="288" y="713"/>
                      <a:pt x="293" y="691"/>
                      <a:pt x="304" y="671"/>
                    </a:cubicBezTo>
                    <a:cubicBezTo>
                      <a:pt x="337" y="615"/>
                      <a:pt x="409" y="596"/>
                      <a:pt x="465" y="628"/>
                    </a:cubicBezTo>
                    <a:cubicBezTo>
                      <a:pt x="521" y="661"/>
                      <a:pt x="541" y="733"/>
                      <a:pt x="508" y="789"/>
                    </a:cubicBezTo>
                    <a:cubicBezTo>
                      <a:pt x="496" y="810"/>
                      <a:pt x="479" y="825"/>
                      <a:pt x="459" y="835"/>
                    </a:cubicBezTo>
                    <a:cubicBezTo>
                      <a:pt x="448" y="839"/>
                      <a:pt x="439" y="846"/>
                      <a:pt x="433" y="856"/>
                    </a:cubicBezTo>
                    <a:cubicBezTo>
                      <a:pt x="422" y="877"/>
                      <a:pt x="426" y="902"/>
                      <a:pt x="443" y="916"/>
                    </a:cubicBezTo>
                    <a:cubicBezTo>
                      <a:pt x="445" y="918"/>
                      <a:pt x="448" y="920"/>
                      <a:pt x="450" y="922"/>
                    </a:cubicBezTo>
                    <a:cubicBezTo>
                      <a:pt x="683" y="1056"/>
                      <a:pt x="683" y="1056"/>
                      <a:pt x="683" y="1056"/>
                    </a:cubicBezTo>
                    <a:cubicBezTo>
                      <a:pt x="776" y="896"/>
                      <a:pt x="949" y="789"/>
                      <a:pt x="1147" y="789"/>
                    </a:cubicBezTo>
                    <a:cubicBezTo>
                      <a:pt x="1147" y="789"/>
                      <a:pt x="1147" y="789"/>
                      <a:pt x="1147" y="789"/>
                    </a:cubicBezTo>
                    <a:cubicBezTo>
                      <a:pt x="1147" y="520"/>
                      <a:pt x="1147" y="520"/>
                      <a:pt x="1147" y="520"/>
                    </a:cubicBezTo>
                    <a:cubicBezTo>
                      <a:pt x="1147" y="517"/>
                      <a:pt x="1147" y="514"/>
                      <a:pt x="1148" y="510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441E1E05-26F6-4290-897F-F431F7E1ED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98463" y="2707206"/>
                <a:ext cx="1143205" cy="1848195"/>
              </a:xfrm>
              <a:custGeom>
                <a:avLst/>
                <a:gdLst/>
                <a:ahLst/>
                <a:cxnLst>
                  <a:cxn ang="0">
                    <a:pos x="413" y="1199"/>
                  </a:cxn>
                  <a:cxn ang="0">
                    <a:pos x="384" y="1176"/>
                  </a:cxn>
                  <a:cxn ang="0">
                    <a:pos x="337" y="1131"/>
                  </a:cxn>
                  <a:cxn ang="0">
                    <a:pos x="380" y="971"/>
                  </a:cxn>
                  <a:cxn ang="0">
                    <a:pos x="541" y="1014"/>
                  </a:cxn>
                  <a:cxn ang="0">
                    <a:pos x="557" y="1080"/>
                  </a:cxn>
                  <a:cxn ang="0">
                    <a:pos x="562" y="1112"/>
                  </a:cxn>
                  <a:cxn ang="0">
                    <a:pos x="619" y="1134"/>
                  </a:cxn>
                  <a:cxn ang="0">
                    <a:pos x="629" y="1129"/>
                  </a:cxn>
                  <a:cxn ang="0">
                    <a:pos x="860" y="996"/>
                  </a:cxn>
                  <a:cxn ang="0">
                    <a:pos x="789" y="728"/>
                  </a:cxn>
                  <a:cxn ang="0">
                    <a:pos x="860" y="460"/>
                  </a:cxn>
                  <a:cxn ang="0">
                    <a:pos x="627" y="326"/>
                  </a:cxn>
                  <a:cxn ang="0">
                    <a:pos x="620" y="320"/>
                  </a:cxn>
                  <a:cxn ang="0">
                    <a:pos x="610" y="260"/>
                  </a:cxn>
                  <a:cxn ang="0">
                    <a:pos x="636" y="239"/>
                  </a:cxn>
                  <a:cxn ang="0">
                    <a:pos x="685" y="193"/>
                  </a:cxn>
                  <a:cxn ang="0">
                    <a:pos x="642" y="32"/>
                  </a:cxn>
                  <a:cxn ang="0">
                    <a:pos x="481" y="75"/>
                  </a:cxn>
                  <a:cxn ang="0">
                    <a:pos x="466" y="138"/>
                  </a:cxn>
                  <a:cxn ang="0">
                    <a:pos x="461" y="174"/>
                  </a:cxn>
                  <a:cxn ang="0">
                    <a:pos x="396" y="192"/>
                  </a:cxn>
                  <a:cxn ang="0">
                    <a:pos x="177" y="66"/>
                  </a:cxn>
                  <a:cxn ang="0">
                    <a:pos x="0" y="728"/>
                  </a:cxn>
                  <a:cxn ang="0">
                    <a:pos x="177" y="1390"/>
                  </a:cxn>
                  <a:cxn ang="0">
                    <a:pos x="395" y="1264"/>
                  </a:cxn>
                  <a:cxn ang="0">
                    <a:pos x="413" y="1199"/>
                  </a:cxn>
                </a:cxnLst>
                <a:rect l="0" t="0" r="r" b="b"/>
                <a:pathLst>
                  <a:path w="860" h="1390">
                    <a:moveTo>
                      <a:pt x="413" y="1199"/>
                    </a:moveTo>
                    <a:cubicBezTo>
                      <a:pt x="406" y="1187"/>
                      <a:pt x="396" y="1179"/>
                      <a:pt x="384" y="1176"/>
                    </a:cubicBezTo>
                    <a:cubicBezTo>
                      <a:pt x="365" y="1166"/>
                      <a:pt x="349" y="1151"/>
                      <a:pt x="337" y="1131"/>
                    </a:cubicBezTo>
                    <a:cubicBezTo>
                      <a:pt x="305" y="1075"/>
                      <a:pt x="324" y="1003"/>
                      <a:pt x="380" y="971"/>
                    </a:cubicBezTo>
                    <a:cubicBezTo>
                      <a:pt x="437" y="938"/>
                      <a:pt x="509" y="957"/>
                      <a:pt x="541" y="1014"/>
                    </a:cubicBezTo>
                    <a:cubicBezTo>
                      <a:pt x="553" y="1034"/>
                      <a:pt x="558" y="1057"/>
                      <a:pt x="557" y="1080"/>
                    </a:cubicBezTo>
                    <a:cubicBezTo>
                      <a:pt x="555" y="1090"/>
                      <a:pt x="556" y="1102"/>
                      <a:pt x="562" y="1112"/>
                    </a:cubicBezTo>
                    <a:cubicBezTo>
                      <a:pt x="574" y="1133"/>
                      <a:pt x="598" y="1141"/>
                      <a:pt x="619" y="1134"/>
                    </a:cubicBezTo>
                    <a:cubicBezTo>
                      <a:pt x="622" y="1133"/>
                      <a:pt x="626" y="1131"/>
                      <a:pt x="629" y="1129"/>
                    </a:cubicBezTo>
                    <a:cubicBezTo>
                      <a:pt x="860" y="996"/>
                      <a:pt x="860" y="996"/>
                      <a:pt x="860" y="996"/>
                    </a:cubicBezTo>
                    <a:cubicBezTo>
                      <a:pt x="815" y="917"/>
                      <a:pt x="789" y="826"/>
                      <a:pt x="789" y="728"/>
                    </a:cubicBezTo>
                    <a:cubicBezTo>
                      <a:pt x="789" y="630"/>
                      <a:pt x="815" y="539"/>
                      <a:pt x="860" y="460"/>
                    </a:cubicBezTo>
                    <a:cubicBezTo>
                      <a:pt x="627" y="326"/>
                      <a:pt x="627" y="326"/>
                      <a:pt x="627" y="326"/>
                    </a:cubicBezTo>
                    <a:cubicBezTo>
                      <a:pt x="625" y="324"/>
                      <a:pt x="622" y="322"/>
                      <a:pt x="620" y="320"/>
                    </a:cubicBezTo>
                    <a:cubicBezTo>
                      <a:pt x="603" y="306"/>
                      <a:pt x="599" y="281"/>
                      <a:pt x="610" y="260"/>
                    </a:cubicBezTo>
                    <a:cubicBezTo>
                      <a:pt x="616" y="250"/>
                      <a:pt x="625" y="243"/>
                      <a:pt x="636" y="239"/>
                    </a:cubicBezTo>
                    <a:cubicBezTo>
                      <a:pt x="656" y="229"/>
                      <a:pt x="673" y="214"/>
                      <a:pt x="685" y="193"/>
                    </a:cubicBezTo>
                    <a:cubicBezTo>
                      <a:pt x="718" y="137"/>
                      <a:pt x="698" y="65"/>
                      <a:pt x="642" y="32"/>
                    </a:cubicBezTo>
                    <a:cubicBezTo>
                      <a:pt x="586" y="0"/>
                      <a:pt x="514" y="19"/>
                      <a:pt x="481" y="75"/>
                    </a:cubicBezTo>
                    <a:cubicBezTo>
                      <a:pt x="470" y="95"/>
                      <a:pt x="465" y="117"/>
                      <a:pt x="466" y="138"/>
                    </a:cubicBezTo>
                    <a:cubicBezTo>
                      <a:pt x="469" y="150"/>
                      <a:pt x="467" y="163"/>
                      <a:pt x="461" y="174"/>
                    </a:cubicBezTo>
                    <a:cubicBezTo>
                      <a:pt x="448" y="197"/>
                      <a:pt x="419" y="205"/>
                      <a:pt x="396" y="192"/>
                    </a:cubicBezTo>
                    <a:cubicBezTo>
                      <a:pt x="177" y="66"/>
                      <a:pt x="177" y="66"/>
                      <a:pt x="177" y="66"/>
                    </a:cubicBezTo>
                    <a:cubicBezTo>
                      <a:pt x="65" y="261"/>
                      <a:pt x="0" y="487"/>
                      <a:pt x="0" y="728"/>
                    </a:cubicBezTo>
                    <a:cubicBezTo>
                      <a:pt x="0" y="969"/>
                      <a:pt x="65" y="1195"/>
                      <a:pt x="177" y="1390"/>
                    </a:cubicBezTo>
                    <a:cubicBezTo>
                      <a:pt x="395" y="1264"/>
                      <a:pt x="395" y="1264"/>
                      <a:pt x="395" y="1264"/>
                    </a:cubicBezTo>
                    <a:cubicBezTo>
                      <a:pt x="418" y="1251"/>
                      <a:pt x="426" y="1222"/>
                      <a:pt x="413" y="1199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88E6A659-BA5F-4AC9-89E3-96093D201A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3746" y="3954344"/>
                <a:ext cx="1524836" cy="1481257"/>
              </a:xfrm>
              <a:custGeom>
                <a:avLst/>
                <a:gdLst/>
                <a:ahLst/>
                <a:cxnLst>
                  <a:cxn ang="0">
                    <a:pos x="1147" y="862"/>
                  </a:cxn>
                  <a:cxn ang="0">
                    <a:pos x="1099" y="814"/>
                  </a:cxn>
                  <a:cxn ang="0">
                    <a:pos x="1065" y="828"/>
                  </a:cxn>
                  <a:cxn ang="0">
                    <a:pos x="1003" y="846"/>
                  </a:cxn>
                  <a:cxn ang="0">
                    <a:pos x="885" y="729"/>
                  </a:cxn>
                  <a:cxn ang="0">
                    <a:pos x="1003" y="611"/>
                  </a:cxn>
                  <a:cxn ang="0">
                    <a:pos x="1068" y="630"/>
                  </a:cxn>
                  <a:cxn ang="0">
                    <a:pos x="1099" y="642"/>
                  </a:cxn>
                  <a:cxn ang="0">
                    <a:pos x="1146" y="604"/>
                  </a:cxn>
                  <a:cxn ang="0">
                    <a:pos x="1147" y="594"/>
                  </a:cxn>
                  <a:cxn ang="0">
                    <a:pos x="1147" y="325"/>
                  </a:cxn>
                  <a:cxn ang="0">
                    <a:pos x="1147" y="325"/>
                  </a:cxn>
                  <a:cxn ang="0">
                    <a:pos x="683" y="58"/>
                  </a:cxn>
                  <a:cxn ang="0">
                    <a:pos x="452" y="191"/>
                  </a:cxn>
                  <a:cxn ang="0">
                    <a:pos x="442" y="196"/>
                  </a:cxn>
                  <a:cxn ang="0">
                    <a:pos x="385" y="174"/>
                  </a:cxn>
                  <a:cxn ang="0">
                    <a:pos x="380" y="142"/>
                  </a:cxn>
                  <a:cxn ang="0">
                    <a:pos x="364" y="76"/>
                  </a:cxn>
                  <a:cxn ang="0">
                    <a:pos x="203" y="33"/>
                  </a:cxn>
                  <a:cxn ang="0">
                    <a:pos x="160" y="193"/>
                  </a:cxn>
                  <a:cxn ang="0">
                    <a:pos x="207" y="238"/>
                  </a:cxn>
                  <a:cxn ang="0">
                    <a:pos x="236" y="261"/>
                  </a:cxn>
                  <a:cxn ang="0">
                    <a:pos x="218" y="326"/>
                  </a:cxn>
                  <a:cxn ang="0">
                    <a:pos x="218" y="326"/>
                  </a:cxn>
                  <a:cxn ang="0">
                    <a:pos x="0" y="452"/>
                  </a:cxn>
                  <a:cxn ang="0">
                    <a:pos x="1147" y="1114"/>
                  </a:cxn>
                  <a:cxn ang="0">
                    <a:pos x="1147" y="1114"/>
                  </a:cxn>
                  <a:cxn ang="0">
                    <a:pos x="1147" y="865"/>
                  </a:cxn>
                  <a:cxn ang="0">
                    <a:pos x="1147" y="862"/>
                  </a:cxn>
                </a:cxnLst>
                <a:rect l="0" t="0" r="r" b="b"/>
                <a:pathLst>
                  <a:path w="1147" h="1114">
                    <a:moveTo>
                      <a:pt x="1147" y="862"/>
                    </a:moveTo>
                    <a:cubicBezTo>
                      <a:pt x="1147" y="836"/>
                      <a:pt x="1126" y="814"/>
                      <a:pt x="1099" y="814"/>
                    </a:cubicBezTo>
                    <a:cubicBezTo>
                      <a:pt x="1086" y="814"/>
                      <a:pt x="1074" y="820"/>
                      <a:pt x="1065" y="828"/>
                    </a:cubicBezTo>
                    <a:cubicBezTo>
                      <a:pt x="1047" y="840"/>
                      <a:pt x="1026" y="846"/>
                      <a:pt x="1003" y="846"/>
                    </a:cubicBezTo>
                    <a:cubicBezTo>
                      <a:pt x="938" y="846"/>
                      <a:pt x="885" y="794"/>
                      <a:pt x="885" y="729"/>
                    </a:cubicBezTo>
                    <a:cubicBezTo>
                      <a:pt x="885" y="664"/>
                      <a:pt x="938" y="611"/>
                      <a:pt x="1003" y="611"/>
                    </a:cubicBezTo>
                    <a:cubicBezTo>
                      <a:pt x="1027" y="611"/>
                      <a:pt x="1049" y="618"/>
                      <a:pt x="1068" y="630"/>
                    </a:cubicBezTo>
                    <a:cubicBezTo>
                      <a:pt x="1076" y="638"/>
                      <a:pt x="1087" y="642"/>
                      <a:pt x="1099" y="642"/>
                    </a:cubicBezTo>
                    <a:cubicBezTo>
                      <a:pt x="1122" y="642"/>
                      <a:pt x="1142" y="625"/>
                      <a:pt x="1146" y="604"/>
                    </a:cubicBezTo>
                    <a:cubicBezTo>
                      <a:pt x="1147" y="600"/>
                      <a:pt x="1147" y="597"/>
                      <a:pt x="1147" y="594"/>
                    </a:cubicBezTo>
                    <a:cubicBezTo>
                      <a:pt x="1147" y="325"/>
                      <a:pt x="1147" y="325"/>
                      <a:pt x="1147" y="325"/>
                    </a:cubicBezTo>
                    <a:cubicBezTo>
                      <a:pt x="1147" y="325"/>
                      <a:pt x="1147" y="325"/>
                      <a:pt x="1147" y="325"/>
                    </a:cubicBezTo>
                    <a:cubicBezTo>
                      <a:pt x="949" y="325"/>
                      <a:pt x="776" y="218"/>
                      <a:pt x="683" y="58"/>
                    </a:cubicBezTo>
                    <a:cubicBezTo>
                      <a:pt x="452" y="191"/>
                      <a:pt x="452" y="191"/>
                      <a:pt x="452" y="191"/>
                    </a:cubicBezTo>
                    <a:cubicBezTo>
                      <a:pt x="449" y="193"/>
                      <a:pt x="445" y="195"/>
                      <a:pt x="442" y="196"/>
                    </a:cubicBezTo>
                    <a:cubicBezTo>
                      <a:pt x="421" y="203"/>
                      <a:pt x="397" y="195"/>
                      <a:pt x="385" y="174"/>
                    </a:cubicBezTo>
                    <a:cubicBezTo>
                      <a:pt x="379" y="164"/>
                      <a:pt x="378" y="152"/>
                      <a:pt x="380" y="142"/>
                    </a:cubicBezTo>
                    <a:cubicBezTo>
                      <a:pt x="381" y="119"/>
                      <a:pt x="376" y="96"/>
                      <a:pt x="364" y="76"/>
                    </a:cubicBezTo>
                    <a:cubicBezTo>
                      <a:pt x="332" y="19"/>
                      <a:pt x="260" y="0"/>
                      <a:pt x="203" y="33"/>
                    </a:cubicBezTo>
                    <a:cubicBezTo>
                      <a:pt x="147" y="65"/>
                      <a:pt x="128" y="137"/>
                      <a:pt x="160" y="193"/>
                    </a:cubicBezTo>
                    <a:cubicBezTo>
                      <a:pt x="172" y="213"/>
                      <a:pt x="188" y="228"/>
                      <a:pt x="207" y="238"/>
                    </a:cubicBezTo>
                    <a:cubicBezTo>
                      <a:pt x="219" y="241"/>
                      <a:pt x="229" y="249"/>
                      <a:pt x="236" y="261"/>
                    </a:cubicBezTo>
                    <a:cubicBezTo>
                      <a:pt x="249" y="284"/>
                      <a:pt x="241" y="313"/>
                      <a:pt x="218" y="326"/>
                    </a:cubicBezTo>
                    <a:cubicBezTo>
                      <a:pt x="218" y="326"/>
                      <a:pt x="218" y="326"/>
                      <a:pt x="218" y="326"/>
                    </a:cubicBezTo>
                    <a:cubicBezTo>
                      <a:pt x="0" y="452"/>
                      <a:pt x="0" y="452"/>
                      <a:pt x="0" y="452"/>
                    </a:cubicBezTo>
                    <a:cubicBezTo>
                      <a:pt x="229" y="848"/>
                      <a:pt x="657" y="1114"/>
                      <a:pt x="1147" y="1114"/>
                    </a:cubicBezTo>
                    <a:cubicBezTo>
                      <a:pt x="1147" y="1114"/>
                      <a:pt x="1147" y="1114"/>
                      <a:pt x="1147" y="1114"/>
                    </a:cubicBezTo>
                    <a:cubicBezTo>
                      <a:pt x="1147" y="865"/>
                      <a:pt x="1147" y="865"/>
                      <a:pt x="1147" y="865"/>
                    </a:cubicBezTo>
                    <a:lnTo>
                      <a:pt x="1147" y="862"/>
                    </a:ln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3C395F66-49EA-4683-8AB3-CA8F7B1EEC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10160" y="4031446"/>
                <a:ext cx="1873820" cy="1404155"/>
              </a:xfrm>
              <a:custGeom>
                <a:avLst/>
                <a:gdLst/>
                <a:ahLst/>
                <a:cxnLst>
                  <a:cxn ang="0">
                    <a:pos x="1190" y="268"/>
                  </a:cxn>
                  <a:cxn ang="0">
                    <a:pos x="1125" y="286"/>
                  </a:cxn>
                  <a:cxn ang="0">
                    <a:pos x="1120" y="322"/>
                  </a:cxn>
                  <a:cxn ang="0">
                    <a:pos x="1105" y="385"/>
                  </a:cxn>
                  <a:cxn ang="0">
                    <a:pos x="944" y="428"/>
                  </a:cxn>
                  <a:cxn ang="0">
                    <a:pos x="901" y="267"/>
                  </a:cxn>
                  <a:cxn ang="0">
                    <a:pos x="950" y="221"/>
                  </a:cxn>
                  <a:cxn ang="0">
                    <a:pos x="976" y="200"/>
                  </a:cxn>
                  <a:cxn ang="0">
                    <a:pos x="966" y="140"/>
                  </a:cxn>
                  <a:cxn ang="0">
                    <a:pos x="958" y="134"/>
                  </a:cxn>
                  <a:cxn ang="0">
                    <a:pos x="726" y="0"/>
                  </a:cxn>
                  <a:cxn ang="0">
                    <a:pos x="262" y="267"/>
                  </a:cxn>
                  <a:cxn ang="0">
                    <a:pos x="262" y="536"/>
                  </a:cxn>
                  <a:cxn ang="0">
                    <a:pos x="261" y="546"/>
                  </a:cxn>
                  <a:cxn ang="0">
                    <a:pos x="214" y="584"/>
                  </a:cxn>
                  <a:cxn ang="0">
                    <a:pos x="183" y="572"/>
                  </a:cxn>
                  <a:cxn ang="0">
                    <a:pos x="118" y="553"/>
                  </a:cxn>
                  <a:cxn ang="0">
                    <a:pos x="0" y="671"/>
                  </a:cxn>
                  <a:cxn ang="0">
                    <a:pos x="118" y="788"/>
                  </a:cxn>
                  <a:cxn ang="0">
                    <a:pos x="180" y="770"/>
                  </a:cxn>
                  <a:cxn ang="0">
                    <a:pos x="214" y="756"/>
                  </a:cxn>
                  <a:cxn ang="0">
                    <a:pos x="262" y="804"/>
                  </a:cxn>
                  <a:cxn ang="0">
                    <a:pos x="262" y="807"/>
                  </a:cxn>
                  <a:cxn ang="0">
                    <a:pos x="262" y="1056"/>
                  </a:cxn>
                  <a:cxn ang="0">
                    <a:pos x="1409" y="394"/>
                  </a:cxn>
                  <a:cxn ang="0">
                    <a:pos x="1192" y="269"/>
                  </a:cxn>
                  <a:cxn ang="0">
                    <a:pos x="1190" y="268"/>
                  </a:cxn>
                </a:cxnLst>
                <a:rect l="0" t="0" r="r" b="b"/>
                <a:pathLst>
                  <a:path w="1409" h="1056">
                    <a:moveTo>
                      <a:pt x="1190" y="268"/>
                    </a:moveTo>
                    <a:cubicBezTo>
                      <a:pt x="1167" y="255"/>
                      <a:pt x="1138" y="263"/>
                      <a:pt x="1125" y="286"/>
                    </a:cubicBezTo>
                    <a:cubicBezTo>
                      <a:pt x="1119" y="297"/>
                      <a:pt x="1117" y="310"/>
                      <a:pt x="1120" y="322"/>
                    </a:cubicBezTo>
                    <a:cubicBezTo>
                      <a:pt x="1121" y="343"/>
                      <a:pt x="1116" y="365"/>
                      <a:pt x="1105" y="385"/>
                    </a:cubicBezTo>
                    <a:cubicBezTo>
                      <a:pt x="1072" y="441"/>
                      <a:pt x="1000" y="460"/>
                      <a:pt x="944" y="428"/>
                    </a:cubicBezTo>
                    <a:cubicBezTo>
                      <a:pt x="888" y="395"/>
                      <a:pt x="868" y="323"/>
                      <a:pt x="901" y="267"/>
                    </a:cubicBezTo>
                    <a:cubicBezTo>
                      <a:pt x="913" y="246"/>
                      <a:pt x="930" y="231"/>
                      <a:pt x="950" y="221"/>
                    </a:cubicBezTo>
                    <a:cubicBezTo>
                      <a:pt x="961" y="217"/>
                      <a:pt x="970" y="210"/>
                      <a:pt x="976" y="200"/>
                    </a:cubicBezTo>
                    <a:cubicBezTo>
                      <a:pt x="987" y="179"/>
                      <a:pt x="983" y="154"/>
                      <a:pt x="966" y="140"/>
                    </a:cubicBezTo>
                    <a:cubicBezTo>
                      <a:pt x="964" y="138"/>
                      <a:pt x="961" y="136"/>
                      <a:pt x="958" y="134"/>
                    </a:cubicBezTo>
                    <a:cubicBezTo>
                      <a:pt x="726" y="0"/>
                      <a:pt x="726" y="0"/>
                      <a:pt x="726" y="0"/>
                    </a:cubicBezTo>
                    <a:cubicBezTo>
                      <a:pt x="633" y="160"/>
                      <a:pt x="460" y="267"/>
                      <a:pt x="262" y="267"/>
                    </a:cubicBezTo>
                    <a:cubicBezTo>
                      <a:pt x="262" y="536"/>
                      <a:pt x="262" y="536"/>
                      <a:pt x="262" y="536"/>
                    </a:cubicBezTo>
                    <a:cubicBezTo>
                      <a:pt x="262" y="539"/>
                      <a:pt x="262" y="542"/>
                      <a:pt x="261" y="546"/>
                    </a:cubicBezTo>
                    <a:cubicBezTo>
                      <a:pt x="257" y="567"/>
                      <a:pt x="237" y="584"/>
                      <a:pt x="214" y="584"/>
                    </a:cubicBezTo>
                    <a:cubicBezTo>
                      <a:pt x="202" y="584"/>
                      <a:pt x="191" y="580"/>
                      <a:pt x="183" y="572"/>
                    </a:cubicBezTo>
                    <a:cubicBezTo>
                      <a:pt x="164" y="560"/>
                      <a:pt x="142" y="553"/>
                      <a:pt x="118" y="553"/>
                    </a:cubicBezTo>
                    <a:cubicBezTo>
                      <a:pt x="53" y="553"/>
                      <a:pt x="0" y="606"/>
                      <a:pt x="0" y="671"/>
                    </a:cubicBezTo>
                    <a:cubicBezTo>
                      <a:pt x="0" y="736"/>
                      <a:pt x="53" y="788"/>
                      <a:pt x="118" y="788"/>
                    </a:cubicBezTo>
                    <a:cubicBezTo>
                      <a:pt x="141" y="788"/>
                      <a:pt x="162" y="782"/>
                      <a:pt x="180" y="770"/>
                    </a:cubicBezTo>
                    <a:cubicBezTo>
                      <a:pt x="189" y="762"/>
                      <a:pt x="201" y="756"/>
                      <a:pt x="214" y="756"/>
                    </a:cubicBezTo>
                    <a:cubicBezTo>
                      <a:pt x="241" y="756"/>
                      <a:pt x="262" y="778"/>
                      <a:pt x="262" y="804"/>
                    </a:cubicBezTo>
                    <a:cubicBezTo>
                      <a:pt x="262" y="807"/>
                      <a:pt x="262" y="807"/>
                      <a:pt x="262" y="807"/>
                    </a:cubicBezTo>
                    <a:cubicBezTo>
                      <a:pt x="262" y="1056"/>
                      <a:pt x="262" y="1056"/>
                      <a:pt x="262" y="1056"/>
                    </a:cubicBezTo>
                    <a:cubicBezTo>
                      <a:pt x="752" y="1056"/>
                      <a:pt x="1180" y="790"/>
                      <a:pt x="1409" y="394"/>
                    </a:cubicBezTo>
                    <a:cubicBezTo>
                      <a:pt x="1192" y="269"/>
                      <a:pt x="1192" y="269"/>
                      <a:pt x="1192" y="269"/>
                    </a:cubicBezTo>
                    <a:cubicBezTo>
                      <a:pt x="1192" y="269"/>
                      <a:pt x="1190" y="268"/>
                      <a:pt x="1190" y="26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C273D10B-F786-42D3-9573-8986BD0F20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6058" y="2795001"/>
                <a:ext cx="1143205" cy="1848195"/>
              </a:xfrm>
              <a:custGeom>
                <a:avLst/>
                <a:gdLst/>
                <a:ahLst/>
                <a:cxnLst>
                  <a:cxn ang="0">
                    <a:pos x="683" y="0"/>
                  </a:cxn>
                  <a:cxn ang="0">
                    <a:pos x="466" y="125"/>
                  </a:cxn>
                  <a:cxn ang="0">
                    <a:pos x="464" y="126"/>
                  </a:cxn>
                  <a:cxn ang="0">
                    <a:pos x="447" y="191"/>
                  </a:cxn>
                  <a:cxn ang="0">
                    <a:pos x="476" y="214"/>
                  </a:cxn>
                  <a:cxn ang="0">
                    <a:pos x="523" y="259"/>
                  </a:cxn>
                  <a:cxn ang="0">
                    <a:pos x="480" y="419"/>
                  </a:cxn>
                  <a:cxn ang="0">
                    <a:pos x="319" y="376"/>
                  </a:cxn>
                  <a:cxn ang="0">
                    <a:pos x="303" y="310"/>
                  </a:cxn>
                  <a:cxn ang="0">
                    <a:pos x="298" y="278"/>
                  </a:cxn>
                  <a:cxn ang="0">
                    <a:pos x="241" y="256"/>
                  </a:cxn>
                  <a:cxn ang="0">
                    <a:pos x="232" y="260"/>
                  </a:cxn>
                  <a:cxn ang="0">
                    <a:pos x="0" y="394"/>
                  </a:cxn>
                  <a:cxn ang="0">
                    <a:pos x="71" y="662"/>
                  </a:cxn>
                  <a:cxn ang="0">
                    <a:pos x="0" y="930"/>
                  </a:cxn>
                  <a:cxn ang="0">
                    <a:pos x="232" y="1064"/>
                  </a:cxn>
                  <a:cxn ang="0">
                    <a:pos x="240" y="1070"/>
                  </a:cxn>
                  <a:cxn ang="0">
                    <a:pos x="250" y="1130"/>
                  </a:cxn>
                  <a:cxn ang="0">
                    <a:pos x="224" y="1151"/>
                  </a:cxn>
                  <a:cxn ang="0">
                    <a:pos x="175" y="1197"/>
                  </a:cxn>
                  <a:cxn ang="0">
                    <a:pos x="218" y="1358"/>
                  </a:cxn>
                  <a:cxn ang="0">
                    <a:pos x="379" y="1315"/>
                  </a:cxn>
                  <a:cxn ang="0">
                    <a:pos x="394" y="1252"/>
                  </a:cxn>
                  <a:cxn ang="0">
                    <a:pos x="399" y="1216"/>
                  </a:cxn>
                  <a:cxn ang="0">
                    <a:pos x="464" y="1198"/>
                  </a:cxn>
                  <a:cxn ang="0">
                    <a:pos x="466" y="1199"/>
                  </a:cxn>
                  <a:cxn ang="0">
                    <a:pos x="683" y="1324"/>
                  </a:cxn>
                  <a:cxn ang="0">
                    <a:pos x="860" y="662"/>
                  </a:cxn>
                  <a:cxn ang="0">
                    <a:pos x="683" y="0"/>
                  </a:cxn>
                </a:cxnLst>
                <a:rect l="0" t="0" r="r" b="b"/>
                <a:pathLst>
                  <a:path w="860" h="1390">
                    <a:moveTo>
                      <a:pt x="683" y="0"/>
                    </a:moveTo>
                    <a:cubicBezTo>
                      <a:pt x="466" y="125"/>
                      <a:pt x="466" y="125"/>
                      <a:pt x="466" y="125"/>
                    </a:cubicBezTo>
                    <a:cubicBezTo>
                      <a:pt x="466" y="125"/>
                      <a:pt x="464" y="126"/>
                      <a:pt x="464" y="126"/>
                    </a:cubicBezTo>
                    <a:cubicBezTo>
                      <a:pt x="441" y="139"/>
                      <a:pt x="434" y="168"/>
                      <a:pt x="447" y="191"/>
                    </a:cubicBezTo>
                    <a:cubicBezTo>
                      <a:pt x="454" y="203"/>
                      <a:pt x="464" y="211"/>
                      <a:pt x="476" y="214"/>
                    </a:cubicBezTo>
                    <a:cubicBezTo>
                      <a:pt x="495" y="224"/>
                      <a:pt x="511" y="239"/>
                      <a:pt x="523" y="259"/>
                    </a:cubicBezTo>
                    <a:cubicBezTo>
                      <a:pt x="555" y="315"/>
                      <a:pt x="536" y="387"/>
                      <a:pt x="480" y="419"/>
                    </a:cubicBezTo>
                    <a:cubicBezTo>
                      <a:pt x="423" y="452"/>
                      <a:pt x="351" y="433"/>
                      <a:pt x="319" y="376"/>
                    </a:cubicBezTo>
                    <a:cubicBezTo>
                      <a:pt x="307" y="356"/>
                      <a:pt x="302" y="333"/>
                      <a:pt x="303" y="310"/>
                    </a:cubicBezTo>
                    <a:cubicBezTo>
                      <a:pt x="305" y="300"/>
                      <a:pt x="304" y="288"/>
                      <a:pt x="298" y="278"/>
                    </a:cubicBezTo>
                    <a:cubicBezTo>
                      <a:pt x="286" y="257"/>
                      <a:pt x="262" y="249"/>
                      <a:pt x="241" y="256"/>
                    </a:cubicBezTo>
                    <a:cubicBezTo>
                      <a:pt x="238" y="257"/>
                      <a:pt x="235" y="258"/>
                      <a:pt x="232" y="260"/>
                    </a:cubicBezTo>
                    <a:cubicBezTo>
                      <a:pt x="0" y="394"/>
                      <a:pt x="0" y="394"/>
                      <a:pt x="0" y="394"/>
                    </a:cubicBezTo>
                    <a:cubicBezTo>
                      <a:pt x="45" y="473"/>
                      <a:pt x="71" y="564"/>
                      <a:pt x="71" y="662"/>
                    </a:cubicBezTo>
                    <a:cubicBezTo>
                      <a:pt x="71" y="760"/>
                      <a:pt x="45" y="851"/>
                      <a:pt x="0" y="930"/>
                    </a:cubicBezTo>
                    <a:cubicBezTo>
                      <a:pt x="232" y="1064"/>
                      <a:pt x="232" y="1064"/>
                      <a:pt x="232" y="1064"/>
                    </a:cubicBezTo>
                    <a:cubicBezTo>
                      <a:pt x="235" y="1066"/>
                      <a:pt x="238" y="1068"/>
                      <a:pt x="240" y="1070"/>
                    </a:cubicBezTo>
                    <a:cubicBezTo>
                      <a:pt x="257" y="1084"/>
                      <a:pt x="261" y="1109"/>
                      <a:pt x="250" y="1130"/>
                    </a:cubicBezTo>
                    <a:cubicBezTo>
                      <a:pt x="244" y="1140"/>
                      <a:pt x="235" y="1147"/>
                      <a:pt x="224" y="1151"/>
                    </a:cubicBezTo>
                    <a:cubicBezTo>
                      <a:pt x="204" y="1161"/>
                      <a:pt x="187" y="1176"/>
                      <a:pt x="175" y="1197"/>
                    </a:cubicBezTo>
                    <a:cubicBezTo>
                      <a:pt x="142" y="1253"/>
                      <a:pt x="162" y="1325"/>
                      <a:pt x="218" y="1358"/>
                    </a:cubicBezTo>
                    <a:cubicBezTo>
                      <a:pt x="274" y="1390"/>
                      <a:pt x="346" y="1371"/>
                      <a:pt x="379" y="1315"/>
                    </a:cubicBezTo>
                    <a:cubicBezTo>
                      <a:pt x="390" y="1295"/>
                      <a:pt x="395" y="1273"/>
                      <a:pt x="394" y="1252"/>
                    </a:cubicBezTo>
                    <a:cubicBezTo>
                      <a:pt x="391" y="1240"/>
                      <a:pt x="393" y="1227"/>
                      <a:pt x="399" y="1216"/>
                    </a:cubicBezTo>
                    <a:cubicBezTo>
                      <a:pt x="412" y="1193"/>
                      <a:pt x="441" y="1185"/>
                      <a:pt x="464" y="1198"/>
                    </a:cubicBezTo>
                    <a:cubicBezTo>
                      <a:pt x="464" y="1198"/>
                      <a:pt x="466" y="1199"/>
                      <a:pt x="466" y="1199"/>
                    </a:cubicBezTo>
                    <a:cubicBezTo>
                      <a:pt x="683" y="1324"/>
                      <a:pt x="683" y="1324"/>
                      <a:pt x="683" y="1324"/>
                    </a:cubicBezTo>
                    <a:cubicBezTo>
                      <a:pt x="795" y="1129"/>
                      <a:pt x="860" y="903"/>
                      <a:pt x="860" y="662"/>
                    </a:cubicBezTo>
                    <a:cubicBezTo>
                      <a:pt x="860" y="421"/>
                      <a:pt x="795" y="195"/>
                      <a:pt x="683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_color1">
                <a:extLst>
                  <a:ext uri="{FF2B5EF4-FFF2-40B4-BE49-F238E27FC236}">
                    <a16:creationId xmlns:a16="http://schemas.microsoft.com/office/drawing/2014/main" id="{6DAA09C6-1784-405D-BC51-F8E848F8B8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8581" y="1914801"/>
                <a:ext cx="1525398" cy="1481257"/>
              </a:xfrm>
              <a:custGeom>
                <a:avLst/>
                <a:gdLst/>
                <a:ahLst/>
                <a:cxnLst>
                  <a:cxn ang="0">
                    <a:pos x="705" y="918"/>
                  </a:cxn>
                  <a:cxn ang="0">
                    <a:pos x="762" y="940"/>
                  </a:cxn>
                  <a:cxn ang="0">
                    <a:pos x="767" y="972"/>
                  </a:cxn>
                  <a:cxn ang="0">
                    <a:pos x="783" y="1038"/>
                  </a:cxn>
                  <a:cxn ang="0">
                    <a:pos x="944" y="1081"/>
                  </a:cxn>
                  <a:cxn ang="0">
                    <a:pos x="987" y="921"/>
                  </a:cxn>
                  <a:cxn ang="0">
                    <a:pos x="940" y="876"/>
                  </a:cxn>
                  <a:cxn ang="0">
                    <a:pos x="911" y="853"/>
                  </a:cxn>
                  <a:cxn ang="0">
                    <a:pos x="928" y="788"/>
                  </a:cxn>
                  <a:cxn ang="0">
                    <a:pos x="930" y="787"/>
                  </a:cxn>
                  <a:cxn ang="0">
                    <a:pos x="930" y="787"/>
                  </a:cxn>
                  <a:cxn ang="0">
                    <a:pos x="1147" y="662"/>
                  </a:cxn>
                  <a:cxn ang="0">
                    <a:pos x="0" y="0"/>
                  </a:cxn>
                  <a:cxn ang="0">
                    <a:pos x="0" y="251"/>
                  </a:cxn>
                  <a:cxn ang="0">
                    <a:pos x="0" y="251"/>
                  </a:cxn>
                  <a:cxn ang="0">
                    <a:pos x="0" y="252"/>
                  </a:cxn>
                  <a:cxn ang="0">
                    <a:pos x="48" y="300"/>
                  </a:cxn>
                  <a:cxn ang="0">
                    <a:pos x="82" y="286"/>
                  </a:cxn>
                  <a:cxn ang="0">
                    <a:pos x="144" y="268"/>
                  </a:cxn>
                  <a:cxn ang="0">
                    <a:pos x="262" y="385"/>
                  </a:cxn>
                  <a:cxn ang="0">
                    <a:pos x="144" y="503"/>
                  </a:cxn>
                  <a:cxn ang="0">
                    <a:pos x="79" y="484"/>
                  </a:cxn>
                  <a:cxn ang="0">
                    <a:pos x="48" y="472"/>
                  </a:cxn>
                  <a:cxn ang="0">
                    <a:pos x="1" y="510"/>
                  </a:cxn>
                  <a:cxn ang="0">
                    <a:pos x="0" y="520"/>
                  </a:cxn>
                  <a:cxn ang="0">
                    <a:pos x="0" y="789"/>
                  </a:cxn>
                  <a:cxn ang="0">
                    <a:pos x="464" y="1056"/>
                  </a:cxn>
                  <a:cxn ang="0">
                    <a:pos x="696" y="922"/>
                  </a:cxn>
                  <a:cxn ang="0">
                    <a:pos x="705" y="918"/>
                  </a:cxn>
                </a:cxnLst>
                <a:rect l="0" t="0" r="r" b="b"/>
                <a:pathLst>
                  <a:path w="1147" h="1114">
                    <a:moveTo>
                      <a:pt x="705" y="918"/>
                    </a:moveTo>
                    <a:cubicBezTo>
                      <a:pt x="726" y="911"/>
                      <a:pt x="750" y="919"/>
                      <a:pt x="762" y="940"/>
                    </a:cubicBezTo>
                    <a:cubicBezTo>
                      <a:pt x="768" y="950"/>
                      <a:pt x="769" y="962"/>
                      <a:pt x="767" y="972"/>
                    </a:cubicBezTo>
                    <a:cubicBezTo>
                      <a:pt x="766" y="995"/>
                      <a:pt x="771" y="1018"/>
                      <a:pt x="783" y="1038"/>
                    </a:cubicBezTo>
                    <a:cubicBezTo>
                      <a:pt x="815" y="1095"/>
                      <a:pt x="887" y="1114"/>
                      <a:pt x="944" y="1081"/>
                    </a:cubicBezTo>
                    <a:cubicBezTo>
                      <a:pt x="1000" y="1049"/>
                      <a:pt x="1019" y="977"/>
                      <a:pt x="987" y="921"/>
                    </a:cubicBezTo>
                    <a:cubicBezTo>
                      <a:pt x="975" y="901"/>
                      <a:pt x="959" y="886"/>
                      <a:pt x="940" y="876"/>
                    </a:cubicBezTo>
                    <a:cubicBezTo>
                      <a:pt x="928" y="873"/>
                      <a:pt x="918" y="865"/>
                      <a:pt x="911" y="853"/>
                    </a:cubicBezTo>
                    <a:cubicBezTo>
                      <a:pt x="898" y="830"/>
                      <a:pt x="905" y="801"/>
                      <a:pt x="928" y="788"/>
                    </a:cubicBezTo>
                    <a:cubicBezTo>
                      <a:pt x="928" y="788"/>
                      <a:pt x="930" y="787"/>
                      <a:pt x="930" y="787"/>
                    </a:cubicBezTo>
                    <a:cubicBezTo>
                      <a:pt x="930" y="787"/>
                      <a:pt x="930" y="787"/>
                      <a:pt x="930" y="787"/>
                    </a:cubicBezTo>
                    <a:cubicBezTo>
                      <a:pt x="1147" y="662"/>
                      <a:pt x="1147" y="662"/>
                      <a:pt x="1147" y="662"/>
                    </a:cubicBezTo>
                    <a:cubicBezTo>
                      <a:pt x="918" y="266"/>
                      <a:pt x="490" y="0"/>
                      <a:pt x="0" y="0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78"/>
                      <a:pt x="21" y="300"/>
                      <a:pt x="48" y="300"/>
                    </a:cubicBezTo>
                    <a:cubicBezTo>
                      <a:pt x="61" y="300"/>
                      <a:pt x="73" y="294"/>
                      <a:pt x="82" y="286"/>
                    </a:cubicBezTo>
                    <a:cubicBezTo>
                      <a:pt x="100" y="274"/>
                      <a:pt x="121" y="268"/>
                      <a:pt x="144" y="268"/>
                    </a:cubicBezTo>
                    <a:cubicBezTo>
                      <a:pt x="209" y="268"/>
                      <a:pt x="262" y="320"/>
                      <a:pt x="262" y="385"/>
                    </a:cubicBezTo>
                    <a:cubicBezTo>
                      <a:pt x="262" y="450"/>
                      <a:pt x="209" y="503"/>
                      <a:pt x="144" y="503"/>
                    </a:cubicBezTo>
                    <a:cubicBezTo>
                      <a:pt x="120" y="503"/>
                      <a:pt x="98" y="496"/>
                      <a:pt x="79" y="484"/>
                    </a:cubicBezTo>
                    <a:cubicBezTo>
                      <a:pt x="71" y="476"/>
                      <a:pt x="60" y="472"/>
                      <a:pt x="48" y="472"/>
                    </a:cubicBezTo>
                    <a:cubicBezTo>
                      <a:pt x="25" y="472"/>
                      <a:pt x="5" y="489"/>
                      <a:pt x="1" y="510"/>
                    </a:cubicBezTo>
                    <a:cubicBezTo>
                      <a:pt x="0" y="514"/>
                      <a:pt x="0" y="517"/>
                      <a:pt x="0" y="520"/>
                    </a:cubicBezTo>
                    <a:cubicBezTo>
                      <a:pt x="0" y="789"/>
                      <a:pt x="0" y="789"/>
                      <a:pt x="0" y="789"/>
                    </a:cubicBezTo>
                    <a:cubicBezTo>
                      <a:pt x="198" y="789"/>
                      <a:pt x="371" y="896"/>
                      <a:pt x="464" y="1056"/>
                    </a:cubicBezTo>
                    <a:cubicBezTo>
                      <a:pt x="696" y="922"/>
                      <a:pt x="696" y="922"/>
                      <a:pt x="696" y="922"/>
                    </a:cubicBezTo>
                    <a:cubicBezTo>
                      <a:pt x="699" y="920"/>
                      <a:pt x="702" y="919"/>
                      <a:pt x="705" y="91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" name="Gruppieren 1">
              <a:extLst>
                <a:ext uri="{FF2B5EF4-FFF2-40B4-BE49-F238E27FC236}">
                  <a16:creationId xmlns:a16="http://schemas.microsoft.com/office/drawing/2014/main" id="{7081E75E-1D2B-4877-BDB9-554EB84A55BC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sp>
            <p:nvSpPr>
              <p:cNvPr id="5" name="Text Box 13" descr="PresentationLoad.com">
                <a:extLst>
                  <a:ext uri="{FF2B5EF4-FFF2-40B4-BE49-F238E27FC236}">
                    <a16:creationId xmlns:a16="http://schemas.microsoft.com/office/drawing/2014/main" id="{43611691-4A75-42B0-86A3-B84A010CBD9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E0FC6643-218E-4E8A-954E-5E53A124C51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172EA0D6-0D21-4906-B3C7-777C15076F2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42AA7F90-1ACE-4172-9A0D-B5196CBDCDE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9" name="Gerade Verbindung 26" descr="PresentationLoad.com">
                <a:extLst>
                  <a:ext uri="{FF2B5EF4-FFF2-40B4-BE49-F238E27FC236}">
                    <a16:creationId xmlns:a16="http://schemas.microsoft.com/office/drawing/2014/main" id="{80D6E6AA-70AD-4C7F-8E16-B53182470A34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0" name="Gerade Verbindung 27" descr="PresentationLoad.com">
                <a:extLst>
                  <a:ext uri="{FF2B5EF4-FFF2-40B4-BE49-F238E27FC236}">
                    <a16:creationId xmlns:a16="http://schemas.microsoft.com/office/drawing/2014/main" id="{CE802ACD-B8A4-4479-8460-A5C6CC2F0D2B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1" name="Text Box 13" descr="PresentationLoad.com">
                <a:extLst>
                  <a:ext uri="{FF2B5EF4-FFF2-40B4-BE49-F238E27FC236}">
                    <a16:creationId xmlns:a16="http://schemas.microsoft.com/office/drawing/2014/main" id="{135604BC-A587-4406-9B14-950B4BC0B8A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2" name="Gerade Verbindung 59" descr="PresentationLoad.com">
                <a:extLst>
                  <a:ext uri="{FF2B5EF4-FFF2-40B4-BE49-F238E27FC236}">
                    <a16:creationId xmlns:a16="http://schemas.microsoft.com/office/drawing/2014/main" id="{2076ED8F-0737-4D54-8FB2-5BF945062907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3" name="Gerade Verbindung 61" descr="PresentationLoad.com">
                <a:extLst>
                  <a:ext uri="{FF2B5EF4-FFF2-40B4-BE49-F238E27FC236}">
                    <a16:creationId xmlns:a16="http://schemas.microsoft.com/office/drawing/2014/main" id="{CA1A4181-8BD0-46B3-AEB3-17535575B48C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4" name="Text Box 13" descr="PresentationLoad.com">
                <a:extLst>
                  <a:ext uri="{FF2B5EF4-FFF2-40B4-BE49-F238E27FC236}">
                    <a16:creationId xmlns:a16="http://schemas.microsoft.com/office/drawing/2014/main" id="{5C8D905F-3EEF-4D05-AD25-90BE88E31AF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3352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829C9C73-FF72-4952-B032-5EF4F8B9DC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179846"/>
            <a:ext cx="11109600" cy="1080000"/>
          </a:xfrm>
        </p:spPr>
        <p:txBody>
          <a:bodyPr/>
          <a:lstStyle/>
          <a:p>
            <a:r>
              <a:rPr lang="en-US" dirty="0"/>
              <a:t>PROJECT PLAN GANTT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499CD5E1-700B-4047-9588-C0A68B6C97B8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antt table with calendar weeks and % complete status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EBC4FA78-358E-46DD-A405-EF14E09D74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0870737"/>
              </p:ext>
            </p:extLst>
          </p:nvPr>
        </p:nvGraphicFramePr>
        <p:xfrm>
          <a:off x="539750" y="1511300"/>
          <a:ext cx="2170035" cy="429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3060692174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1238533768"/>
                    </a:ext>
                  </a:extLst>
                </a:gridCol>
              </a:tblGrid>
              <a:tr h="2668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2876343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15068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7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097178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417680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316120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85087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909505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863298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352343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01960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74038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62817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099044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468977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75658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62716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677931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50374"/>
                  </a:ext>
                </a:extLst>
              </a:tr>
            </a:tbl>
          </a:graphicData>
        </a:graphic>
      </p:graphicFrame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E358E6F-5830-4CB2-A52E-BF4B7ED6B8FB}"/>
              </a:ext>
            </a:extLst>
          </p:cNvPr>
          <p:cNvGraphicFramePr>
            <a:graphicFrameLocks/>
          </p:cNvGraphicFramePr>
          <p:nvPr/>
        </p:nvGraphicFramePr>
        <p:xfrm>
          <a:off x="2790825" y="1511300"/>
          <a:ext cx="8858445" cy="4298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695">
                  <a:extLst>
                    <a:ext uri="{9D8B030D-6E8A-4147-A177-3AD203B41FA5}">
                      <a16:colId xmlns:a16="http://schemas.microsoft.com/office/drawing/2014/main" val="317024709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4746210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43448895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4490115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9040709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78554326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57763391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88707220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9791132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61472658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17882929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3873246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54105353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287364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80819176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84771826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2365130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68446653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1358760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2571630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5141865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85890314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3054426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28188212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186248732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91256025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6179098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3888158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061932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713651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0363133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3127433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907805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5384582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0184334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7848959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9669726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475089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19139016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08518148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61635159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81436466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63027980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4391916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6448080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13070140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74603595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808314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2818721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77046009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152888385"/>
                    </a:ext>
                  </a:extLst>
                </a:gridCol>
              </a:tblGrid>
              <a:tr h="238831"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4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5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5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4499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31932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72255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0989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2603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8530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76973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01645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525942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44515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32237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37710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02997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43629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07869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41711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4081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244427"/>
                  </a:ext>
                </a:extLst>
              </a:tr>
            </a:tbl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BBD28703-E831-4D08-8510-67BC2FA1D4A3}"/>
              </a:ext>
            </a:extLst>
          </p:cNvPr>
          <p:cNvSpPr/>
          <p:nvPr/>
        </p:nvSpPr>
        <p:spPr>
          <a:xfrm>
            <a:off x="9780628" y="885907"/>
            <a:ext cx="1868972" cy="310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SHAPE TEMPLATES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9D53EBFC-1755-43F2-9DC9-6DBB1BCAFB31}"/>
              </a:ext>
            </a:extLst>
          </p:cNvPr>
          <p:cNvSpPr/>
          <p:nvPr/>
        </p:nvSpPr>
        <p:spPr>
          <a:xfrm>
            <a:off x="10363059" y="1233124"/>
            <a:ext cx="644892" cy="198588"/>
          </a:xfrm>
          <a:prstGeom prst="downArrow">
            <a:avLst>
              <a:gd name="adj1" fmla="val 50000"/>
              <a:gd name="adj2" fmla="val 7064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0" name="Rechteck: abgerundete Ecken 266">
            <a:extLst>
              <a:ext uri="{FF2B5EF4-FFF2-40B4-BE49-F238E27FC236}">
                <a16:creationId xmlns:a16="http://schemas.microsoft.com/office/drawing/2014/main" id="{BD81F076-E976-4857-A7BF-ADDE24AB0722}"/>
              </a:ext>
            </a:extLst>
          </p:cNvPr>
          <p:cNvSpPr/>
          <p:nvPr/>
        </p:nvSpPr>
        <p:spPr bwMode="gray">
          <a:xfrm>
            <a:off x="3447226" y="2045721"/>
            <a:ext cx="1540702" cy="148084"/>
          </a:xfrm>
          <a:prstGeom prst="roundRect">
            <a:avLst/>
          </a:prstGeom>
          <a:gradFill>
            <a:gsLst>
              <a:gs pos="75000">
                <a:schemeClr val="accent3">
                  <a:lumMod val="50000"/>
                </a:schemeClr>
              </a:gs>
              <a:gs pos="7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1" name="Rechteck: abgerundete Ecken 267">
            <a:extLst>
              <a:ext uri="{FF2B5EF4-FFF2-40B4-BE49-F238E27FC236}">
                <a16:creationId xmlns:a16="http://schemas.microsoft.com/office/drawing/2014/main" id="{25C7F189-A99A-4ABF-842B-EADA8F6917B9}"/>
              </a:ext>
            </a:extLst>
          </p:cNvPr>
          <p:cNvSpPr/>
          <p:nvPr/>
        </p:nvSpPr>
        <p:spPr bwMode="gray">
          <a:xfrm>
            <a:off x="3447225" y="2283376"/>
            <a:ext cx="1532979" cy="148084"/>
          </a:xfrm>
          <a:prstGeom prst="roundRect">
            <a:avLst/>
          </a:prstGeom>
          <a:gradFill>
            <a:gsLst>
              <a:gs pos="50000">
                <a:schemeClr val="accent3">
                  <a:lumMod val="50000"/>
                </a:schemeClr>
              </a:gs>
              <a:gs pos="5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12" name="Rechteck: abgerundete Ecken 268">
            <a:extLst>
              <a:ext uri="{FF2B5EF4-FFF2-40B4-BE49-F238E27FC236}">
                <a16:creationId xmlns:a16="http://schemas.microsoft.com/office/drawing/2014/main" id="{DC9CB43F-62B9-4789-BD30-8C43BA9ABE10}"/>
              </a:ext>
            </a:extLst>
          </p:cNvPr>
          <p:cNvSpPr/>
          <p:nvPr/>
        </p:nvSpPr>
        <p:spPr bwMode="gray">
          <a:xfrm>
            <a:off x="4594797" y="2521031"/>
            <a:ext cx="1414856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3" name="Rechteck: abgerundete Ecken 269">
            <a:extLst>
              <a:ext uri="{FF2B5EF4-FFF2-40B4-BE49-F238E27FC236}">
                <a16:creationId xmlns:a16="http://schemas.microsoft.com/office/drawing/2014/main" id="{D3C1E2ED-F223-4B13-A8FF-91BDC80758CF}"/>
              </a:ext>
            </a:extLst>
          </p:cNvPr>
          <p:cNvSpPr/>
          <p:nvPr/>
        </p:nvSpPr>
        <p:spPr bwMode="gray">
          <a:xfrm>
            <a:off x="6009652" y="2758686"/>
            <a:ext cx="1365400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Rechteck: abgerundete Ecken 271">
            <a:extLst>
              <a:ext uri="{FF2B5EF4-FFF2-40B4-BE49-F238E27FC236}">
                <a16:creationId xmlns:a16="http://schemas.microsoft.com/office/drawing/2014/main" id="{C28FC257-C73E-43D0-B810-485C8E1C22A8}"/>
              </a:ext>
            </a:extLst>
          </p:cNvPr>
          <p:cNvSpPr/>
          <p:nvPr/>
        </p:nvSpPr>
        <p:spPr bwMode="gray">
          <a:xfrm>
            <a:off x="4467529" y="3233997"/>
            <a:ext cx="1711455" cy="148084"/>
          </a:xfrm>
          <a:prstGeom prst="roundRect">
            <a:avLst/>
          </a:prstGeom>
          <a:gradFill>
            <a:gsLst>
              <a:gs pos="90000">
                <a:schemeClr val="accent6">
                  <a:lumMod val="50000"/>
                </a:schemeClr>
              </a:gs>
              <a:gs pos="9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5" name="Rechteck: abgerundete Ecken 272">
            <a:extLst>
              <a:ext uri="{FF2B5EF4-FFF2-40B4-BE49-F238E27FC236}">
                <a16:creationId xmlns:a16="http://schemas.microsoft.com/office/drawing/2014/main" id="{FE3DC831-7665-4A0C-98F7-55ECB0C0EB49}"/>
              </a:ext>
            </a:extLst>
          </p:cNvPr>
          <p:cNvSpPr/>
          <p:nvPr/>
        </p:nvSpPr>
        <p:spPr bwMode="gray">
          <a:xfrm>
            <a:off x="5322147" y="3471652"/>
            <a:ext cx="1027200" cy="148084"/>
          </a:xfrm>
          <a:prstGeom prst="roundRect">
            <a:avLst/>
          </a:prstGeom>
          <a:gradFill>
            <a:gsLst>
              <a:gs pos="80000">
                <a:schemeClr val="accent6">
                  <a:lumMod val="50000"/>
                </a:schemeClr>
              </a:gs>
              <a:gs pos="8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6" name="Rechteck: abgerundete Ecken 273">
            <a:extLst>
              <a:ext uri="{FF2B5EF4-FFF2-40B4-BE49-F238E27FC236}">
                <a16:creationId xmlns:a16="http://schemas.microsoft.com/office/drawing/2014/main" id="{D5B6E6CB-EF1D-41A8-B421-026CDFC6E566}"/>
              </a:ext>
            </a:extLst>
          </p:cNvPr>
          <p:cNvSpPr/>
          <p:nvPr/>
        </p:nvSpPr>
        <p:spPr bwMode="gray">
          <a:xfrm>
            <a:off x="6349348" y="3709307"/>
            <a:ext cx="1715480" cy="148084"/>
          </a:xfrm>
          <a:prstGeom prst="roundRect">
            <a:avLst/>
          </a:prstGeom>
          <a:gradFill>
            <a:gsLst>
              <a:gs pos="40000">
                <a:schemeClr val="accent6">
                  <a:lumMod val="50000"/>
                </a:schemeClr>
              </a:gs>
              <a:gs pos="4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7" name="Rechteck: abgerundete Ecken 275">
            <a:extLst>
              <a:ext uri="{FF2B5EF4-FFF2-40B4-BE49-F238E27FC236}">
                <a16:creationId xmlns:a16="http://schemas.microsoft.com/office/drawing/2014/main" id="{C7A1E18C-6744-4A54-8D60-8C804AE2092A}"/>
              </a:ext>
            </a:extLst>
          </p:cNvPr>
          <p:cNvSpPr/>
          <p:nvPr/>
        </p:nvSpPr>
        <p:spPr bwMode="gray">
          <a:xfrm>
            <a:off x="4987928" y="4422272"/>
            <a:ext cx="1809754" cy="148084"/>
          </a:xfrm>
          <a:prstGeom prst="roundRect">
            <a:avLst/>
          </a:prstGeom>
          <a:gradFill>
            <a:gsLst>
              <a:gs pos="80000">
                <a:schemeClr val="accent1">
                  <a:lumMod val="50000"/>
                </a:schemeClr>
              </a:gs>
              <a:gs pos="8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8" name="Rechteck: abgerundete Ecken 276">
            <a:extLst>
              <a:ext uri="{FF2B5EF4-FFF2-40B4-BE49-F238E27FC236}">
                <a16:creationId xmlns:a16="http://schemas.microsoft.com/office/drawing/2014/main" id="{A62D7A26-4BAE-4157-9065-FDF83984150C}"/>
              </a:ext>
            </a:extLst>
          </p:cNvPr>
          <p:cNvSpPr/>
          <p:nvPr/>
        </p:nvSpPr>
        <p:spPr bwMode="gray">
          <a:xfrm>
            <a:off x="4987928" y="4659927"/>
            <a:ext cx="1809754" cy="148084"/>
          </a:xfrm>
          <a:prstGeom prst="roundRect">
            <a:avLst/>
          </a:prstGeom>
          <a:gradFill>
            <a:gsLst>
              <a:gs pos="30000">
                <a:schemeClr val="accent1">
                  <a:lumMod val="50000"/>
                </a:schemeClr>
              </a:gs>
              <a:gs pos="3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9" name="Rechteck: abgerundete Ecken 277">
            <a:extLst>
              <a:ext uri="{FF2B5EF4-FFF2-40B4-BE49-F238E27FC236}">
                <a16:creationId xmlns:a16="http://schemas.microsoft.com/office/drawing/2014/main" id="{1BA7C917-D36E-4821-B2B6-D28D87EA67D5}"/>
              </a:ext>
            </a:extLst>
          </p:cNvPr>
          <p:cNvSpPr/>
          <p:nvPr/>
        </p:nvSpPr>
        <p:spPr bwMode="gray">
          <a:xfrm>
            <a:off x="6860523" y="4897582"/>
            <a:ext cx="1718212" cy="148084"/>
          </a:xfrm>
          <a:prstGeom prst="roundRect">
            <a:avLst/>
          </a:prstGeom>
          <a:gradFill>
            <a:gsLst>
              <a:gs pos="50000">
                <a:schemeClr val="accent1">
                  <a:lumMod val="50000"/>
                </a:schemeClr>
              </a:gs>
              <a:gs pos="5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0" name="Rechteck: abgerundete Ecken 278">
            <a:extLst>
              <a:ext uri="{FF2B5EF4-FFF2-40B4-BE49-F238E27FC236}">
                <a16:creationId xmlns:a16="http://schemas.microsoft.com/office/drawing/2014/main" id="{E15089D0-2D5A-4567-9A0E-03B792FBB62C}"/>
              </a:ext>
            </a:extLst>
          </p:cNvPr>
          <p:cNvSpPr/>
          <p:nvPr/>
        </p:nvSpPr>
        <p:spPr bwMode="gray">
          <a:xfrm>
            <a:off x="6860523" y="5135237"/>
            <a:ext cx="1718212" cy="148084"/>
          </a:xfrm>
          <a:prstGeom prst="roundRect">
            <a:avLst/>
          </a:prstGeom>
          <a:gradFill>
            <a:gsLst>
              <a:gs pos="10000">
                <a:schemeClr val="accent1">
                  <a:lumMod val="50000"/>
                </a:schemeClr>
              </a:gs>
              <a:gs pos="1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1" name="Gerader Verbinder 10">
            <a:extLst>
              <a:ext uri="{FF2B5EF4-FFF2-40B4-BE49-F238E27FC236}">
                <a16:creationId xmlns:a16="http://schemas.microsoft.com/office/drawing/2014/main" id="{EDC7179E-918B-4D18-8412-146006E69C46}"/>
              </a:ext>
            </a:extLst>
          </p:cNvPr>
          <p:cNvCxnSpPr>
            <a:cxnSpLocks/>
          </p:cNvCxnSpPr>
          <p:nvPr/>
        </p:nvCxnSpPr>
        <p:spPr>
          <a:xfrm>
            <a:off x="3447226" y="1912438"/>
            <a:ext cx="3914525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81">
            <a:extLst>
              <a:ext uri="{FF2B5EF4-FFF2-40B4-BE49-F238E27FC236}">
                <a16:creationId xmlns:a16="http://schemas.microsoft.com/office/drawing/2014/main" id="{EF71002C-7E8A-4197-AFAE-B5203D60F934}"/>
              </a:ext>
            </a:extLst>
          </p:cNvPr>
          <p:cNvCxnSpPr>
            <a:cxnSpLocks/>
          </p:cNvCxnSpPr>
          <p:nvPr/>
        </p:nvCxnSpPr>
        <p:spPr>
          <a:xfrm>
            <a:off x="4467529" y="3087416"/>
            <a:ext cx="3585841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82">
            <a:extLst>
              <a:ext uri="{FF2B5EF4-FFF2-40B4-BE49-F238E27FC236}">
                <a16:creationId xmlns:a16="http://schemas.microsoft.com/office/drawing/2014/main" id="{E2F08285-A364-45F0-B481-B573745D66A9}"/>
              </a:ext>
            </a:extLst>
          </p:cNvPr>
          <p:cNvCxnSpPr>
            <a:cxnSpLocks/>
          </p:cNvCxnSpPr>
          <p:nvPr/>
        </p:nvCxnSpPr>
        <p:spPr>
          <a:xfrm>
            <a:off x="4980204" y="4286052"/>
            <a:ext cx="358523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: abgerundete Ecken 249">
            <a:extLst>
              <a:ext uri="{FF2B5EF4-FFF2-40B4-BE49-F238E27FC236}">
                <a16:creationId xmlns:a16="http://schemas.microsoft.com/office/drawing/2014/main" id="{AECDC89D-F5E1-4C01-9A7F-B3D67AA47E1D}"/>
              </a:ext>
            </a:extLst>
          </p:cNvPr>
          <p:cNvSpPr/>
          <p:nvPr/>
        </p:nvSpPr>
        <p:spPr bwMode="gray">
          <a:xfrm>
            <a:off x="9780628" y="2045721"/>
            <a:ext cx="1809754" cy="148084"/>
          </a:xfrm>
          <a:prstGeom prst="roundRect">
            <a:avLst/>
          </a:prstGeom>
          <a:gradFill>
            <a:gsLst>
              <a:gs pos="10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 (100%)</a:t>
            </a:r>
          </a:p>
        </p:txBody>
      </p:sp>
      <p:sp>
        <p:nvSpPr>
          <p:cNvPr id="25" name="Rechteck: abgerundete Ecken 250">
            <a:extLst>
              <a:ext uri="{FF2B5EF4-FFF2-40B4-BE49-F238E27FC236}">
                <a16:creationId xmlns:a16="http://schemas.microsoft.com/office/drawing/2014/main" id="{0FB9C374-EF89-44D7-BEF1-F36405D551BB}"/>
              </a:ext>
            </a:extLst>
          </p:cNvPr>
          <p:cNvSpPr/>
          <p:nvPr/>
        </p:nvSpPr>
        <p:spPr bwMode="gray">
          <a:xfrm>
            <a:off x="9780628" y="2283376"/>
            <a:ext cx="1809754" cy="148084"/>
          </a:xfrm>
          <a:prstGeom prst="roundRect">
            <a:avLst/>
          </a:prstGeom>
          <a:gradFill>
            <a:gsLst>
              <a:gs pos="75000">
                <a:schemeClr val="accent3">
                  <a:lumMod val="50000"/>
                </a:schemeClr>
              </a:gs>
              <a:gs pos="7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5%)</a:t>
            </a:r>
          </a:p>
        </p:txBody>
      </p:sp>
      <p:sp>
        <p:nvSpPr>
          <p:cNvPr id="26" name="Rechteck: abgerundete Ecken 251">
            <a:extLst>
              <a:ext uri="{FF2B5EF4-FFF2-40B4-BE49-F238E27FC236}">
                <a16:creationId xmlns:a16="http://schemas.microsoft.com/office/drawing/2014/main" id="{C18CFAAE-9E1F-47C5-B54B-3B390D6100DF}"/>
              </a:ext>
            </a:extLst>
          </p:cNvPr>
          <p:cNvSpPr/>
          <p:nvPr/>
        </p:nvSpPr>
        <p:spPr bwMode="gray">
          <a:xfrm>
            <a:off x="9780628" y="2521031"/>
            <a:ext cx="1809754" cy="148084"/>
          </a:xfrm>
          <a:prstGeom prst="roundRect">
            <a:avLst/>
          </a:prstGeom>
          <a:gradFill>
            <a:gsLst>
              <a:gs pos="50000">
                <a:schemeClr val="accent3">
                  <a:lumMod val="50000"/>
                </a:schemeClr>
              </a:gs>
              <a:gs pos="5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sp>
        <p:nvSpPr>
          <p:cNvPr id="27" name="Rechteck: abgerundete Ecken 252">
            <a:extLst>
              <a:ext uri="{FF2B5EF4-FFF2-40B4-BE49-F238E27FC236}">
                <a16:creationId xmlns:a16="http://schemas.microsoft.com/office/drawing/2014/main" id="{C9DDD6FA-9242-4CF8-8F7C-8FE17D155E14}"/>
              </a:ext>
            </a:extLst>
          </p:cNvPr>
          <p:cNvSpPr/>
          <p:nvPr/>
        </p:nvSpPr>
        <p:spPr bwMode="gray">
          <a:xfrm>
            <a:off x="9780628" y="2758686"/>
            <a:ext cx="1809754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5%)</a:t>
            </a:r>
          </a:p>
        </p:txBody>
      </p:sp>
      <p:sp>
        <p:nvSpPr>
          <p:cNvPr id="28" name="Rechteck: abgerundete Ecken 254">
            <a:extLst>
              <a:ext uri="{FF2B5EF4-FFF2-40B4-BE49-F238E27FC236}">
                <a16:creationId xmlns:a16="http://schemas.microsoft.com/office/drawing/2014/main" id="{B49F0C47-2974-41E6-A87E-9EB8FC2ED914}"/>
              </a:ext>
            </a:extLst>
          </p:cNvPr>
          <p:cNvSpPr/>
          <p:nvPr/>
        </p:nvSpPr>
        <p:spPr bwMode="gray">
          <a:xfrm>
            <a:off x="9780628" y="3233996"/>
            <a:ext cx="1809754" cy="148084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10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0%)</a:t>
            </a:r>
          </a:p>
        </p:txBody>
      </p:sp>
      <p:sp>
        <p:nvSpPr>
          <p:cNvPr id="29" name="Rechteck: abgerundete Ecken 255">
            <a:extLst>
              <a:ext uri="{FF2B5EF4-FFF2-40B4-BE49-F238E27FC236}">
                <a16:creationId xmlns:a16="http://schemas.microsoft.com/office/drawing/2014/main" id="{CA5E6FB5-FB18-4462-8141-BFC8A158C9CC}"/>
              </a:ext>
            </a:extLst>
          </p:cNvPr>
          <p:cNvSpPr/>
          <p:nvPr/>
        </p:nvSpPr>
        <p:spPr bwMode="gray">
          <a:xfrm>
            <a:off x="9780628" y="3471651"/>
            <a:ext cx="1809754" cy="148084"/>
          </a:xfrm>
          <a:prstGeom prst="roundRect">
            <a:avLst/>
          </a:prstGeom>
          <a:gradFill>
            <a:gsLst>
              <a:gs pos="75000">
                <a:schemeClr val="accent6">
                  <a:lumMod val="50000"/>
                </a:schemeClr>
              </a:gs>
              <a:gs pos="75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5%)</a:t>
            </a:r>
          </a:p>
        </p:txBody>
      </p:sp>
      <p:sp>
        <p:nvSpPr>
          <p:cNvPr id="30" name="Rechteck: abgerundete Ecken 256">
            <a:extLst>
              <a:ext uri="{FF2B5EF4-FFF2-40B4-BE49-F238E27FC236}">
                <a16:creationId xmlns:a16="http://schemas.microsoft.com/office/drawing/2014/main" id="{D5E2A056-900A-48CD-88A4-7A9FA7F01CC0}"/>
              </a:ext>
            </a:extLst>
          </p:cNvPr>
          <p:cNvSpPr/>
          <p:nvPr/>
        </p:nvSpPr>
        <p:spPr bwMode="gray">
          <a:xfrm>
            <a:off x="9780628" y="3709306"/>
            <a:ext cx="1809754" cy="148084"/>
          </a:xfrm>
          <a:prstGeom prst="roundRect">
            <a:avLst/>
          </a:prstGeom>
          <a:gradFill>
            <a:gsLst>
              <a:gs pos="50000">
                <a:schemeClr val="accent6">
                  <a:lumMod val="50000"/>
                </a:schemeClr>
              </a:gs>
              <a:gs pos="5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sp>
        <p:nvSpPr>
          <p:cNvPr id="31" name="Rechteck: abgerundete Ecken 257">
            <a:extLst>
              <a:ext uri="{FF2B5EF4-FFF2-40B4-BE49-F238E27FC236}">
                <a16:creationId xmlns:a16="http://schemas.microsoft.com/office/drawing/2014/main" id="{0689550C-F041-43FD-B8C9-6E670B4E99A3}"/>
              </a:ext>
            </a:extLst>
          </p:cNvPr>
          <p:cNvSpPr/>
          <p:nvPr/>
        </p:nvSpPr>
        <p:spPr bwMode="gray">
          <a:xfrm>
            <a:off x="9780628" y="3946961"/>
            <a:ext cx="1809754" cy="148084"/>
          </a:xfrm>
          <a:prstGeom prst="roundRect">
            <a:avLst/>
          </a:prstGeom>
          <a:gradFill>
            <a:gsLst>
              <a:gs pos="25000">
                <a:schemeClr val="accent6">
                  <a:lumMod val="50000"/>
                </a:schemeClr>
              </a:gs>
              <a:gs pos="25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5%)</a:t>
            </a:r>
          </a:p>
        </p:txBody>
      </p:sp>
      <p:sp>
        <p:nvSpPr>
          <p:cNvPr id="32" name="Rechteck: abgerundete Ecken 259">
            <a:extLst>
              <a:ext uri="{FF2B5EF4-FFF2-40B4-BE49-F238E27FC236}">
                <a16:creationId xmlns:a16="http://schemas.microsoft.com/office/drawing/2014/main" id="{4A16F8BB-6972-4DB5-84E6-131A138E0737}"/>
              </a:ext>
            </a:extLst>
          </p:cNvPr>
          <p:cNvSpPr/>
          <p:nvPr/>
        </p:nvSpPr>
        <p:spPr bwMode="gray">
          <a:xfrm>
            <a:off x="9780628" y="4422272"/>
            <a:ext cx="1809754" cy="148084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0%)</a:t>
            </a:r>
          </a:p>
        </p:txBody>
      </p:sp>
      <p:sp>
        <p:nvSpPr>
          <p:cNvPr id="33" name="Rechteck: abgerundete Ecken 260">
            <a:extLst>
              <a:ext uri="{FF2B5EF4-FFF2-40B4-BE49-F238E27FC236}">
                <a16:creationId xmlns:a16="http://schemas.microsoft.com/office/drawing/2014/main" id="{AAA2A7F9-474F-430B-9BF8-AADF19D4EFC0}"/>
              </a:ext>
            </a:extLst>
          </p:cNvPr>
          <p:cNvSpPr/>
          <p:nvPr/>
        </p:nvSpPr>
        <p:spPr bwMode="gray">
          <a:xfrm>
            <a:off x="9780628" y="4662631"/>
            <a:ext cx="1809754" cy="148084"/>
          </a:xfrm>
          <a:prstGeom prst="roundRect">
            <a:avLst/>
          </a:prstGeom>
          <a:gradFill>
            <a:gsLst>
              <a:gs pos="90000">
                <a:schemeClr val="accent1">
                  <a:lumMod val="50000"/>
                </a:schemeClr>
              </a:gs>
              <a:gs pos="9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90%)</a:t>
            </a:r>
          </a:p>
        </p:txBody>
      </p:sp>
      <p:sp>
        <p:nvSpPr>
          <p:cNvPr id="34" name="Rechteck: abgerundete Ecken 261">
            <a:extLst>
              <a:ext uri="{FF2B5EF4-FFF2-40B4-BE49-F238E27FC236}">
                <a16:creationId xmlns:a16="http://schemas.microsoft.com/office/drawing/2014/main" id="{445C9A8B-F6F2-4E10-ABA7-6605E5840462}"/>
              </a:ext>
            </a:extLst>
          </p:cNvPr>
          <p:cNvSpPr/>
          <p:nvPr/>
        </p:nvSpPr>
        <p:spPr bwMode="gray">
          <a:xfrm>
            <a:off x="9780628" y="4902990"/>
            <a:ext cx="1809754" cy="148084"/>
          </a:xfrm>
          <a:prstGeom prst="roundRect">
            <a:avLst/>
          </a:prstGeom>
          <a:gradFill>
            <a:gsLst>
              <a:gs pos="80000">
                <a:schemeClr val="accent1">
                  <a:lumMod val="50000"/>
                </a:schemeClr>
              </a:gs>
              <a:gs pos="8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80%)</a:t>
            </a:r>
          </a:p>
        </p:txBody>
      </p:sp>
      <p:sp>
        <p:nvSpPr>
          <p:cNvPr id="35" name="Rechteck: abgerundete Ecken 262">
            <a:extLst>
              <a:ext uri="{FF2B5EF4-FFF2-40B4-BE49-F238E27FC236}">
                <a16:creationId xmlns:a16="http://schemas.microsoft.com/office/drawing/2014/main" id="{A3B9E529-6BF4-485C-B7E1-3F753656495B}"/>
              </a:ext>
            </a:extLst>
          </p:cNvPr>
          <p:cNvSpPr/>
          <p:nvPr/>
        </p:nvSpPr>
        <p:spPr bwMode="gray">
          <a:xfrm>
            <a:off x="9780628" y="5143349"/>
            <a:ext cx="1809754" cy="148084"/>
          </a:xfrm>
          <a:prstGeom prst="roundRect">
            <a:avLst/>
          </a:prstGeom>
          <a:gradFill>
            <a:gsLst>
              <a:gs pos="70000">
                <a:schemeClr val="accent1">
                  <a:lumMod val="50000"/>
                </a:schemeClr>
              </a:gs>
              <a:gs pos="7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0%)</a:t>
            </a:r>
          </a:p>
        </p:txBody>
      </p:sp>
      <p:sp>
        <p:nvSpPr>
          <p:cNvPr id="36" name="Rechteck: abgerundete Ecken 312">
            <a:extLst>
              <a:ext uri="{FF2B5EF4-FFF2-40B4-BE49-F238E27FC236}">
                <a16:creationId xmlns:a16="http://schemas.microsoft.com/office/drawing/2014/main" id="{4B74B699-AE78-421C-8FCA-8968C8BD0D27}"/>
              </a:ext>
            </a:extLst>
          </p:cNvPr>
          <p:cNvSpPr/>
          <p:nvPr/>
        </p:nvSpPr>
        <p:spPr bwMode="gray">
          <a:xfrm>
            <a:off x="9780628" y="5383708"/>
            <a:ext cx="1809754" cy="148084"/>
          </a:xfrm>
          <a:prstGeom prst="roundRect">
            <a:avLst/>
          </a:prstGeom>
          <a:gradFill>
            <a:gsLst>
              <a:gs pos="60000">
                <a:schemeClr val="accent1">
                  <a:lumMod val="50000"/>
                </a:schemeClr>
              </a:gs>
              <a:gs pos="6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60%)</a:t>
            </a:r>
          </a:p>
        </p:txBody>
      </p:sp>
      <p:sp>
        <p:nvSpPr>
          <p:cNvPr id="37" name="Rechteck: abgerundete Ecken 327">
            <a:extLst>
              <a:ext uri="{FF2B5EF4-FFF2-40B4-BE49-F238E27FC236}">
                <a16:creationId xmlns:a16="http://schemas.microsoft.com/office/drawing/2014/main" id="{87EF169D-E13B-4731-B53B-EB26B944B658}"/>
              </a:ext>
            </a:extLst>
          </p:cNvPr>
          <p:cNvSpPr/>
          <p:nvPr/>
        </p:nvSpPr>
        <p:spPr bwMode="gray">
          <a:xfrm>
            <a:off x="9780628" y="5624066"/>
            <a:ext cx="1809754" cy="148084"/>
          </a:xfrm>
          <a:prstGeom prst="roundRect">
            <a:avLst/>
          </a:prstGeom>
          <a:gradFill>
            <a:gsLst>
              <a:gs pos="50000">
                <a:schemeClr val="accent1">
                  <a:lumMod val="50000"/>
                </a:schemeClr>
              </a:gs>
              <a:gs pos="5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cxnSp>
        <p:nvCxnSpPr>
          <p:cNvPr id="38" name="Gerader Verbinder 283">
            <a:extLst>
              <a:ext uri="{FF2B5EF4-FFF2-40B4-BE49-F238E27FC236}">
                <a16:creationId xmlns:a16="http://schemas.microsoft.com/office/drawing/2014/main" id="{DE922EE6-D113-4CC8-ABF6-7745CC0BB9BE}"/>
              </a:ext>
            </a:extLst>
          </p:cNvPr>
          <p:cNvCxnSpPr/>
          <p:nvPr/>
        </p:nvCxnSpPr>
        <p:spPr>
          <a:xfrm>
            <a:off x="9788878" y="1912438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284">
            <a:extLst>
              <a:ext uri="{FF2B5EF4-FFF2-40B4-BE49-F238E27FC236}">
                <a16:creationId xmlns:a16="http://schemas.microsoft.com/office/drawing/2014/main" id="{6539D6CB-2C04-48DD-98E0-8F847BB26D2C}"/>
              </a:ext>
            </a:extLst>
          </p:cNvPr>
          <p:cNvCxnSpPr/>
          <p:nvPr/>
        </p:nvCxnSpPr>
        <p:spPr>
          <a:xfrm>
            <a:off x="9788878" y="3087416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85">
            <a:extLst>
              <a:ext uri="{FF2B5EF4-FFF2-40B4-BE49-F238E27FC236}">
                <a16:creationId xmlns:a16="http://schemas.microsoft.com/office/drawing/2014/main" id="{C3530FBD-13DD-4AE0-B0B8-26143CC7E742}"/>
              </a:ext>
            </a:extLst>
          </p:cNvPr>
          <p:cNvCxnSpPr/>
          <p:nvPr/>
        </p:nvCxnSpPr>
        <p:spPr>
          <a:xfrm>
            <a:off x="9788878" y="4286052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: abgerundete Ecken 286">
            <a:extLst>
              <a:ext uri="{FF2B5EF4-FFF2-40B4-BE49-F238E27FC236}">
                <a16:creationId xmlns:a16="http://schemas.microsoft.com/office/drawing/2014/main" id="{56AE0061-CF24-4BD5-9C75-30D754280F32}"/>
              </a:ext>
            </a:extLst>
          </p:cNvPr>
          <p:cNvSpPr/>
          <p:nvPr/>
        </p:nvSpPr>
        <p:spPr bwMode="gray">
          <a:xfrm>
            <a:off x="5072826" y="2045721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John Doe</a:t>
            </a:r>
          </a:p>
        </p:txBody>
      </p:sp>
      <p:sp>
        <p:nvSpPr>
          <p:cNvPr id="42" name="Rechteck: abgerundete Ecken 287">
            <a:extLst>
              <a:ext uri="{FF2B5EF4-FFF2-40B4-BE49-F238E27FC236}">
                <a16:creationId xmlns:a16="http://schemas.microsoft.com/office/drawing/2014/main" id="{209CD5A4-3B19-4173-82A4-793414B9274C}"/>
              </a:ext>
            </a:extLst>
          </p:cNvPr>
          <p:cNvSpPr/>
          <p:nvPr/>
        </p:nvSpPr>
        <p:spPr bwMode="gray">
          <a:xfrm>
            <a:off x="5072826" y="229308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John Doe</a:t>
            </a:r>
          </a:p>
        </p:txBody>
      </p:sp>
      <p:sp>
        <p:nvSpPr>
          <p:cNvPr id="43" name="Rechteck: abgerundete Ecken 288">
            <a:extLst>
              <a:ext uri="{FF2B5EF4-FFF2-40B4-BE49-F238E27FC236}">
                <a16:creationId xmlns:a16="http://schemas.microsoft.com/office/drawing/2014/main" id="{1B79CB8D-0B9D-4F51-AA91-8F153FAA65BE}"/>
              </a:ext>
            </a:extLst>
          </p:cNvPr>
          <p:cNvSpPr/>
          <p:nvPr/>
        </p:nvSpPr>
        <p:spPr bwMode="gray">
          <a:xfrm>
            <a:off x="6094821" y="2536772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Sam Sample</a:t>
            </a:r>
          </a:p>
        </p:txBody>
      </p:sp>
      <p:sp>
        <p:nvSpPr>
          <p:cNvPr id="44" name="Rechteck: abgerundete Ecken 289">
            <a:extLst>
              <a:ext uri="{FF2B5EF4-FFF2-40B4-BE49-F238E27FC236}">
                <a16:creationId xmlns:a16="http://schemas.microsoft.com/office/drawing/2014/main" id="{C661AAB3-6961-408C-B98A-6CA7B4D7B85A}"/>
              </a:ext>
            </a:extLst>
          </p:cNvPr>
          <p:cNvSpPr/>
          <p:nvPr/>
        </p:nvSpPr>
        <p:spPr bwMode="gray">
          <a:xfrm>
            <a:off x="7463756" y="2767810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Sam Sample</a:t>
            </a:r>
          </a:p>
        </p:txBody>
      </p:sp>
      <p:sp>
        <p:nvSpPr>
          <p:cNvPr id="45" name="Rechteck: abgerundete Ecken 290">
            <a:extLst>
              <a:ext uri="{FF2B5EF4-FFF2-40B4-BE49-F238E27FC236}">
                <a16:creationId xmlns:a16="http://schemas.microsoft.com/office/drawing/2014/main" id="{AB583414-110A-4B52-9FF0-9298EF9D7181}"/>
              </a:ext>
            </a:extLst>
          </p:cNvPr>
          <p:cNvSpPr/>
          <p:nvPr/>
        </p:nvSpPr>
        <p:spPr bwMode="gray">
          <a:xfrm>
            <a:off x="6252903" y="323399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6" name="Rechteck: abgerundete Ecken 292">
            <a:extLst>
              <a:ext uri="{FF2B5EF4-FFF2-40B4-BE49-F238E27FC236}">
                <a16:creationId xmlns:a16="http://schemas.microsoft.com/office/drawing/2014/main" id="{599F1D4C-2986-4CF8-8785-3BBEA1B8976D}"/>
              </a:ext>
            </a:extLst>
          </p:cNvPr>
          <p:cNvSpPr/>
          <p:nvPr/>
        </p:nvSpPr>
        <p:spPr bwMode="gray">
          <a:xfrm>
            <a:off x="6422002" y="3472946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7" name="Rechteck: abgerundete Ecken 293">
            <a:extLst>
              <a:ext uri="{FF2B5EF4-FFF2-40B4-BE49-F238E27FC236}">
                <a16:creationId xmlns:a16="http://schemas.microsoft.com/office/drawing/2014/main" id="{DD91A5CD-B7A3-4792-BEF1-65D9B5E573F2}"/>
              </a:ext>
            </a:extLst>
          </p:cNvPr>
          <p:cNvSpPr/>
          <p:nvPr/>
        </p:nvSpPr>
        <p:spPr bwMode="gray">
          <a:xfrm>
            <a:off x="8143706" y="3711895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8" name="Rechteck: abgerundete Ecken 295">
            <a:extLst>
              <a:ext uri="{FF2B5EF4-FFF2-40B4-BE49-F238E27FC236}">
                <a16:creationId xmlns:a16="http://schemas.microsoft.com/office/drawing/2014/main" id="{F907A902-7D50-492B-8C55-B1347D9AED88}"/>
              </a:ext>
            </a:extLst>
          </p:cNvPr>
          <p:cNvSpPr/>
          <p:nvPr/>
        </p:nvSpPr>
        <p:spPr bwMode="gray">
          <a:xfrm>
            <a:off x="6888495" y="4426411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9" name="Rechteck: abgerundete Ecken 296">
            <a:extLst>
              <a:ext uri="{FF2B5EF4-FFF2-40B4-BE49-F238E27FC236}">
                <a16:creationId xmlns:a16="http://schemas.microsoft.com/office/drawing/2014/main" id="{BDE2152C-5DAD-4FBE-B912-B250DBF8C274}"/>
              </a:ext>
            </a:extLst>
          </p:cNvPr>
          <p:cNvSpPr/>
          <p:nvPr/>
        </p:nvSpPr>
        <p:spPr bwMode="gray">
          <a:xfrm>
            <a:off x="6888495" y="4662113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0" name="Rechteck: abgerundete Ecken 297">
            <a:extLst>
              <a:ext uri="{FF2B5EF4-FFF2-40B4-BE49-F238E27FC236}">
                <a16:creationId xmlns:a16="http://schemas.microsoft.com/office/drawing/2014/main" id="{5856C28F-8FBB-4EE6-A9FC-731943480A07}"/>
              </a:ext>
            </a:extLst>
          </p:cNvPr>
          <p:cNvSpPr/>
          <p:nvPr/>
        </p:nvSpPr>
        <p:spPr bwMode="gray">
          <a:xfrm>
            <a:off x="8632709" y="491237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1" name="Rechteck: abgerundete Ecken 298">
            <a:extLst>
              <a:ext uri="{FF2B5EF4-FFF2-40B4-BE49-F238E27FC236}">
                <a16:creationId xmlns:a16="http://schemas.microsoft.com/office/drawing/2014/main" id="{4DB9AFA6-9525-4E6F-BA7C-26F8923A68CA}"/>
              </a:ext>
            </a:extLst>
          </p:cNvPr>
          <p:cNvSpPr/>
          <p:nvPr/>
        </p:nvSpPr>
        <p:spPr bwMode="gray">
          <a:xfrm>
            <a:off x="8632709" y="5150825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2" name="Rechteck: abgerundete Ecken 53">
            <a:extLst>
              <a:ext uri="{FF2B5EF4-FFF2-40B4-BE49-F238E27FC236}">
                <a16:creationId xmlns:a16="http://schemas.microsoft.com/office/drawing/2014/main" id="{7813DE44-D0C1-4BEA-997E-CA6D7BD0E9F7}"/>
              </a:ext>
            </a:extLst>
          </p:cNvPr>
          <p:cNvSpPr/>
          <p:nvPr/>
        </p:nvSpPr>
        <p:spPr bwMode="gray">
          <a:xfrm>
            <a:off x="6889583" y="5408793"/>
            <a:ext cx="1540702" cy="126252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Milestone</a:t>
            </a:r>
          </a:p>
        </p:txBody>
      </p:sp>
      <p:sp>
        <p:nvSpPr>
          <p:cNvPr id="53" name="Rechteck 54">
            <a:extLst>
              <a:ext uri="{FF2B5EF4-FFF2-40B4-BE49-F238E27FC236}">
                <a16:creationId xmlns:a16="http://schemas.microsoft.com/office/drawing/2014/main" id="{D7224E03-6412-4B82-B90B-0D297A7AA0FB}"/>
              </a:ext>
            </a:extLst>
          </p:cNvPr>
          <p:cNvSpPr/>
          <p:nvPr/>
        </p:nvSpPr>
        <p:spPr>
          <a:xfrm rot="2700000">
            <a:off x="8518770" y="5422069"/>
            <a:ext cx="108000" cy="10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4" name="Rechteck: abgerundete Ecken 55">
            <a:extLst>
              <a:ext uri="{FF2B5EF4-FFF2-40B4-BE49-F238E27FC236}">
                <a16:creationId xmlns:a16="http://schemas.microsoft.com/office/drawing/2014/main" id="{0A53EB0F-AFC6-4F41-85F2-2918EDF37705}"/>
              </a:ext>
            </a:extLst>
          </p:cNvPr>
          <p:cNvSpPr/>
          <p:nvPr/>
        </p:nvSpPr>
        <p:spPr bwMode="gray">
          <a:xfrm>
            <a:off x="6372509" y="3948516"/>
            <a:ext cx="1540702" cy="126252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Milestone</a:t>
            </a:r>
          </a:p>
        </p:txBody>
      </p:sp>
      <p:sp>
        <p:nvSpPr>
          <p:cNvPr id="55" name="Rechteck 56">
            <a:extLst>
              <a:ext uri="{FF2B5EF4-FFF2-40B4-BE49-F238E27FC236}">
                <a16:creationId xmlns:a16="http://schemas.microsoft.com/office/drawing/2014/main" id="{047466D9-75BE-4B24-B2C6-106A45A4A9DB}"/>
              </a:ext>
            </a:extLst>
          </p:cNvPr>
          <p:cNvSpPr/>
          <p:nvPr/>
        </p:nvSpPr>
        <p:spPr>
          <a:xfrm rot="2700000">
            <a:off x="8001696" y="3961792"/>
            <a:ext cx="108000" cy="10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6" name="Rechteck: abgerundete Ecken 62">
            <a:extLst>
              <a:ext uri="{FF2B5EF4-FFF2-40B4-BE49-F238E27FC236}">
                <a16:creationId xmlns:a16="http://schemas.microsoft.com/office/drawing/2014/main" id="{0397E393-7C28-42FB-B792-2C070F2E9291}"/>
              </a:ext>
            </a:extLst>
          </p:cNvPr>
          <p:cNvSpPr/>
          <p:nvPr/>
        </p:nvSpPr>
        <p:spPr bwMode="gray">
          <a:xfrm>
            <a:off x="9788878" y="5866218"/>
            <a:ext cx="1809754" cy="148084"/>
          </a:xfrm>
          <a:prstGeom prst="roundRect">
            <a:avLst/>
          </a:prstGeom>
          <a:gradFill>
            <a:gsLst>
              <a:gs pos="40000">
                <a:schemeClr val="accent1">
                  <a:lumMod val="50000"/>
                </a:schemeClr>
              </a:gs>
              <a:gs pos="4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40%)</a:t>
            </a:r>
          </a:p>
        </p:txBody>
      </p:sp>
      <p:sp>
        <p:nvSpPr>
          <p:cNvPr id="57" name="Rechteck: abgerundete Ecken 63">
            <a:extLst>
              <a:ext uri="{FF2B5EF4-FFF2-40B4-BE49-F238E27FC236}">
                <a16:creationId xmlns:a16="http://schemas.microsoft.com/office/drawing/2014/main" id="{C9F27DB1-86FF-4AE9-ACA2-DEB77285AC75}"/>
              </a:ext>
            </a:extLst>
          </p:cNvPr>
          <p:cNvSpPr/>
          <p:nvPr/>
        </p:nvSpPr>
        <p:spPr bwMode="gray">
          <a:xfrm>
            <a:off x="9788878" y="6106577"/>
            <a:ext cx="1809754" cy="148084"/>
          </a:xfrm>
          <a:prstGeom prst="roundRect">
            <a:avLst/>
          </a:prstGeom>
          <a:gradFill>
            <a:gsLst>
              <a:gs pos="30000">
                <a:schemeClr val="accent1">
                  <a:lumMod val="50000"/>
                </a:schemeClr>
              </a:gs>
              <a:gs pos="3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30%)</a:t>
            </a:r>
          </a:p>
        </p:txBody>
      </p:sp>
      <p:sp>
        <p:nvSpPr>
          <p:cNvPr id="58" name="Rechteck: abgerundete Ecken 64">
            <a:extLst>
              <a:ext uri="{FF2B5EF4-FFF2-40B4-BE49-F238E27FC236}">
                <a16:creationId xmlns:a16="http://schemas.microsoft.com/office/drawing/2014/main" id="{735B1938-FCF7-4367-AD27-D7687C6054A6}"/>
              </a:ext>
            </a:extLst>
          </p:cNvPr>
          <p:cNvSpPr/>
          <p:nvPr/>
        </p:nvSpPr>
        <p:spPr bwMode="gray">
          <a:xfrm>
            <a:off x="9788878" y="6346936"/>
            <a:ext cx="1809754" cy="148084"/>
          </a:xfrm>
          <a:prstGeom prst="roundRect">
            <a:avLst/>
          </a:prstGeom>
          <a:gradFill>
            <a:gsLst>
              <a:gs pos="20000">
                <a:schemeClr val="accent1">
                  <a:lumMod val="50000"/>
                </a:schemeClr>
              </a:gs>
              <a:gs pos="2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0%)</a:t>
            </a:r>
          </a:p>
        </p:txBody>
      </p:sp>
      <p:sp>
        <p:nvSpPr>
          <p:cNvPr id="59" name="Rechteck: abgerundete Ecken 65">
            <a:extLst>
              <a:ext uri="{FF2B5EF4-FFF2-40B4-BE49-F238E27FC236}">
                <a16:creationId xmlns:a16="http://schemas.microsoft.com/office/drawing/2014/main" id="{82C91088-FC84-4280-B66A-F291668A4CCA}"/>
              </a:ext>
            </a:extLst>
          </p:cNvPr>
          <p:cNvSpPr/>
          <p:nvPr/>
        </p:nvSpPr>
        <p:spPr bwMode="gray">
          <a:xfrm>
            <a:off x="9788878" y="6587294"/>
            <a:ext cx="1809754" cy="148084"/>
          </a:xfrm>
          <a:prstGeom prst="roundRect">
            <a:avLst/>
          </a:prstGeom>
          <a:gradFill>
            <a:gsLst>
              <a:gs pos="10000">
                <a:schemeClr val="accent1">
                  <a:lumMod val="50000"/>
                </a:schemeClr>
              </a:gs>
              <a:gs pos="1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%)</a:t>
            </a:r>
          </a:p>
        </p:txBody>
      </p:sp>
    </p:spTree>
    <p:extLst>
      <p:ext uri="{BB962C8B-B14F-4D97-AF65-F5344CB8AC3E}">
        <p14:creationId xmlns:p14="http://schemas.microsoft.com/office/powerpoint/2010/main" val="12011786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">
            <a:extLst>
              <a:ext uri="{FF2B5EF4-FFF2-40B4-BE49-F238E27FC236}">
                <a16:creationId xmlns:a16="http://schemas.microsoft.com/office/drawing/2014/main" id="{B653D5CE-6AFD-481D-87D7-C5B47922D664}"/>
              </a:ext>
            </a:extLst>
          </p:cNvPr>
          <p:cNvGrpSpPr/>
          <p:nvPr/>
        </p:nvGrpSpPr>
        <p:grpSpPr>
          <a:xfrm>
            <a:off x="517827" y="1838999"/>
            <a:ext cx="11142851" cy="4699539"/>
            <a:chOff x="517827" y="1838999"/>
            <a:chExt cx="11142851" cy="4699539"/>
          </a:xfrm>
        </p:grpSpPr>
        <p:grpSp>
          <p:nvGrpSpPr>
            <p:cNvPr id="3" name="Gruppieren 61">
              <a:extLst>
                <a:ext uri="{FF2B5EF4-FFF2-40B4-BE49-F238E27FC236}">
                  <a16:creationId xmlns:a16="http://schemas.microsoft.com/office/drawing/2014/main" id="{213F31CF-E747-4EE3-8893-0B8858C36854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1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2" name="Freeform 57">
                <a:extLst>
                  <a:ext uri="{FF2B5EF4-FFF2-40B4-BE49-F238E27FC236}">
                    <a16:creationId xmlns:a16="http://schemas.microsoft.com/office/drawing/2014/main" id="{1D8D3A2E-0450-4347-8692-C4C6DCC66C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1298575"/>
                <a:ext cx="2397125" cy="3187700"/>
              </a:xfrm>
              <a:custGeom>
                <a:avLst/>
                <a:gdLst>
                  <a:gd name="T0" fmla="*/ 0 w 639"/>
                  <a:gd name="T1" fmla="*/ 567 h 850"/>
                  <a:gd name="T2" fmla="*/ 76 w 639"/>
                  <a:gd name="T3" fmla="*/ 850 h 850"/>
                  <a:gd name="T4" fmla="*/ 132 w 639"/>
                  <a:gd name="T5" fmla="*/ 826 h 850"/>
                  <a:gd name="T6" fmla="*/ 154 w 639"/>
                  <a:gd name="T7" fmla="*/ 796 h 850"/>
                  <a:gd name="T8" fmla="*/ 127 w 639"/>
                  <a:gd name="T9" fmla="*/ 773 h 850"/>
                  <a:gd name="T10" fmla="*/ 138 w 639"/>
                  <a:gd name="T11" fmla="*/ 732 h 850"/>
                  <a:gd name="T12" fmla="*/ 181 w 639"/>
                  <a:gd name="T13" fmla="*/ 742 h 850"/>
                  <a:gd name="T14" fmla="*/ 186 w 639"/>
                  <a:gd name="T15" fmla="*/ 777 h 850"/>
                  <a:gd name="T16" fmla="*/ 236 w 639"/>
                  <a:gd name="T17" fmla="*/ 766 h 850"/>
                  <a:gd name="T18" fmla="*/ 272 w 639"/>
                  <a:gd name="T19" fmla="*/ 737 h 850"/>
                  <a:gd name="T20" fmla="*/ 272 w 639"/>
                  <a:gd name="T21" fmla="*/ 737 h 850"/>
                  <a:gd name="T22" fmla="*/ 227 w 639"/>
                  <a:gd name="T23" fmla="*/ 567 h 850"/>
                  <a:gd name="T24" fmla="*/ 567 w 639"/>
                  <a:gd name="T25" fmla="*/ 227 h 850"/>
                  <a:gd name="T26" fmla="*/ 567 w 639"/>
                  <a:gd name="T27" fmla="*/ 227 h 850"/>
                  <a:gd name="T28" fmla="*/ 560 w 639"/>
                  <a:gd name="T29" fmla="*/ 181 h 850"/>
                  <a:gd name="T30" fmla="*/ 575 w 639"/>
                  <a:gd name="T31" fmla="*/ 132 h 850"/>
                  <a:gd name="T32" fmla="*/ 609 w 639"/>
                  <a:gd name="T33" fmla="*/ 145 h 850"/>
                  <a:gd name="T34" fmla="*/ 639 w 639"/>
                  <a:gd name="T35" fmla="*/ 113 h 850"/>
                  <a:gd name="T36" fmla="*/ 609 w 639"/>
                  <a:gd name="T37" fmla="*/ 83 h 850"/>
                  <a:gd name="T38" fmla="*/ 575 w 639"/>
                  <a:gd name="T39" fmla="*/ 95 h 850"/>
                  <a:gd name="T40" fmla="*/ 560 w 639"/>
                  <a:gd name="T41" fmla="*/ 61 h 850"/>
                  <a:gd name="T42" fmla="*/ 567 w 639"/>
                  <a:gd name="T43" fmla="*/ 0 h 850"/>
                  <a:gd name="T44" fmla="*/ 0 w 639"/>
                  <a:gd name="T45" fmla="*/ 567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9" h="850">
                    <a:moveTo>
                      <a:pt x="0" y="567"/>
                    </a:moveTo>
                    <a:cubicBezTo>
                      <a:pt x="0" y="670"/>
                      <a:pt x="28" y="767"/>
                      <a:pt x="76" y="850"/>
                    </a:cubicBezTo>
                    <a:cubicBezTo>
                      <a:pt x="101" y="842"/>
                      <a:pt x="120" y="835"/>
                      <a:pt x="132" y="826"/>
                    </a:cubicBezTo>
                    <a:cubicBezTo>
                      <a:pt x="146" y="815"/>
                      <a:pt x="160" y="806"/>
                      <a:pt x="154" y="796"/>
                    </a:cubicBezTo>
                    <a:cubicBezTo>
                      <a:pt x="148" y="786"/>
                      <a:pt x="137" y="789"/>
                      <a:pt x="127" y="773"/>
                    </a:cubicBezTo>
                    <a:cubicBezTo>
                      <a:pt x="118" y="756"/>
                      <a:pt x="125" y="739"/>
                      <a:pt x="138" y="732"/>
                    </a:cubicBezTo>
                    <a:cubicBezTo>
                      <a:pt x="151" y="724"/>
                      <a:pt x="173" y="727"/>
                      <a:pt x="181" y="742"/>
                    </a:cubicBezTo>
                    <a:cubicBezTo>
                      <a:pt x="190" y="758"/>
                      <a:pt x="182" y="770"/>
                      <a:pt x="186" y="777"/>
                    </a:cubicBezTo>
                    <a:cubicBezTo>
                      <a:pt x="191" y="785"/>
                      <a:pt x="221" y="777"/>
                      <a:pt x="236" y="766"/>
                    </a:cubicBezTo>
                    <a:cubicBezTo>
                      <a:pt x="252" y="756"/>
                      <a:pt x="272" y="737"/>
                      <a:pt x="272" y="737"/>
                    </a:cubicBezTo>
                    <a:cubicBezTo>
                      <a:pt x="272" y="737"/>
                      <a:pt x="272" y="737"/>
                      <a:pt x="272" y="737"/>
                    </a:cubicBezTo>
                    <a:cubicBezTo>
                      <a:pt x="244" y="687"/>
                      <a:pt x="227" y="629"/>
                      <a:pt x="227" y="567"/>
                    </a:cubicBezTo>
                    <a:cubicBezTo>
                      <a:pt x="227" y="379"/>
                      <a:pt x="379" y="227"/>
                      <a:pt x="567" y="227"/>
                    </a:cubicBezTo>
                    <a:cubicBezTo>
                      <a:pt x="567" y="227"/>
                      <a:pt x="567" y="227"/>
                      <a:pt x="567" y="227"/>
                    </a:cubicBezTo>
                    <a:cubicBezTo>
                      <a:pt x="567" y="227"/>
                      <a:pt x="561" y="199"/>
                      <a:pt x="560" y="181"/>
                    </a:cubicBezTo>
                    <a:cubicBezTo>
                      <a:pt x="558" y="162"/>
                      <a:pt x="567" y="132"/>
                      <a:pt x="575" y="132"/>
                    </a:cubicBezTo>
                    <a:cubicBezTo>
                      <a:pt x="584" y="132"/>
                      <a:pt x="590" y="145"/>
                      <a:pt x="609" y="145"/>
                    </a:cubicBezTo>
                    <a:cubicBezTo>
                      <a:pt x="626" y="145"/>
                      <a:pt x="639" y="128"/>
                      <a:pt x="639" y="113"/>
                    </a:cubicBezTo>
                    <a:cubicBezTo>
                      <a:pt x="639" y="98"/>
                      <a:pt x="628" y="83"/>
                      <a:pt x="609" y="83"/>
                    </a:cubicBezTo>
                    <a:cubicBezTo>
                      <a:pt x="589" y="83"/>
                      <a:pt x="587" y="95"/>
                      <a:pt x="575" y="95"/>
                    </a:cubicBezTo>
                    <a:cubicBezTo>
                      <a:pt x="564" y="95"/>
                      <a:pt x="562" y="78"/>
                      <a:pt x="560" y="61"/>
                    </a:cubicBezTo>
                    <a:cubicBezTo>
                      <a:pt x="558" y="45"/>
                      <a:pt x="562" y="25"/>
                      <a:pt x="567" y="0"/>
                    </a:cubicBezTo>
                    <a:cubicBezTo>
                      <a:pt x="254" y="0"/>
                      <a:pt x="0" y="254"/>
                      <a:pt x="0" y="567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58">
                <a:extLst>
                  <a:ext uri="{FF2B5EF4-FFF2-40B4-BE49-F238E27FC236}">
                    <a16:creationId xmlns:a16="http://schemas.microsoft.com/office/drawing/2014/main" id="{757BA109-8277-467B-90DA-28D6E25DFE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2159000" cy="3235325"/>
              </a:xfrm>
              <a:custGeom>
                <a:avLst/>
                <a:gdLst>
                  <a:gd name="T0" fmla="*/ 347 w 576"/>
                  <a:gd name="T1" fmla="*/ 754 h 863"/>
                  <a:gd name="T2" fmla="*/ 382 w 576"/>
                  <a:gd name="T3" fmla="*/ 791 h 863"/>
                  <a:gd name="T4" fmla="*/ 354 w 576"/>
                  <a:gd name="T5" fmla="*/ 814 h 863"/>
                  <a:gd name="T6" fmla="*/ 366 w 576"/>
                  <a:gd name="T7" fmla="*/ 856 h 863"/>
                  <a:gd name="T8" fmla="*/ 407 w 576"/>
                  <a:gd name="T9" fmla="*/ 845 h 863"/>
                  <a:gd name="T10" fmla="*/ 414 w 576"/>
                  <a:gd name="T11" fmla="*/ 810 h 863"/>
                  <a:gd name="T12" fmla="*/ 451 w 576"/>
                  <a:gd name="T13" fmla="*/ 814 h 863"/>
                  <a:gd name="T14" fmla="*/ 500 w 576"/>
                  <a:gd name="T15" fmla="*/ 850 h 863"/>
                  <a:gd name="T16" fmla="*/ 576 w 576"/>
                  <a:gd name="T17" fmla="*/ 567 h 863"/>
                  <a:gd name="T18" fmla="*/ 9 w 576"/>
                  <a:gd name="T19" fmla="*/ 0 h 863"/>
                  <a:gd name="T20" fmla="*/ 2 w 576"/>
                  <a:gd name="T21" fmla="*/ 61 h 863"/>
                  <a:gd name="T22" fmla="*/ 17 w 576"/>
                  <a:gd name="T23" fmla="*/ 95 h 863"/>
                  <a:gd name="T24" fmla="*/ 51 w 576"/>
                  <a:gd name="T25" fmla="*/ 83 h 863"/>
                  <a:gd name="T26" fmla="*/ 81 w 576"/>
                  <a:gd name="T27" fmla="*/ 113 h 863"/>
                  <a:gd name="T28" fmla="*/ 51 w 576"/>
                  <a:gd name="T29" fmla="*/ 145 h 863"/>
                  <a:gd name="T30" fmla="*/ 17 w 576"/>
                  <a:gd name="T31" fmla="*/ 132 h 863"/>
                  <a:gd name="T32" fmla="*/ 2 w 576"/>
                  <a:gd name="T33" fmla="*/ 181 h 863"/>
                  <a:gd name="T34" fmla="*/ 9 w 576"/>
                  <a:gd name="T35" fmla="*/ 227 h 863"/>
                  <a:gd name="T36" fmla="*/ 9 w 576"/>
                  <a:gd name="T37" fmla="*/ 227 h 863"/>
                  <a:gd name="T38" fmla="*/ 9 w 576"/>
                  <a:gd name="T39" fmla="*/ 227 h 863"/>
                  <a:gd name="T40" fmla="*/ 349 w 576"/>
                  <a:gd name="T41" fmla="*/ 567 h 863"/>
                  <a:gd name="T42" fmla="*/ 304 w 576"/>
                  <a:gd name="T43" fmla="*/ 737 h 863"/>
                  <a:gd name="T44" fmla="*/ 304 w 576"/>
                  <a:gd name="T45" fmla="*/ 737 h 863"/>
                  <a:gd name="T46" fmla="*/ 347 w 576"/>
                  <a:gd name="T47" fmla="*/ 754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76" h="863">
                    <a:moveTo>
                      <a:pt x="347" y="754"/>
                    </a:moveTo>
                    <a:cubicBezTo>
                      <a:pt x="364" y="762"/>
                      <a:pt x="386" y="784"/>
                      <a:pt x="382" y="791"/>
                    </a:cubicBezTo>
                    <a:cubicBezTo>
                      <a:pt x="377" y="799"/>
                      <a:pt x="363" y="798"/>
                      <a:pt x="354" y="814"/>
                    </a:cubicBezTo>
                    <a:cubicBezTo>
                      <a:pt x="345" y="828"/>
                      <a:pt x="353" y="848"/>
                      <a:pt x="366" y="856"/>
                    </a:cubicBezTo>
                    <a:cubicBezTo>
                      <a:pt x="379" y="863"/>
                      <a:pt x="397" y="862"/>
                      <a:pt x="407" y="845"/>
                    </a:cubicBezTo>
                    <a:cubicBezTo>
                      <a:pt x="417" y="828"/>
                      <a:pt x="408" y="820"/>
                      <a:pt x="414" y="810"/>
                    </a:cubicBezTo>
                    <a:cubicBezTo>
                      <a:pt x="420" y="800"/>
                      <a:pt x="435" y="807"/>
                      <a:pt x="451" y="814"/>
                    </a:cubicBezTo>
                    <a:cubicBezTo>
                      <a:pt x="465" y="820"/>
                      <a:pt x="480" y="834"/>
                      <a:pt x="500" y="850"/>
                    </a:cubicBezTo>
                    <a:cubicBezTo>
                      <a:pt x="548" y="767"/>
                      <a:pt x="576" y="670"/>
                      <a:pt x="576" y="567"/>
                    </a:cubicBezTo>
                    <a:cubicBezTo>
                      <a:pt x="576" y="254"/>
                      <a:pt x="322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97" y="227"/>
                      <a:pt x="349" y="379"/>
                      <a:pt x="349" y="567"/>
                    </a:cubicBezTo>
                    <a:cubicBezTo>
                      <a:pt x="349" y="629"/>
                      <a:pt x="333" y="687"/>
                      <a:pt x="304" y="737"/>
                    </a:cubicBezTo>
                    <a:cubicBezTo>
                      <a:pt x="304" y="737"/>
                      <a:pt x="304" y="737"/>
                      <a:pt x="304" y="737"/>
                    </a:cubicBezTo>
                    <a:cubicBezTo>
                      <a:pt x="304" y="737"/>
                      <a:pt x="330" y="745"/>
                      <a:pt x="347" y="75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59">
                <a:extLst>
                  <a:ext uri="{FF2B5EF4-FFF2-40B4-BE49-F238E27FC236}">
                    <a16:creationId xmlns:a16="http://schemas.microsoft.com/office/drawing/2014/main" id="{1CA1A8F4-43B4-4836-96A0-056D6396A0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5" y="4013200"/>
                <a:ext cx="3683000" cy="1538288"/>
              </a:xfrm>
              <a:custGeom>
                <a:avLst/>
                <a:gdLst>
                  <a:gd name="T0" fmla="*/ 491 w 982"/>
                  <a:gd name="T1" fmla="*/ 183 h 410"/>
                  <a:gd name="T2" fmla="*/ 196 w 982"/>
                  <a:gd name="T3" fmla="*/ 13 h 410"/>
                  <a:gd name="T4" fmla="*/ 196 w 982"/>
                  <a:gd name="T5" fmla="*/ 13 h 410"/>
                  <a:gd name="T6" fmla="*/ 160 w 982"/>
                  <a:gd name="T7" fmla="*/ 42 h 410"/>
                  <a:gd name="T8" fmla="*/ 110 w 982"/>
                  <a:gd name="T9" fmla="*/ 53 h 410"/>
                  <a:gd name="T10" fmla="*/ 105 w 982"/>
                  <a:gd name="T11" fmla="*/ 18 h 410"/>
                  <a:gd name="T12" fmla="*/ 62 w 982"/>
                  <a:gd name="T13" fmla="*/ 8 h 410"/>
                  <a:gd name="T14" fmla="*/ 51 w 982"/>
                  <a:gd name="T15" fmla="*/ 49 h 410"/>
                  <a:gd name="T16" fmla="*/ 78 w 982"/>
                  <a:gd name="T17" fmla="*/ 72 h 410"/>
                  <a:gd name="T18" fmla="*/ 56 w 982"/>
                  <a:gd name="T19" fmla="*/ 102 h 410"/>
                  <a:gd name="T20" fmla="*/ 0 w 982"/>
                  <a:gd name="T21" fmla="*/ 126 h 410"/>
                  <a:gd name="T22" fmla="*/ 491 w 982"/>
                  <a:gd name="T23" fmla="*/ 410 h 410"/>
                  <a:gd name="T24" fmla="*/ 982 w 982"/>
                  <a:gd name="T25" fmla="*/ 126 h 410"/>
                  <a:gd name="T26" fmla="*/ 933 w 982"/>
                  <a:gd name="T27" fmla="*/ 90 h 410"/>
                  <a:gd name="T28" fmla="*/ 896 w 982"/>
                  <a:gd name="T29" fmla="*/ 86 h 410"/>
                  <a:gd name="T30" fmla="*/ 889 w 982"/>
                  <a:gd name="T31" fmla="*/ 121 h 410"/>
                  <a:gd name="T32" fmla="*/ 848 w 982"/>
                  <a:gd name="T33" fmla="*/ 132 h 410"/>
                  <a:gd name="T34" fmla="*/ 836 w 982"/>
                  <a:gd name="T35" fmla="*/ 90 h 410"/>
                  <a:gd name="T36" fmla="*/ 864 w 982"/>
                  <a:gd name="T37" fmla="*/ 67 h 410"/>
                  <a:gd name="T38" fmla="*/ 829 w 982"/>
                  <a:gd name="T39" fmla="*/ 30 h 410"/>
                  <a:gd name="T40" fmla="*/ 786 w 982"/>
                  <a:gd name="T41" fmla="*/ 13 h 410"/>
                  <a:gd name="T42" fmla="*/ 786 w 982"/>
                  <a:gd name="T43" fmla="*/ 13 h 410"/>
                  <a:gd name="T44" fmla="*/ 491 w 982"/>
                  <a:gd name="T45" fmla="*/ 183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82" h="410">
                    <a:moveTo>
                      <a:pt x="491" y="183"/>
                    </a:moveTo>
                    <a:cubicBezTo>
                      <a:pt x="365" y="183"/>
                      <a:pt x="255" y="114"/>
                      <a:pt x="196" y="13"/>
                    </a:cubicBezTo>
                    <a:cubicBezTo>
                      <a:pt x="196" y="13"/>
                      <a:pt x="196" y="13"/>
                      <a:pt x="196" y="13"/>
                    </a:cubicBezTo>
                    <a:cubicBezTo>
                      <a:pt x="196" y="13"/>
                      <a:pt x="176" y="32"/>
                      <a:pt x="160" y="42"/>
                    </a:cubicBezTo>
                    <a:cubicBezTo>
                      <a:pt x="145" y="53"/>
                      <a:pt x="115" y="61"/>
                      <a:pt x="110" y="53"/>
                    </a:cubicBezTo>
                    <a:cubicBezTo>
                      <a:pt x="106" y="46"/>
                      <a:pt x="114" y="34"/>
                      <a:pt x="105" y="18"/>
                    </a:cubicBezTo>
                    <a:cubicBezTo>
                      <a:pt x="97" y="3"/>
                      <a:pt x="75" y="0"/>
                      <a:pt x="62" y="8"/>
                    </a:cubicBezTo>
                    <a:cubicBezTo>
                      <a:pt x="49" y="15"/>
                      <a:pt x="42" y="32"/>
                      <a:pt x="51" y="49"/>
                    </a:cubicBezTo>
                    <a:cubicBezTo>
                      <a:pt x="61" y="65"/>
                      <a:pt x="72" y="62"/>
                      <a:pt x="78" y="72"/>
                    </a:cubicBezTo>
                    <a:cubicBezTo>
                      <a:pt x="84" y="82"/>
                      <a:pt x="70" y="91"/>
                      <a:pt x="56" y="102"/>
                    </a:cubicBezTo>
                    <a:cubicBezTo>
                      <a:pt x="44" y="111"/>
                      <a:pt x="25" y="118"/>
                      <a:pt x="0" y="126"/>
                    </a:cubicBezTo>
                    <a:cubicBezTo>
                      <a:pt x="98" y="296"/>
                      <a:pt x="281" y="410"/>
                      <a:pt x="491" y="410"/>
                    </a:cubicBezTo>
                    <a:cubicBezTo>
                      <a:pt x="701" y="410"/>
                      <a:pt x="884" y="296"/>
                      <a:pt x="982" y="126"/>
                    </a:cubicBezTo>
                    <a:cubicBezTo>
                      <a:pt x="962" y="110"/>
                      <a:pt x="947" y="96"/>
                      <a:pt x="933" y="90"/>
                    </a:cubicBezTo>
                    <a:cubicBezTo>
                      <a:pt x="917" y="83"/>
                      <a:pt x="902" y="76"/>
                      <a:pt x="896" y="86"/>
                    </a:cubicBezTo>
                    <a:cubicBezTo>
                      <a:pt x="890" y="96"/>
                      <a:pt x="899" y="104"/>
                      <a:pt x="889" y="121"/>
                    </a:cubicBezTo>
                    <a:cubicBezTo>
                      <a:pt x="879" y="138"/>
                      <a:pt x="861" y="139"/>
                      <a:pt x="848" y="132"/>
                    </a:cubicBezTo>
                    <a:cubicBezTo>
                      <a:pt x="835" y="124"/>
                      <a:pt x="827" y="104"/>
                      <a:pt x="836" y="90"/>
                    </a:cubicBezTo>
                    <a:cubicBezTo>
                      <a:pt x="845" y="74"/>
                      <a:pt x="859" y="75"/>
                      <a:pt x="864" y="67"/>
                    </a:cubicBezTo>
                    <a:cubicBezTo>
                      <a:pt x="868" y="60"/>
                      <a:pt x="846" y="38"/>
                      <a:pt x="829" y="30"/>
                    </a:cubicBezTo>
                    <a:cubicBezTo>
                      <a:pt x="812" y="21"/>
                      <a:pt x="786" y="13"/>
                      <a:pt x="786" y="13"/>
                    </a:cubicBezTo>
                    <a:cubicBezTo>
                      <a:pt x="786" y="13"/>
                      <a:pt x="786" y="13"/>
                      <a:pt x="786" y="13"/>
                    </a:cubicBezTo>
                    <a:cubicBezTo>
                      <a:pt x="727" y="115"/>
                      <a:pt x="617" y="183"/>
                      <a:pt x="491" y="18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" name="Gruppieren 21">
              <a:extLst>
                <a:ext uri="{FF2B5EF4-FFF2-40B4-BE49-F238E27FC236}">
                  <a16:creationId xmlns:a16="http://schemas.microsoft.com/office/drawing/2014/main" id="{7A2AD4EE-FC77-44DA-BDB9-32D9B0F8AD0A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grpSp>
            <p:nvGrpSpPr>
              <p:cNvPr id="5" name="Gruppieren 22">
                <a:extLst>
                  <a:ext uri="{FF2B5EF4-FFF2-40B4-BE49-F238E27FC236}">
                    <a16:creationId xmlns:a16="http://schemas.microsoft.com/office/drawing/2014/main" id="{682E0E60-D3CD-4E0E-A547-FAA4D8FF7631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10" name="Text Box 13" descr="PresentationLoad.com">
                  <a:extLst>
                    <a:ext uri="{FF2B5EF4-FFF2-40B4-BE49-F238E27FC236}">
                      <a16:creationId xmlns:a16="http://schemas.microsoft.com/office/drawing/2014/main" id="{87151257-4227-4FB7-9C22-111CAA7B254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/>
                    <a:t>DESCRIPTION 3</a:t>
                  </a:r>
                  <a:endParaRPr lang="en-US" sz="2000" b="1" dirty="0">
                    <a:solidFill>
                      <a:prstClr val="black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1" name="Gerade Verbindung 28" descr="PresentationLoad.com">
                  <a:extLst>
                    <a:ext uri="{FF2B5EF4-FFF2-40B4-BE49-F238E27FC236}">
                      <a16:creationId xmlns:a16="http://schemas.microsoft.com/office/drawing/2014/main" id="{405AA313-2708-49BA-A886-001AAD597056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6" name="Gruppieren 23">
                <a:extLst>
                  <a:ext uri="{FF2B5EF4-FFF2-40B4-BE49-F238E27FC236}">
                    <a16:creationId xmlns:a16="http://schemas.microsoft.com/office/drawing/2014/main" id="{E23867D1-668B-47CA-A3E9-662A0AE3D675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8" name="Text Box 13" descr="PresentationLoad.com">
                  <a:extLst>
                    <a:ext uri="{FF2B5EF4-FFF2-40B4-BE49-F238E27FC236}">
                      <a16:creationId xmlns:a16="http://schemas.microsoft.com/office/drawing/2014/main" id="{EECAFE44-05B6-4580-80CF-AE39B6BD31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/>
                    <a:t>DESCRIPTION 1</a:t>
                  </a:r>
                  <a:endParaRPr lang="en-US" sz="2000" b="1" dirty="0">
                    <a:solidFill>
                      <a:prstClr val="black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9" name="Gerade Verbindung 26" descr="PresentationLoad.com">
                  <a:extLst>
                    <a:ext uri="{FF2B5EF4-FFF2-40B4-BE49-F238E27FC236}">
                      <a16:creationId xmlns:a16="http://schemas.microsoft.com/office/drawing/2014/main" id="{8B23C857-FAC4-4683-9F53-62C88E910FE0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22AAF913-44EB-4842-8A82-27307FFCD3E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ct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ct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55280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1">
            <a:extLst>
              <a:ext uri="{FF2B5EF4-FFF2-40B4-BE49-F238E27FC236}">
                <a16:creationId xmlns:a16="http://schemas.microsoft.com/office/drawing/2014/main" id="{D14503CE-28F8-40CC-9EFD-3FF9983B673E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81">
              <a:extLst>
                <a:ext uri="{FF2B5EF4-FFF2-40B4-BE49-F238E27FC236}">
                  <a16:creationId xmlns:a16="http://schemas.microsoft.com/office/drawing/2014/main" id="{470D15E2-6BE1-4170-9FB4-0484D4BA71BF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0" cy="3520800"/>
              <a:chOff x="2811600" y="1919631"/>
              <a:chExt cx="3520800" cy="3520800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FAACAB10-3C49-406B-B02D-9A53FA9383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600" y="3455956"/>
                <a:ext cx="1788656" cy="1984475"/>
              </a:xfrm>
              <a:custGeom>
                <a:avLst/>
                <a:gdLst>
                  <a:gd name="T0" fmla="*/ 574 w 576"/>
                  <a:gd name="T1" fmla="*/ 578 h 639"/>
                  <a:gd name="T2" fmla="*/ 559 w 576"/>
                  <a:gd name="T3" fmla="*/ 544 h 639"/>
                  <a:gd name="T4" fmla="*/ 525 w 576"/>
                  <a:gd name="T5" fmla="*/ 555 h 639"/>
                  <a:gd name="T6" fmla="*/ 496 w 576"/>
                  <a:gd name="T7" fmla="*/ 525 h 639"/>
                  <a:gd name="T8" fmla="*/ 525 w 576"/>
                  <a:gd name="T9" fmla="*/ 494 h 639"/>
                  <a:gd name="T10" fmla="*/ 559 w 576"/>
                  <a:gd name="T11" fmla="*/ 507 h 639"/>
                  <a:gd name="T12" fmla="*/ 574 w 576"/>
                  <a:gd name="T13" fmla="*/ 458 h 639"/>
                  <a:gd name="T14" fmla="*/ 567 w 576"/>
                  <a:gd name="T15" fmla="*/ 412 h 639"/>
                  <a:gd name="T16" fmla="*/ 567 w 576"/>
                  <a:gd name="T17" fmla="*/ 412 h 639"/>
                  <a:gd name="T18" fmla="*/ 567 w 576"/>
                  <a:gd name="T19" fmla="*/ 412 h 639"/>
                  <a:gd name="T20" fmla="*/ 227 w 576"/>
                  <a:gd name="T21" fmla="*/ 72 h 639"/>
                  <a:gd name="T22" fmla="*/ 227 w 576"/>
                  <a:gd name="T23" fmla="*/ 72 h 639"/>
                  <a:gd name="T24" fmla="*/ 227 w 576"/>
                  <a:gd name="T25" fmla="*/ 72 h 639"/>
                  <a:gd name="T26" fmla="*/ 181 w 576"/>
                  <a:gd name="T27" fmla="*/ 79 h 639"/>
                  <a:gd name="T28" fmla="*/ 132 w 576"/>
                  <a:gd name="T29" fmla="*/ 64 h 639"/>
                  <a:gd name="T30" fmla="*/ 145 w 576"/>
                  <a:gd name="T31" fmla="*/ 30 h 639"/>
                  <a:gd name="T32" fmla="*/ 114 w 576"/>
                  <a:gd name="T33" fmla="*/ 0 h 639"/>
                  <a:gd name="T34" fmla="*/ 84 w 576"/>
                  <a:gd name="T35" fmla="*/ 30 h 639"/>
                  <a:gd name="T36" fmla="*/ 95 w 576"/>
                  <a:gd name="T37" fmla="*/ 64 h 639"/>
                  <a:gd name="T38" fmla="*/ 61 w 576"/>
                  <a:gd name="T39" fmla="*/ 79 h 639"/>
                  <a:gd name="T40" fmla="*/ 0 w 576"/>
                  <a:gd name="T41" fmla="*/ 72 h 639"/>
                  <a:gd name="T42" fmla="*/ 567 w 576"/>
                  <a:gd name="T43" fmla="*/ 639 h 639"/>
                  <a:gd name="T44" fmla="*/ 574 w 576"/>
                  <a:gd name="T45" fmla="*/ 578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76" h="639">
                    <a:moveTo>
                      <a:pt x="574" y="578"/>
                    </a:moveTo>
                    <a:cubicBezTo>
                      <a:pt x="572" y="561"/>
                      <a:pt x="570" y="544"/>
                      <a:pt x="559" y="544"/>
                    </a:cubicBezTo>
                    <a:cubicBezTo>
                      <a:pt x="548" y="544"/>
                      <a:pt x="545" y="555"/>
                      <a:pt x="525" y="555"/>
                    </a:cubicBezTo>
                    <a:cubicBezTo>
                      <a:pt x="506" y="555"/>
                      <a:pt x="496" y="540"/>
                      <a:pt x="496" y="525"/>
                    </a:cubicBezTo>
                    <a:cubicBezTo>
                      <a:pt x="496" y="510"/>
                      <a:pt x="509" y="494"/>
                      <a:pt x="525" y="494"/>
                    </a:cubicBezTo>
                    <a:cubicBezTo>
                      <a:pt x="544" y="494"/>
                      <a:pt x="551" y="507"/>
                      <a:pt x="559" y="507"/>
                    </a:cubicBezTo>
                    <a:cubicBezTo>
                      <a:pt x="568" y="507"/>
                      <a:pt x="576" y="477"/>
                      <a:pt x="574" y="458"/>
                    </a:cubicBezTo>
                    <a:cubicBezTo>
                      <a:pt x="573" y="439"/>
                      <a:pt x="567" y="412"/>
                      <a:pt x="567" y="412"/>
                    </a:cubicBezTo>
                    <a:cubicBezTo>
                      <a:pt x="567" y="412"/>
                      <a:pt x="567" y="412"/>
                      <a:pt x="567" y="412"/>
                    </a:cubicBezTo>
                    <a:cubicBezTo>
                      <a:pt x="567" y="412"/>
                      <a:pt x="567" y="412"/>
                      <a:pt x="567" y="412"/>
                    </a:cubicBezTo>
                    <a:cubicBezTo>
                      <a:pt x="379" y="412"/>
                      <a:pt x="227" y="260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00" y="78"/>
                      <a:pt x="181" y="79"/>
                    </a:cubicBezTo>
                    <a:cubicBezTo>
                      <a:pt x="162" y="81"/>
                      <a:pt x="132" y="72"/>
                      <a:pt x="132" y="64"/>
                    </a:cubicBezTo>
                    <a:cubicBezTo>
                      <a:pt x="132" y="55"/>
                      <a:pt x="145" y="49"/>
                      <a:pt x="145" y="30"/>
                    </a:cubicBezTo>
                    <a:cubicBezTo>
                      <a:pt x="145" y="13"/>
                      <a:pt x="129" y="0"/>
                      <a:pt x="114" y="0"/>
                    </a:cubicBezTo>
                    <a:cubicBezTo>
                      <a:pt x="99" y="0"/>
                      <a:pt x="84" y="11"/>
                      <a:pt x="84" y="30"/>
                    </a:cubicBezTo>
                    <a:cubicBezTo>
                      <a:pt x="84" y="50"/>
                      <a:pt x="95" y="52"/>
                      <a:pt x="95" y="64"/>
                    </a:cubicBezTo>
                    <a:cubicBezTo>
                      <a:pt x="95" y="75"/>
                      <a:pt x="78" y="77"/>
                      <a:pt x="61" y="79"/>
                    </a:cubicBezTo>
                    <a:cubicBezTo>
                      <a:pt x="45" y="81"/>
                      <a:pt x="26" y="77"/>
                      <a:pt x="0" y="72"/>
                    </a:cubicBezTo>
                    <a:cubicBezTo>
                      <a:pt x="0" y="385"/>
                      <a:pt x="254" y="639"/>
                      <a:pt x="567" y="639"/>
                    </a:cubicBezTo>
                    <a:cubicBezTo>
                      <a:pt x="572" y="613"/>
                      <a:pt x="576" y="594"/>
                      <a:pt x="574" y="578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A40B6A9B-6A3B-4575-BFEB-C6B6B0813A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600" y="1919631"/>
                <a:ext cx="1984475" cy="1787341"/>
              </a:xfrm>
              <a:custGeom>
                <a:avLst/>
                <a:gdLst>
                  <a:gd name="T0" fmla="*/ 61 w 639"/>
                  <a:gd name="T1" fmla="*/ 574 h 576"/>
                  <a:gd name="T2" fmla="*/ 95 w 639"/>
                  <a:gd name="T3" fmla="*/ 559 h 576"/>
                  <a:gd name="T4" fmla="*/ 84 w 639"/>
                  <a:gd name="T5" fmla="*/ 525 h 576"/>
                  <a:gd name="T6" fmla="*/ 114 w 639"/>
                  <a:gd name="T7" fmla="*/ 495 h 576"/>
                  <a:gd name="T8" fmla="*/ 145 w 639"/>
                  <a:gd name="T9" fmla="*/ 525 h 576"/>
                  <a:gd name="T10" fmla="*/ 132 w 639"/>
                  <a:gd name="T11" fmla="*/ 559 h 576"/>
                  <a:gd name="T12" fmla="*/ 181 w 639"/>
                  <a:gd name="T13" fmla="*/ 574 h 576"/>
                  <a:gd name="T14" fmla="*/ 227 w 639"/>
                  <a:gd name="T15" fmla="*/ 567 h 576"/>
                  <a:gd name="T16" fmla="*/ 227 w 639"/>
                  <a:gd name="T17" fmla="*/ 567 h 576"/>
                  <a:gd name="T18" fmla="*/ 567 w 639"/>
                  <a:gd name="T19" fmla="*/ 227 h 576"/>
                  <a:gd name="T20" fmla="*/ 567 w 639"/>
                  <a:gd name="T21" fmla="*/ 227 h 576"/>
                  <a:gd name="T22" fmla="*/ 560 w 639"/>
                  <a:gd name="T23" fmla="*/ 181 h 576"/>
                  <a:gd name="T24" fmla="*/ 575 w 639"/>
                  <a:gd name="T25" fmla="*/ 132 h 576"/>
                  <a:gd name="T26" fmla="*/ 609 w 639"/>
                  <a:gd name="T27" fmla="*/ 145 h 576"/>
                  <a:gd name="T28" fmla="*/ 639 w 639"/>
                  <a:gd name="T29" fmla="*/ 113 h 576"/>
                  <a:gd name="T30" fmla="*/ 609 w 639"/>
                  <a:gd name="T31" fmla="*/ 83 h 576"/>
                  <a:gd name="T32" fmla="*/ 575 w 639"/>
                  <a:gd name="T33" fmla="*/ 95 h 576"/>
                  <a:gd name="T34" fmla="*/ 560 w 639"/>
                  <a:gd name="T35" fmla="*/ 61 h 576"/>
                  <a:gd name="T36" fmla="*/ 567 w 639"/>
                  <a:gd name="T37" fmla="*/ 0 h 576"/>
                  <a:gd name="T38" fmla="*/ 0 w 639"/>
                  <a:gd name="T39" fmla="*/ 567 h 576"/>
                  <a:gd name="T40" fmla="*/ 61 w 639"/>
                  <a:gd name="T41" fmla="*/ 57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9" h="576">
                    <a:moveTo>
                      <a:pt x="61" y="574"/>
                    </a:moveTo>
                    <a:cubicBezTo>
                      <a:pt x="78" y="572"/>
                      <a:pt x="95" y="570"/>
                      <a:pt x="95" y="559"/>
                    </a:cubicBezTo>
                    <a:cubicBezTo>
                      <a:pt x="95" y="547"/>
                      <a:pt x="84" y="545"/>
                      <a:pt x="84" y="525"/>
                    </a:cubicBezTo>
                    <a:cubicBezTo>
                      <a:pt x="84" y="506"/>
                      <a:pt x="99" y="495"/>
                      <a:pt x="114" y="495"/>
                    </a:cubicBezTo>
                    <a:cubicBezTo>
                      <a:pt x="129" y="495"/>
                      <a:pt x="145" y="508"/>
                      <a:pt x="145" y="525"/>
                    </a:cubicBezTo>
                    <a:cubicBezTo>
                      <a:pt x="145" y="544"/>
                      <a:pt x="132" y="550"/>
                      <a:pt x="132" y="559"/>
                    </a:cubicBezTo>
                    <a:cubicBezTo>
                      <a:pt x="132" y="567"/>
                      <a:pt x="162" y="576"/>
                      <a:pt x="181" y="574"/>
                    </a:cubicBezTo>
                    <a:cubicBezTo>
                      <a:pt x="200" y="573"/>
                      <a:pt x="227" y="567"/>
                      <a:pt x="227" y="567"/>
                    </a:cubicBezTo>
                    <a:cubicBezTo>
                      <a:pt x="227" y="567"/>
                      <a:pt x="227" y="567"/>
                      <a:pt x="227" y="567"/>
                    </a:cubicBezTo>
                    <a:cubicBezTo>
                      <a:pt x="227" y="379"/>
                      <a:pt x="379" y="227"/>
                      <a:pt x="567" y="227"/>
                    </a:cubicBezTo>
                    <a:cubicBezTo>
                      <a:pt x="567" y="227"/>
                      <a:pt x="567" y="227"/>
                      <a:pt x="567" y="227"/>
                    </a:cubicBezTo>
                    <a:cubicBezTo>
                      <a:pt x="567" y="227"/>
                      <a:pt x="561" y="199"/>
                      <a:pt x="560" y="181"/>
                    </a:cubicBezTo>
                    <a:cubicBezTo>
                      <a:pt x="558" y="162"/>
                      <a:pt x="567" y="132"/>
                      <a:pt x="575" y="132"/>
                    </a:cubicBezTo>
                    <a:cubicBezTo>
                      <a:pt x="584" y="132"/>
                      <a:pt x="590" y="145"/>
                      <a:pt x="609" y="145"/>
                    </a:cubicBezTo>
                    <a:cubicBezTo>
                      <a:pt x="626" y="145"/>
                      <a:pt x="639" y="128"/>
                      <a:pt x="639" y="113"/>
                    </a:cubicBezTo>
                    <a:cubicBezTo>
                      <a:pt x="639" y="98"/>
                      <a:pt x="628" y="83"/>
                      <a:pt x="609" y="83"/>
                    </a:cubicBezTo>
                    <a:cubicBezTo>
                      <a:pt x="589" y="83"/>
                      <a:pt x="587" y="95"/>
                      <a:pt x="575" y="95"/>
                    </a:cubicBezTo>
                    <a:cubicBezTo>
                      <a:pt x="564" y="95"/>
                      <a:pt x="562" y="78"/>
                      <a:pt x="560" y="61"/>
                    </a:cubicBezTo>
                    <a:cubicBezTo>
                      <a:pt x="558" y="45"/>
                      <a:pt x="562" y="25"/>
                      <a:pt x="567" y="0"/>
                    </a:cubicBezTo>
                    <a:cubicBezTo>
                      <a:pt x="254" y="0"/>
                      <a:pt x="0" y="254"/>
                      <a:pt x="0" y="567"/>
                    </a:cubicBezTo>
                    <a:cubicBezTo>
                      <a:pt x="26" y="572"/>
                      <a:pt x="45" y="576"/>
                      <a:pt x="61" y="57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C75CB4BF-C440-4A7A-A556-901C29AB40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1868" y="3651775"/>
                <a:ext cx="1980532" cy="1788656"/>
              </a:xfrm>
              <a:custGeom>
                <a:avLst/>
                <a:gdLst>
                  <a:gd name="T0" fmla="*/ 638 w 638"/>
                  <a:gd name="T1" fmla="*/ 9 h 576"/>
                  <a:gd name="T2" fmla="*/ 577 w 638"/>
                  <a:gd name="T3" fmla="*/ 2 h 576"/>
                  <a:gd name="T4" fmla="*/ 543 w 638"/>
                  <a:gd name="T5" fmla="*/ 17 h 576"/>
                  <a:gd name="T6" fmla="*/ 555 w 638"/>
                  <a:gd name="T7" fmla="*/ 51 h 576"/>
                  <a:gd name="T8" fmla="*/ 525 w 638"/>
                  <a:gd name="T9" fmla="*/ 80 h 576"/>
                  <a:gd name="T10" fmla="*/ 493 w 638"/>
                  <a:gd name="T11" fmla="*/ 51 h 576"/>
                  <a:gd name="T12" fmla="*/ 506 w 638"/>
                  <a:gd name="T13" fmla="*/ 17 h 576"/>
                  <a:gd name="T14" fmla="*/ 457 w 638"/>
                  <a:gd name="T15" fmla="*/ 1 h 576"/>
                  <a:gd name="T16" fmla="*/ 411 w 638"/>
                  <a:gd name="T17" fmla="*/ 9 h 576"/>
                  <a:gd name="T18" fmla="*/ 411 w 638"/>
                  <a:gd name="T19" fmla="*/ 9 h 576"/>
                  <a:gd name="T20" fmla="*/ 71 w 638"/>
                  <a:gd name="T21" fmla="*/ 349 h 576"/>
                  <a:gd name="T22" fmla="*/ 71 w 638"/>
                  <a:gd name="T23" fmla="*/ 349 h 576"/>
                  <a:gd name="T24" fmla="*/ 78 w 638"/>
                  <a:gd name="T25" fmla="*/ 395 h 576"/>
                  <a:gd name="T26" fmla="*/ 63 w 638"/>
                  <a:gd name="T27" fmla="*/ 444 h 576"/>
                  <a:gd name="T28" fmla="*/ 29 w 638"/>
                  <a:gd name="T29" fmla="*/ 431 h 576"/>
                  <a:gd name="T30" fmla="*/ 0 w 638"/>
                  <a:gd name="T31" fmla="*/ 462 h 576"/>
                  <a:gd name="T32" fmla="*/ 29 w 638"/>
                  <a:gd name="T33" fmla="*/ 492 h 576"/>
                  <a:gd name="T34" fmla="*/ 63 w 638"/>
                  <a:gd name="T35" fmla="*/ 481 h 576"/>
                  <a:gd name="T36" fmla="*/ 78 w 638"/>
                  <a:gd name="T37" fmla="*/ 515 h 576"/>
                  <a:gd name="T38" fmla="*/ 71 w 638"/>
                  <a:gd name="T39" fmla="*/ 576 h 576"/>
                  <a:gd name="T40" fmla="*/ 638 w 638"/>
                  <a:gd name="T41" fmla="*/ 9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8" h="576">
                    <a:moveTo>
                      <a:pt x="638" y="9"/>
                    </a:moveTo>
                    <a:cubicBezTo>
                      <a:pt x="613" y="4"/>
                      <a:pt x="593" y="0"/>
                      <a:pt x="577" y="2"/>
                    </a:cubicBezTo>
                    <a:cubicBezTo>
                      <a:pt x="560" y="4"/>
                      <a:pt x="543" y="6"/>
                      <a:pt x="543" y="17"/>
                    </a:cubicBezTo>
                    <a:cubicBezTo>
                      <a:pt x="543" y="28"/>
                      <a:pt x="555" y="31"/>
                      <a:pt x="555" y="51"/>
                    </a:cubicBezTo>
                    <a:cubicBezTo>
                      <a:pt x="555" y="70"/>
                      <a:pt x="540" y="80"/>
                      <a:pt x="525" y="80"/>
                    </a:cubicBezTo>
                    <a:cubicBezTo>
                      <a:pt x="510" y="80"/>
                      <a:pt x="493" y="67"/>
                      <a:pt x="493" y="51"/>
                    </a:cubicBezTo>
                    <a:cubicBezTo>
                      <a:pt x="493" y="32"/>
                      <a:pt x="506" y="25"/>
                      <a:pt x="506" y="17"/>
                    </a:cubicBezTo>
                    <a:cubicBezTo>
                      <a:pt x="506" y="8"/>
                      <a:pt x="476" y="0"/>
                      <a:pt x="457" y="1"/>
                    </a:cubicBezTo>
                    <a:cubicBezTo>
                      <a:pt x="438" y="3"/>
                      <a:pt x="411" y="9"/>
                      <a:pt x="411" y="9"/>
                    </a:cubicBezTo>
                    <a:cubicBezTo>
                      <a:pt x="411" y="9"/>
                      <a:pt x="411" y="9"/>
                      <a:pt x="411" y="9"/>
                    </a:cubicBezTo>
                    <a:cubicBezTo>
                      <a:pt x="411" y="197"/>
                      <a:pt x="259" y="349"/>
                      <a:pt x="71" y="349"/>
                    </a:cubicBezTo>
                    <a:cubicBezTo>
                      <a:pt x="71" y="349"/>
                      <a:pt x="71" y="349"/>
                      <a:pt x="71" y="349"/>
                    </a:cubicBezTo>
                    <a:cubicBezTo>
                      <a:pt x="71" y="349"/>
                      <a:pt x="77" y="376"/>
                      <a:pt x="78" y="395"/>
                    </a:cubicBezTo>
                    <a:cubicBezTo>
                      <a:pt x="80" y="414"/>
                      <a:pt x="72" y="444"/>
                      <a:pt x="63" y="444"/>
                    </a:cubicBezTo>
                    <a:cubicBezTo>
                      <a:pt x="55" y="444"/>
                      <a:pt x="48" y="431"/>
                      <a:pt x="29" y="431"/>
                    </a:cubicBezTo>
                    <a:cubicBezTo>
                      <a:pt x="13" y="431"/>
                      <a:pt x="0" y="447"/>
                      <a:pt x="0" y="462"/>
                    </a:cubicBezTo>
                    <a:cubicBezTo>
                      <a:pt x="0" y="477"/>
                      <a:pt x="10" y="492"/>
                      <a:pt x="29" y="492"/>
                    </a:cubicBezTo>
                    <a:cubicBezTo>
                      <a:pt x="49" y="492"/>
                      <a:pt x="52" y="481"/>
                      <a:pt x="63" y="481"/>
                    </a:cubicBezTo>
                    <a:cubicBezTo>
                      <a:pt x="74" y="481"/>
                      <a:pt x="76" y="498"/>
                      <a:pt x="78" y="515"/>
                    </a:cubicBezTo>
                    <a:cubicBezTo>
                      <a:pt x="80" y="531"/>
                      <a:pt x="76" y="550"/>
                      <a:pt x="71" y="576"/>
                    </a:cubicBezTo>
                    <a:cubicBezTo>
                      <a:pt x="384" y="576"/>
                      <a:pt x="638" y="322"/>
                      <a:pt x="638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Rechteck 15">
                <a:extLst>
                  <a:ext uri="{FF2B5EF4-FFF2-40B4-BE49-F238E27FC236}">
                    <a16:creationId xmlns:a16="http://schemas.microsoft.com/office/drawing/2014/main" id="{E07D3C63-A7F7-4085-BB70-ED04B4122931}"/>
                  </a:ext>
                </a:extLst>
              </p:cNvPr>
              <p:cNvSpPr/>
              <p:nvPr/>
            </p:nvSpPr>
            <p:spPr bwMode="gray">
              <a:xfrm>
                <a:off x="4549115" y="1919631"/>
                <a:ext cx="1783285" cy="1980532"/>
              </a:xfrm>
              <a:custGeom>
                <a:avLst/>
                <a:gdLst/>
                <a:ahLst/>
                <a:cxnLst/>
                <a:rect l="l" t="t" r="r" b="b"/>
                <a:pathLst>
                  <a:path w="1783285" h="1980532">
                    <a:moveTo>
                      <a:pt x="23871" y="0"/>
                    </a:moveTo>
                    <a:cubicBezTo>
                      <a:pt x="995117" y="0"/>
                      <a:pt x="1783285" y="788488"/>
                      <a:pt x="1783285" y="1760128"/>
                    </a:cubicBezTo>
                    <a:cubicBezTo>
                      <a:pt x="1705710" y="1744607"/>
                      <a:pt x="1643649" y="1732190"/>
                      <a:pt x="1594001" y="1738398"/>
                    </a:cubicBezTo>
                    <a:cubicBezTo>
                      <a:pt x="1541249" y="1744607"/>
                      <a:pt x="1488498" y="1750815"/>
                      <a:pt x="1488498" y="1784962"/>
                    </a:cubicBezTo>
                    <a:cubicBezTo>
                      <a:pt x="1488498" y="1819110"/>
                      <a:pt x="1525734" y="1828422"/>
                      <a:pt x="1525734" y="1890508"/>
                    </a:cubicBezTo>
                    <a:cubicBezTo>
                      <a:pt x="1525734" y="1949489"/>
                      <a:pt x="1479189" y="1980532"/>
                      <a:pt x="1432644" y="1980532"/>
                    </a:cubicBezTo>
                    <a:cubicBezTo>
                      <a:pt x="1386098" y="1980532"/>
                      <a:pt x="1333347" y="1940177"/>
                      <a:pt x="1333347" y="1890508"/>
                    </a:cubicBezTo>
                    <a:cubicBezTo>
                      <a:pt x="1333347" y="1831527"/>
                      <a:pt x="1373686" y="1809797"/>
                      <a:pt x="1373686" y="1784962"/>
                    </a:cubicBezTo>
                    <a:cubicBezTo>
                      <a:pt x="1373686" y="1757024"/>
                      <a:pt x="1280595" y="1732190"/>
                      <a:pt x="1221638" y="1735294"/>
                    </a:cubicBezTo>
                    <a:cubicBezTo>
                      <a:pt x="1162692" y="1741501"/>
                      <a:pt x="1078932" y="1760121"/>
                      <a:pt x="1078899" y="1760128"/>
                    </a:cubicBezTo>
                    <a:cubicBezTo>
                      <a:pt x="1078899" y="1176523"/>
                      <a:pt x="607240" y="704672"/>
                      <a:pt x="23871" y="704672"/>
                    </a:cubicBezTo>
                    <a:cubicBezTo>
                      <a:pt x="23864" y="704637"/>
                      <a:pt x="17915" y="676857"/>
                      <a:pt x="12341" y="642594"/>
                    </a:cubicBezTo>
                    <a:lnTo>
                      <a:pt x="11859" y="642594"/>
                    </a:lnTo>
                    <a:cubicBezTo>
                      <a:pt x="7277" y="616245"/>
                      <a:pt x="2972" y="585997"/>
                      <a:pt x="1618" y="561647"/>
                    </a:cubicBezTo>
                    <a:cubicBezTo>
                      <a:pt x="-4593" y="502690"/>
                      <a:pt x="23357" y="409599"/>
                      <a:pt x="48202" y="409599"/>
                    </a:cubicBezTo>
                    <a:cubicBezTo>
                      <a:pt x="76153" y="409599"/>
                      <a:pt x="94786" y="449938"/>
                      <a:pt x="153792" y="449938"/>
                    </a:cubicBezTo>
                    <a:cubicBezTo>
                      <a:pt x="206587" y="449938"/>
                      <a:pt x="246960" y="397187"/>
                      <a:pt x="246960" y="350642"/>
                    </a:cubicBezTo>
                    <a:cubicBezTo>
                      <a:pt x="246960" y="304096"/>
                      <a:pt x="212799" y="257551"/>
                      <a:pt x="153792" y="257551"/>
                    </a:cubicBezTo>
                    <a:cubicBezTo>
                      <a:pt x="91680" y="257551"/>
                      <a:pt x="85469" y="294787"/>
                      <a:pt x="48202" y="294787"/>
                    </a:cubicBezTo>
                    <a:cubicBezTo>
                      <a:pt x="14041" y="294787"/>
                      <a:pt x="7829" y="242036"/>
                      <a:pt x="1618" y="189285"/>
                    </a:cubicBezTo>
                    <a:cubicBezTo>
                      <a:pt x="-2276" y="158158"/>
                      <a:pt x="1154" y="122154"/>
                      <a:pt x="8768" y="80620"/>
                    </a:cubicBezTo>
                    <a:lnTo>
                      <a:pt x="9300" y="80620"/>
                    </a:ln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" name="Gruppieren 27">
              <a:extLst>
                <a:ext uri="{FF2B5EF4-FFF2-40B4-BE49-F238E27FC236}">
                  <a16:creationId xmlns:a16="http://schemas.microsoft.com/office/drawing/2014/main" id="{3EA62475-D15E-4640-B32B-893CFDD9FC65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grpSp>
            <p:nvGrpSpPr>
              <p:cNvPr id="5" name="Gruppieren 28">
                <a:extLst>
                  <a:ext uri="{FF2B5EF4-FFF2-40B4-BE49-F238E27FC236}">
                    <a16:creationId xmlns:a16="http://schemas.microsoft.com/office/drawing/2014/main" id="{895B0F24-61A0-48E7-84BA-BF20EB23035B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15" name="Text Box 13" descr="PresentationLoad.com">
                  <a:extLst>
                    <a:ext uri="{FF2B5EF4-FFF2-40B4-BE49-F238E27FC236}">
                      <a16:creationId xmlns:a16="http://schemas.microsoft.com/office/drawing/2014/main" id="{97E2A2C9-8D9A-4015-9779-4B632078C15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1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6" name="Gerade Verbindung 39" descr="PresentationLoad.com">
                  <a:extLst>
                    <a:ext uri="{FF2B5EF4-FFF2-40B4-BE49-F238E27FC236}">
                      <a16:creationId xmlns:a16="http://schemas.microsoft.com/office/drawing/2014/main" id="{78AF14BE-9D5A-447A-902C-183EF95ACB9E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6" name="Gruppieren 29">
                <a:extLst>
                  <a:ext uri="{FF2B5EF4-FFF2-40B4-BE49-F238E27FC236}">
                    <a16:creationId xmlns:a16="http://schemas.microsoft.com/office/drawing/2014/main" id="{370F1BF3-05BE-437E-886C-EF859ADAD029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13" name="Text Box 13" descr="PresentationLoad.com">
                  <a:extLst>
                    <a:ext uri="{FF2B5EF4-FFF2-40B4-BE49-F238E27FC236}">
                      <a16:creationId xmlns:a16="http://schemas.microsoft.com/office/drawing/2014/main" id="{0EAB4445-1139-450B-BF49-B0A67C18025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2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4" name="Gerade Verbindung 37" descr="PresentationLoad.com">
                  <a:extLst>
                    <a:ext uri="{FF2B5EF4-FFF2-40B4-BE49-F238E27FC236}">
                      <a16:creationId xmlns:a16="http://schemas.microsoft.com/office/drawing/2014/main" id="{85461C15-E9C3-48C2-8E26-0945F9CC4BE3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7" name="Gruppieren 30">
                <a:extLst>
                  <a:ext uri="{FF2B5EF4-FFF2-40B4-BE49-F238E27FC236}">
                    <a16:creationId xmlns:a16="http://schemas.microsoft.com/office/drawing/2014/main" id="{7A2D0107-9628-447B-8B49-DB0FE2E3B36B}"/>
                  </a:ext>
                </a:extLst>
              </p:cNvPr>
              <p:cNvGrpSpPr/>
              <p:nvPr/>
            </p:nvGrpSpPr>
            <p:grpSpPr>
              <a:xfrm>
                <a:off x="517827" y="4530892"/>
                <a:ext cx="3465838" cy="951730"/>
                <a:chOff x="517827" y="4530892"/>
                <a:chExt cx="3465838" cy="951730"/>
              </a:xfrm>
            </p:grpSpPr>
            <p:sp>
              <p:nvSpPr>
                <p:cNvPr id="11" name="Text Box 13" descr="PresentationLoad.com">
                  <a:extLst>
                    <a:ext uri="{FF2B5EF4-FFF2-40B4-BE49-F238E27FC236}">
                      <a16:creationId xmlns:a16="http://schemas.microsoft.com/office/drawing/2014/main" id="{66510426-2CF9-4BEE-B4C9-D1763523DD1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4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2" name="Gerade Verbindung 35" descr="PresentationLoad.com">
                  <a:extLst>
                    <a:ext uri="{FF2B5EF4-FFF2-40B4-BE49-F238E27FC236}">
                      <a16:creationId xmlns:a16="http://schemas.microsoft.com/office/drawing/2014/main" id="{44F65E55-3694-4B40-B789-3C282738C62E}"/>
                    </a:ext>
                  </a:extLst>
                </p:cNvPr>
                <p:cNvCxnSpPr/>
                <p:nvPr/>
              </p:nvCxnSpPr>
              <p:spPr bwMode="gray">
                <a:xfrm>
                  <a:off x="529116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8" name="Gruppieren 31">
                <a:extLst>
                  <a:ext uri="{FF2B5EF4-FFF2-40B4-BE49-F238E27FC236}">
                    <a16:creationId xmlns:a16="http://schemas.microsoft.com/office/drawing/2014/main" id="{99323F8E-6D36-49A8-8552-DE75E7B669FD}"/>
                  </a:ext>
                </a:extLst>
              </p:cNvPr>
              <p:cNvGrpSpPr/>
              <p:nvPr/>
            </p:nvGrpSpPr>
            <p:grpSpPr>
              <a:xfrm>
                <a:off x="8194840" y="4530892"/>
                <a:ext cx="3465838" cy="951730"/>
                <a:chOff x="8194840" y="4530892"/>
                <a:chExt cx="3465838" cy="951730"/>
              </a:xfrm>
            </p:grpSpPr>
            <p:sp>
              <p:nvSpPr>
                <p:cNvPr id="9" name="Text Box 13" descr="PresentationLoad.com">
                  <a:extLst>
                    <a:ext uri="{FF2B5EF4-FFF2-40B4-BE49-F238E27FC236}">
                      <a16:creationId xmlns:a16="http://schemas.microsoft.com/office/drawing/2014/main" id="{CE77988E-6D65-4D0A-BCDD-E02883ECBBA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3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0" name="Gerade Verbindung 33" descr="PresentationLoad.com">
                  <a:extLst>
                    <a:ext uri="{FF2B5EF4-FFF2-40B4-BE49-F238E27FC236}">
                      <a16:creationId xmlns:a16="http://schemas.microsoft.com/office/drawing/2014/main" id="{F57FE941-A749-4940-BCD5-44EBC8684181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</p:grpSp>
      </p:grpSp>
    </p:spTree>
    <p:extLst>
      <p:ext uri="{BB962C8B-B14F-4D97-AF65-F5344CB8AC3E}">
        <p14:creationId xmlns:p14="http://schemas.microsoft.com/office/powerpoint/2010/main" val="3512081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1">
            <a:extLst>
              <a:ext uri="{FF2B5EF4-FFF2-40B4-BE49-F238E27FC236}">
                <a16:creationId xmlns:a16="http://schemas.microsoft.com/office/drawing/2014/main" id="{6989E2F9-4CF9-4A4B-8881-C99D4B2B217E}"/>
              </a:ext>
            </a:extLst>
          </p:cNvPr>
          <p:cNvGrpSpPr/>
          <p:nvPr/>
        </p:nvGrpSpPr>
        <p:grpSpPr>
          <a:xfrm>
            <a:off x="524574" y="1460627"/>
            <a:ext cx="11142851" cy="4699539"/>
            <a:chOff x="517827" y="1838999"/>
            <a:chExt cx="11142851" cy="4699539"/>
          </a:xfrm>
        </p:grpSpPr>
        <p:grpSp>
          <p:nvGrpSpPr>
            <p:cNvPr id="25" name="Gruppieren 85">
              <a:extLst>
                <a:ext uri="{FF2B5EF4-FFF2-40B4-BE49-F238E27FC236}">
                  <a16:creationId xmlns:a16="http://schemas.microsoft.com/office/drawing/2014/main" id="{6CA42954-B1B5-4EDF-8D5E-6950C90C7280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0" cy="3520800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40" name="Freeform 36">
                <a:extLst>
                  <a:ext uri="{FF2B5EF4-FFF2-40B4-BE49-F238E27FC236}">
                    <a16:creationId xmlns:a16="http://schemas.microsoft.com/office/drawing/2014/main" id="{7A5EAF5E-AD3D-46D3-85E7-F9788E26DD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54288" y="1298575"/>
                <a:ext cx="2290763" cy="1731963"/>
              </a:xfrm>
              <a:custGeom>
                <a:avLst/>
                <a:gdLst>
                  <a:gd name="T0" fmla="*/ 56 w 611"/>
                  <a:gd name="T1" fmla="*/ 417 h 462"/>
                  <a:gd name="T2" fmla="*/ 92 w 611"/>
                  <a:gd name="T3" fmla="*/ 413 h 462"/>
                  <a:gd name="T4" fmla="*/ 92 w 611"/>
                  <a:gd name="T5" fmla="*/ 378 h 462"/>
                  <a:gd name="T6" fmla="*/ 130 w 611"/>
                  <a:gd name="T7" fmla="*/ 359 h 462"/>
                  <a:gd name="T8" fmla="*/ 151 w 611"/>
                  <a:gd name="T9" fmla="*/ 397 h 462"/>
                  <a:gd name="T10" fmla="*/ 128 w 611"/>
                  <a:gd name="T11" fmla="*/ 425 h 462"/>
                  <a:gd name="T12" fmla="*/ 170 w 611"/>
                  <a:gd name="T13" fmla="*/ 455 h 462"/>
                  <a:gd name="T14" fmla="*/ 216 w 611"/>
                  <a:gd name="T15" fmla="*/ 462 h 462"/>
                  <a:gd name="T16" fmla="*/ 216 w 611"/>
                  <a:gd name="T17" fmla="*/ 462 h 462"/>
                  <a:gd name="T18" fmla="*/ 539 w 611"/>
                  <a:gd name="T19" fmla="*/ 227 h 462"/>
                  <a:gd name="T20" fmla="*/ 539 w 611"/>
                  <a:gd name="T21" fmla="*/ 227 h 462"/>
                  <a:gd name="T22" fmla="*/ 539 w 611"/>
                  <a:gd name="T23" fmla="*/ 227 h 462"/>
                  <a:gd name="T24" fmla="*/ 532 w 611"/>
                  <a:gd name="T25" fmla="*/ 181 h 462"/>
                  <a:gd name="T26" fmla="*/ 547 w 611"/>
                  <a:gd name="T27" fmla="*/ 132 h 462"/>
                  <a:gd name="T28" fmla="*/ 581 w 611"/>
                  <a:gd name="T29" fmla="*/ 145 h 462"/>
                  <a:gd name="T30" fmla="*/ 611 w 611"/>
                  <a:gd name="T31" fmla="*/ 113 h 462"/>
                  <a:gd name="T32" fmla="*/ 581 w 611"/>
                  <a:gd name="T33" fmla="*/ 83 h 462"/>
                  <a:gd name="T34" fmla="*/ 547 w 611"/>
                  <a:gd name="T35" fmla="*/ 95 h 462"/>
                  <a:gd name="T36" fmla="*/ 532 w 611"/>
                  <a:gd name="T37" fmla="*/ 61 h 462"/>
                  <a:gd name="T38" fmla="*/ 539 w 611"/>
                  <a:gd name="T39" fmla="*/ 0 h 462"/>
                  <a:gd name="T40" fmla="*/ 0 w 611"/>
                  <a:gd name="T41" fmla="*/ 392 h 462"/>
                  <a:gd name="T42" fmla="*/ 0 w 611"/>
                  <a:gd name="T43" fmla="*/ 392 h 462"/>
                  <a:gd name="T44" fmla="*/ 56 w 611"/>
                  <a:gd name="T45" fmla="*/ 417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1" h="462">
                    <a:moveTo>
                      <a:pt x="56" y="417"/>
                    </a:moveTo>
                    <a:cubicBezTo>
                      <a:pt x="73" y="420"/>
                      <a:pt x="89" y="424"/>
                      <a:pt x="92" y="413"/>
                    </a:cubicBezTo>
                    <a:cubicBezTo>
                      <a:pt x="96" y="402"/>
                      <a:pt x="86" y="396"/>
                      <a:pt x="92" y="378"/>
                    </a:cubicBezTo>
                    <a:cubicBezTo>
                      <a:pt x="98" y="359"/>
                      <a:pt x="116" y="354"/>
                      <a:pt x="130" y="359"/>
                    </a:cubicBezTo>
                    <a:cubicBezTo>
                      <a:pt x="144" y="363"/>
                      <a:pt x="156" y="381"/>
                      <a:pt x="151" y="397"/>
                    </a:cubicBezTo>
                    <a:cubicBezTo>
                      <a:pt x="145" y="415"/>
                      <a:pt x="131" y="417"/>
                      <a:pt x="128" y="425"/>
                    </a:cubicBezTo>
                    <a:cubicBezTo>
                      <a:pt x="125" y="433"/>
                      <a:pt x="151" y="450"/>
                      <a:pt x="170" y="455"/>
                    </a:cubicBezTo>
                    <a:cubicBezTo>
                      <a:pt x="188" y="459"/>
                      <a:pt x="216" y="462"/>
                      <a:pt x="216" y="462"/>
                    </a:cubicBezTo>
                    <a:cubicBezTo>
                      <a:pt x="216" y="462"/>
                      <a:pt x="216" y="462"/>
                      <a:pt x="216" y="462"/>
                    </a:cubicBezTo>
                    <a:cubicBezTo>
                      <a:pt x="260" y="325"/>
                      <a:pt x="388" y="227"/>
                      <a:pt x="539" y="227"/>
                    </a:cubicBezTo>
                    <a:cubicBezTo>
                      <a:pt x="539" y="227"/>
                      <a:pt x="539" y="227"/>
                      <a:pt x="539" y="227"/>
                    </a:cubicBezTo>
                    <a:cubicBezTo>
                      <a:pt x="539" y="227"/>
                      <a:pt x="539" y="227"/>
                      <a:pt x="539" y="227"/>
                    </a:cubicBezTo>
                    <a:cubicBezTo>
                      <a:pt x="539" y="227"/>
                      <a:pt x="533" y="199"/>
                      <a:pt x="532" y="181"/>
                    </a:cubicBezTo>
                    <a:cubicBezTo>
                      <a:pt x="530" y="162"/>
                      <a:pt x="539" y="132"/>
                      <a:pt x="547" y="132"/>
                    </a:cubicBezTo>
                    <a:cubicBezTo>
                      <a:pt x="556" y="132"/>
                      <a:pt x="562" y="145"/>
                      <a:pt x="581" y="145"/>
                    </a:cubicBezTo>
                    <a:cubicBezTo>
                      <a:pt x="598" y="145"/>
                      <a:pt x="611" y="128"/>
                      <a:pt x="611" y="113"/>
                    </a:cubicBezTo>
                    <a:cubicBezTo>
                      <a:pt x="611" y="98"/>
                      <a:pt x="600" y="83"/>
                      <a:pt x="581" y="83"/>
                    </a:cubicBezTo>
                    <a:cubicBezTo>
                      <a:pt x="561" y="83"/>
                      <a:pt x="559" y="95"/>
                      <a:pt x="547" y="95"/>
                    </a:cubicBezTo>
                    <a:cubicBezTo>
                      <a:pt x="536" y="95"/>
                      <a:pt x="534" y="78"/>
                      <a:pt x="532" y="61"/>
                    </a:cubicBezTo>
                    <a:cubicBezTo>
                      <a:pt x="530" y="45"/>
                      <a:pt x="534" y="25"/>
                      <a:pt x="539" y="0"/>
                    </a:cubicBezTo>
                    <a:cubicBezTo>
                      <a:pt x="287" y="0"/>
                      <a:pt x="74" y="164"/>
                      <a:pt x="0" y="392"/>
                    </a:cubicBezTo>
                    <a:cubicBezTo>
                      <a:pt x="0" y="392"/>
                      <a:pt x="0" y="392"/>
                      <a:pt x="0" y="392"/>
                    </a:cubicBezTo>
                    <a:cubicBezTo>
                      <a:pt x="23" y="404"/>
                      <a:pt x="40" y="414"/>
                      <a:pt x="56" y="417"/>
                    </a:cubicBezTo>
                    <a:close/>
                  </a:path>
                </a:pathLst>
              </a:custGeom>
              <a:solidFill>
                <a:srgbClr val="C8303F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Freeform 37">
                <a:extLst>
                  <a:ext uri="{FF2B5EF4-FFF2-40B4-BE49-F238E27FC236}">
                    <a16:creationId xmlns:a16="http://schemas.microsoft.com/office/drawing/2014/main" id="{C882B4B6-356D-4A0B-8F42-440B19F3EA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2054225" cy="1870075"/>
              </a:xfrm>
              <a:custGeom>
                <a:avLst/>
                <a:gdLst>
                  <a:gd name="T0" fmla="*/ 9 w 548"/>
                  <a:gd name="T1" fmla="*/ 0 h 499"/>
                  <a:gd name="T2" fmla="*/ 2 w 548"/>
                  <a:gd name="T3" fmla="*/ 61 h 499"/>
                  <a:gd name="T4" fmla="*/ 17 w 548"/>
                  <a:gd name="T5" fmla="*/ 95 h 499"/>
                  <a:gd name="T6" fmla="*/ 51 w 548"/>
                  <a:gd name="T7" fmla="*/ 83 h 499"/>
                  <a:gd name="T8" fmla="*/ 81 w 548"/>
                  <a:gd name="T9" fmla="*/ 113 h 499"/>
                  <a:gd name="T10" fmla="*/ 51 w 548"/>
                  <a:gd name="T11" fmla="*/ 145 h 499"/>
                  <a:gd name="T12" fmla="*/ 17 w 548"/>
                  <a:gd name="T13" fmla="*/ 132 h 499"/>
                  <a:gd name="T14" fmla="*/ 2 w 548"/>
                  <a:gd name="T15" fmla="*/ 181 h 499"/>
                  <a:gd name="T16" fmla="*/ 9 w 548"/>
                  <a:gd name="T17" fmla="*/ 227 h 499"/>
                  <a:gd name="T18" fmla="*/ 9 w 548"/>
                  <a:gd name="T19" fmla="*/ 227 h 499"/>
                  <a:gd name="T20" fmla="*/ 333 w 548"/>
                  <a:gd name="T21" fmla="*/ 462 h 499"/>
                  <a:gd name="T22" fmla="*/ 333 w 548"/>
                  <a:gd name="T23" fmla="*/ 462 h 499"/>
                  <a:gd name="T24" fmla="*/ 374 w 548"/>
                  <a:gd name="T25" fmla="*/ 441 h 499"/>
                  <a:gd name="T26" fmla="*/ 425 w 548"/>
                  <a:gd name="T27" fmla="*/ 440 h 499"/>
                  <a:gd name="T28" fmla="*/ 423 w 548"/>
                  <a:gd name="T29" fmla="*/ 476 h 499"/>
                  <a:gd name="T30" fmla="*/ 463 w 548"/>
                  <a:gd name="T31" fmla="*/ 495 h 499"/>
                  <a:gd name="T32" fmla="*/ 482 w 548"/>
                  <a:gd name="T33" fmla="*/ 457 h 499"/>
                  <a:gd name="T34" fmla="*/ 461 w 548"/>
                  <a:gd name="T35" fmla="*/ 429 h 499"/>
                  <a:gd name="T36" fmla="*/ 488 w 548"/>
                  <a:gd name="T37" fmla="*/ 404 h 499"/>
                  <a:gd name="T38" fmla="*/ 548 w 548"/>
                  <a:gd name="T39" fmla="*/ 392 h 499"/>
                  <a:gd name="T40" fmla="*/ 548 w 548"/>
                  <a:gd name="T41" fmla="*/ 392 h 499"/>
                  <a:gd name="T42" fmla="*/ 9 w 548"/>
                  <a:gd name="T43" fmla="*/ 0 h 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48" h="499">
                    <a:moveTo>
                      <a:pt x="9" y="0"/>
                    </a:move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60" y="227"/>
                      <a:pt x="288" y="325"/>
                      <a:pt x="333" y="462"/>
                    </a:cubicBezTo>
                    <a:cubicBezTo>
                      <a:pt x="333" y="462"/>
                      <a:pt x="333" y="462"/>
                      <a:pt x="333" y="462"/>
                    </a:cubicBezTo>
                    <a:cubicBezTo>
                      <a:pt x="333" y="462"/>
                      <a:pt x="357" y="448"/>
                      <a:pt x="374" y="441"/>
                    </a:cubicBezTo>
                    <a:cubicBezTo>
                      <a:pt x="391" y="433"/>
                      <a:pt x="422" y="432"/>
                      <a:pt x="425" y="440"/>
                    </a:cubicBezTo>
                    <a:cubicBezTo>
                      <a:pt x="428" y="448"/>
                      <a:pt x="417" y="458"/>
                      <a:pt x="423" y="476"/>
                    </a:cubicBezTo>
                    <a:cubicBezTo>
                      <a:pt x="428" y="492"/>
                      <a:pt x="448" y="499"/>
                      <a:pt x="463" y="495"/>
                    </a:cubicBezTo>
                    <a:cubicBezTo>
                      <a:pt x="477" y="490"/>
                      <a:pt x="488" y="476"/>
                      <a:pt x="482" y="457"/>
                    </a:cubicBezTo>
                    <a:cubicBezTo>
                      <a:pt x="476" y="438"/>
                      <a:pt x="464" y="439"/>
                      <a:pt x="461" y="429"/>
                    </a:cubicBezTo>
                    <a:cubicBezTo>
                      <a:pt x="457" y="418"/>
                      <a:pt x="472" y="411"/>
                      <a:pt x="488" y="404"/>
                    </a:cubicBezTo>
                    <a:cubicBezTo>
                      <a:pt x="503" y="397"/>
                      <a:pt x="523" y="395"/>
                      <a:pt x="548" y="392"/>
                    </a:cubicBezTo>
                    <a:cubicBezTo>
                      <a:pt x="548" y="392"/>
                      <a:pt x="548" y="392"/>
                      <a:pt x="548" y="392"/>
                    </a:cubicBezTo>
                    <a:cubicBezTo>
                      <a:pt x="474" y="164"/>
                      <a:pt x="261" y="0"/>
                      <a:pt x="9" y="0"/>
                    </a:cubicBezTo>
                    <a:close/>
                  </a:path>
                </a:pathLst>
              </a:custGeom>
              <a:solidFill>
                <a:srgbClr val="3498DB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Freeform 38">
                <a:extLst>
                  <a:ext uri="{FF2B5EF4-FFF2-40B4-BE49-F238E27FC236}">
                    <a16:creationId xmlns:a16="http://schemas.microsoft.com/office/drawing/2014/main" id="{7C8002D4-D615-48E3-8AEC-5D6CD5B944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625725"/>
                <a:ext cx="1376363" cy="2516188"/>
              </a:xfrm>
              <a:custGeom>
                <a:avLst/>
                <a:gdLst>
                  <a:gd name="T0" fmla="*/ 275 w 367"/>
                  <a:gd name="T1" fmla="*/ 626 h 671"/>
                  <a:gd name="T2" fmla="*/ 283 w 367"/>
                  <a:gd name="T3" fmla="*/ 590 h 671"/>
                  <a:gd name="T4" fmla="*/ 249 w 367"/>
                  <a:gd name="T5" fmla="*/ 579 h 671"/>
                  <a:gd name="T6" fmla="*/ 243 w 367"/>
                  <a:gd name="T7" fmla="*/ 538 h 671"/>
                  <a:gd name="T8" fmla="*/ 285 w 367"/>
                  <a:gd name="T9" fmla="*/ 530 h 671"/>
                  <a:gd name="T10" fmla="*/ 305 w 367"/>
                  <a:gd name="T11" fmla="*/ 560 h 671"/>
                  <a:gd name="T12" fmla="*/ 346 w 367"/>
                  <a:gd name="T13" fmla="*/ 529 h 671"/>
                  <a:gd name="T14" fmla="*/ 367 w 367"/>
                  <a:gd name="T15" fmla="*/ 488 h 671"/>
                  <a:gd name="T16" fmla="*/ 367 w 367"/>
                  <a:gd name="T17" fmla="*/ 488 h 671"/>
                  <a:gd name="T18" fmla="*/ 227 w 367"/>
                  <a:gd name="T19" fmla="*/ 213 h 671"/>
                  <a:gd name="T20" fmla="*/ 244 w 367"/>
                  <a:gd name="T21" fmla="*/ 108 h 671"/>
                  <a:gd name="T22" fmla="*/ 244 w 367"/>
                  <a:gd name="T23" fmla="*/ 108 h 671"/>
                  <a:gd name="T24" fmla="*/ 198 w 367"/>
                  <a:gd name="T25" fmla="*/ 101 h 671"/>
                  <a:gd name="T26" fmla="*/ 156 w 367"/>
                  <a:gd name="T27" fmla="*/ 71 h 671"/>
                  <a:gd name="T28" fmla="*/ 179 w 367"/>
                  <a:gd name="T29" fmla="*/ 43 h 671"/>
                  <a:gd name="T30" fmla="*/ 158 w 367"/>
                  <a:gd name="T31" fmla="*/ 5 h 671"/>
                  <a:gd name="T32" fmla="*/ 120 w 367"/>
                  <a:gd name="T33" fmla="*/ 24 h 671"/>
                  <a:gd name="T34" fmla="*/ 120 w 367"/>
                  <a:gd name="T35" fmla="*/ 59 h 671"/>
                  <a:gd name="T36" fmla="*/ 84 w 367"/>
                  <a:gd name="T37" fmla="*/ 63 h 671"/>
                  <a:gd name="T38" fmla="*/ 28 w 367"/>
                  <a:gd name="T39" fmla="*/ 38 h 671"/>
                  <a:gd name="T40" fmla="*/ 28 w 367"/>
                  <a:gd name="T41" fmla="*/ 38 h 671"/>
                  <a:gd name="T42" fmla="*/ 0 w 367"/>
                  <a:gd name="T43" fmla="*/ 213 h 671"/>
                  <a:gd name="T44" fmla="*/ 234 w 367"/>
                  <a:gd name="T45" fmla="*/ 671 h 671"/>
                  <a:gd name="T46" fmla="*/ 275 w 367"/>
                  <a:gd name="T47" fmla="*/ 626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7" h="671">
                    <a:moveTo>
                      <a:pt x="275" y="626"/>
                    </a:moveTo>
                    <a:cubicBezTo>
                      <a:pt x="284" y="611"/>
                      <a:pt x="292" y="597"/>
                      <a:pt x="283" y="590"/>
                    </a:cubicBezTo>
                    <a:cubicBezTo>
                      <a:pt x="274" y="583"/>
                      <a:pt x="265" y="591"/>
                      <a:pt x="249" y="579"/>
                    </a:cubicBezTo>
                    <a:cubicBezTo>
                      <a:pt x="233" y="568"/>
                      <a:pt x="234" y="550"/>
                      <a:pt x="243" y="538"/>
                    </a:cubicBezTo>
                    <a:cubicBezTo>
                      <a:pt x="251" y="526"/>
                      <a:pt x="272" y="520"/>
                      <a:pt x="285" y="530"/>
                    </a:cubicBezTo>
                    <a:cubicBezTo>
                      <a:pt x="301" y="541"/>
                      <a:pt x="298" y="555"/>
                      <a:pt x="305" y="560"/>
                    </a:cubicBezTo>
                    <a:cubicBezTo>
                      <a:pt x="312" y="565"/>
                      <a:pt x="336" y="545"/>
                      <a:pt x="346" y="529"/>
                    </a:cubicBezTo>
                    <a:cubicBezTo>
                      <a:pt x="356" y="514"/>
                      <a:pt x="367" y="488"/>
                      <a:pt x="367" y="488"/>
                    </a:cubicBezTo>
                    <a:cubicBezTo>
                      <a:pt x="367" y="488"/>
                      <a:pt x="367" y="488"/>
                      <a:pt x="367" y="488"/>
                    </a:cubicBezTo>
                    <a:cubicBezTo>
                      <a:pt x="282" y="426"/>
                      <a:pt x="227" y="326"/>
                      <a:pt x="227" y="213"/>
                    </a:cubicBezTo>
                    <a:cubicBezTo>
                      <a:pt x="227" y="176"/>
                      <a:pt x="233" y="141"/>
                      <a:pt x="244" y="108"/>
                    </a:cubicBezTo>
                    <a:cubicBezTo>
                      <a:pt x="244" y="108"/>
                      <a:pt x="244" y="108"/>
                      <a:pt x="244" y="108"/>
                    </a:cubicBezTo>
                    <a:cubicBezTo>
                      <a:pt x="244" y="108"/>
                      <a:pt x="216" y="105"/>
                      <a:pt x="198" y="101"/>
                    </a:cubicBezTo>
                    <a:cubicBezTo>
                      <a:pt x="179" y="96"/>
                      <a:pt x="153" y="79"/>
                      <a:pt x="156" y="71"/>
                    </a:cubicBezTo>
                    <a:cubicBezTo>
                      <a:pt x="159" y="63"/>
                      <a:pt x="173" y="61"/>
                      <a:pt x="179" y="43"/>
                    </a:cubicBezTo>
                    <a:cubicBezTo>
                      <a:pt x="184" y="27"/>
                      <a:pt x="172" y="9"/>
                      <a:pt x="158" y="5"/>
                    </a:cubicBezTo>
                    <a:cubicBezTo>
                      <a:pt x="144" y="0"/>
                      <a:pt x="126" y="5"/>
                      <a:pt x="120" y="24"/>
                    </a:cubicBezTo>
                    <a:cubicBezTo>
                      <a:pt x="114" y="42"/>
                      <a:pt x="124" y="48"/>
                      <a:pt x="120" y="59"/>
                    </a:cubicBezTo>
                    <a:cubicBezTo>
                      <a:pt x="117" y="70"/>
                      <a:pt x="101" y="66"/>
                      <a:pt x="84" y="63"/>
                    </a:cubicBezTo>
                    <a:cubicBezTo>
                      <a:pt x="68" y="60"/>
                      <a:pt x="51" y="50"/>
                      <a:pt x="28" y="38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10" y="93"/>
                      <a:pt x="0" y="152"/>
                      <a:pt x="0" y="213"/>
                    </a:cubicBezTo>
                    <a:cubicBezTo>
                      <a:pt x="0" y="401"/>
                      <a:pt x="92" y="568"/>
                      <a:pt x="234" y="671"/>
                    </a:cubicBezTo>
                    <a:cubicBezTo>
                      <a:pt x="253" y="654"/>
                      <a:pt x="268" y="640"/>
                      <a:pt x="275" y="626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eform 39">
                <a:extLst>
                  <a:ext uri="{FF2B5EF4-FFF2-40B4-BE49-F238E27FC236}">
                    <a16:creationId xmlns:a16="http://schemas.microsoft.com/office/drawing/2014/main" id="{A5DAF499-D149-459C-A6B6-0D4B42DDB4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2638" y="4456113"/>
                <a:ext cx="2501900" cy="1095375"/>
              </a:xfrm>
              <a:custGeom>
                <a:avLst/>
                <a:gdLst>
                  <a:gd name="T0" fmla="*/ 605 w 667"/>
                  <a:gd name="T1" fmla="*/ 112 h 292"/>
                  <a:gd name="T2" fmla="*/ 585 w 667"/>
                  <a:gd name="T3" fmla="*/ 140 h 292"/>
                  <a:gd name="T4" fmla="*/ 543 w 667"/>
                  <a:gd name="T5" fmla="*/ 134 h 292"/>
                  <a:gd name="T6" fmla="*/ 548 w 667"/>
                  <a:gd name="T7" fmla="*/ 91 h 292"/>
                  <a:gd name="T8" fmla="*/ 583 w 667"/>
                  <a:gd name="T9" fmla="*/ 81 h 292"/>
                  <a:gd name="T10" fmla="*/ 567 w 667"/>
                  <a:gd name="T11" fmla="*/ 33 h 292"/>
                  <a:gd name="T12" fmla="*/ 534 w 667"/>
                  <a:gd name="T13" fmla="*/ 0 h 292"/>
                  <a:gd name="T14" fmla="*/ 534 w 667"/>
                  <a:gd name="T15" fmla="*/ 0 h 292"/>
                  <a:gd name="T16" fmla="*/ 334 w 667"/>
                  <a:gd name="T17" fmla="*/ 65 h 292"/>
                  <a:gd name="T18" fmla="*/ 134 w 667"/>
                  <a:gd name="T19" fmla="*/ 0 h 292"/>
                  <a:gd name="T20" fmla="*/ 134 w 667"/>
                  <a:gd name="T21" fmla="*/ 0 h 292"/>
                  <a:gd name="T22" fmla="*/ 113 w 667"/>
                  <a:gd name="T23" fmla="*/ 41 h 292"/>
                  <a:gd name="T24" fmla="*/ 72 w 667"/>
                  <a:gd name="T25" fmla="*/ 72 h 292"/>
                  <a:gd name="T26" fmla="*/ 52 w 667"/>
                  <a:gd name="T27" fmla="*/ 42 h 292"/>
                  <a:gd name="T28" fmla="*/ 10 w 667"/>
                  <a:gd name="T29" fmla="*/ 50 h 292"/>
                  <a:gd name="T30" fmla="*/ 16 w 667"/>
                  <a:gd name="T31" fmla="*/ 91 h 292"/>
                  <a:gd name="T32" fmla="*/ 50 w 667"/>
                  <a:gd name="T33" fmla="*/ 102 h 292"/>
                  <a:gd name="T34" fmla="*/ 42 w 667"/>
                  <a:gd name="T35" fmla="*/ 138 h 292"/>
                  <a:gd name="T36" fmla="*/ 1 w 667"/>
                  <a:gd name="T37" fmla="*/ 183 h 292"/>
                  <a:gd name="T38" fmla="*/ 334 w 667"/>
                  <a:gd name="T39" fmla="*/ 292 h 292"/>
                  <a:gd name="T40" fmla="*/ 667 w 667"/>
                  <a:gd name="T41" fmla="*/ 183 h 292"/>
                  <a:gd name="T42" fmla="*/ 637 w 667"/>
                  <a:gd name="T43" fmla="*/ 130 h 292"/>
                  <a:gd name="T44" fmla="*/ 605 w 667"/>
                  <a:gd name="T45" fmla="*/ 11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7" h="292">
                    <a:moveTo>
                      <a:pt x="605" y="112"/>
                    </a:moveTo>
                    <a:cubicBezTo>
                      <a:pt x="596" y="118"/>
                      <a:pt x="600" y="129"/>
                      <a:pt x="585" y="140"/>
                    </a:cubicBezTo>
                    <a:cubicBezTo>
                      <a:pt x="569" y="152"/>
                      <a:pt x="552" y="146"/>
                      <a:pt x="543" y="134"/>
                    </a:cubicBezTo>
                    <a:cubicBezTo>
                      <a:pt x="534" y="122"/>
                      <a:pt x="535" y="100"/>
                      <a:pt x="548" y="91"/>
                    </a:cubicBezTo>
                    <a:cubicBezTo>
                      <a:pt x="563" y="80"/>
                      <a:pt x="576" y="86"/>
                      <a:pt x="583" y="81"/>
                    </a:cubicBezTo>
                    <a:cubicBezTo>
                      <a:pt x="590" y="76"/>
                      <a:pt x="579" y="47"/>
                      <a:pt x="567" y="33"/>
                    </a:cubicBezTo>
                    <a:cubicBezTo>
                      <a:pt x="555" y="19"/>
                      <a:pt x="534" y="0"/>
                      <a:pt x="534" y="0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478" y="41"/>
                      <a:pt x="409" y="65"/>
                      <a:pt x="334" y="65"/>
                    </a:cubicBezTo>
                    <a:cubicBezTo>
                      <a:pt x="259" y="65"/>
                      <a:pt x="190" y="41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23" y="26"/>
                      <a:pt x="113" y="41"/>
                    </a:cubicBezTo>
                    <a:cubicBezTo>
                      <a:pt x="103" y="57"/>
                      <a:pt x="79" y="77"/>
                      <a:pt x="72" y="72"/>
                    </a:cubicBezTo>
                    <a:cubicBezTo>
                      <a:pt x="65" y="67"/>
                      <a:pt x="68" y="53"/>
                      <a:pt x="52" y="42"/>
                    </a:cubicBezTo>
                    <a:cubicBezTo>
                      <a:pt x="39" y="32"/>
                      <a:pt x="18" y="38"/>
                      <a:pt x="10" y="50"/>
                    </a:cubicBezTo>
                    <a:cubicBezTo>
                      <a:pt x="1" y="62"/>
                      <a:pt x="0" y="80"/>
                      <a:pt x="16" y="91"/>
                    </a:cubicBezTo>
                    <a:cubicBezTo>
                      <a:pt x="32" y="103"/>
                      <a:pt x="41" y="95"/>
                      <a:pt x="50" y="102"/>
                    </a:cubicBezTo>
                    <a:cubicBezTo>
                      <a:pt x="59" y="109"/>
                      <a:pt x="51" y="123"/>
                      <a:pt x="42" y="138"/>
                    </a:cubicBezTo>
                    <a:cubicBezTo>
                      <a:pt x="35" y="152"/>
                      <a:pt x="20" y="166"/>
                      <a:pt x="1" y="183"/>
                    </a:cubicBezTo>
                    <a:cubicBezTo>
                      <a:pt x="94" y="251"/>
                      <a:pt x="210" y="292"/>
                      <a:pt x="334" y="292"/>
                    </a:cubicBezTo>
                    <a:cubicBezTo>
                      <a:pt x="459" y="292"/>
                      <a:pt x="574" y="251"/>
                      <a:pt x="667" y="183"/>
                    </a:cubicBezTo>
                    <a:cubicBezTo>
                      <a:pt x="656" y="160"/>
                      <a:pt x="648" y="142"/>
                      <a:pt x="637" y="130"/>
                    </a:cubicBezTo>
                    <a:cubicBezTo>
                      <a:pt x="625" y="117"/>
                      <a:pt x="614" y="105"/>
                      <a:pt x="605" y="112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40">
                <a:extLst>
                  <a:ext uri="{FF2B5EF4-FFF2-40B4-BE49-F238E27FC236}">
                    <a16:creationId xmlns:a16="http://schemas.microsoft.com/office/drawing/2014/main" id="{6F7226D4-170C-4E9F-86F5-92972FD692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24475" y="2768600"/>
                <a:ext cx="1376363" cy="2373313"/>
              </a:xfrm>
              <a:custGeom>
                <a:avLst/>
                <a:gdLst>
                  <a:gd name="T0" fmla="*/ 367 w 367"/>
                  <a:gd name="T1" fmla="*/ 175 h 633"/>
                  <a:gd name="T2" fmla="*/ 339 w 367"/>
                  <a:gd name="T3" fmla="*/ 0 h 633"/>
                  <a:gd name="T4" fmla="*/ 339 w 367"/>
                  <a:gd name="T5" fmla="*/ 0 h 633"/>
                  <a:gd name="T6" fmla="*/ 279 w 367"/>
                  <a:gd name="T7" fmla="*/ 12 h 633"/>
                  <a:gd name="T8" fmla="*/ 252 w 367"/>
                  <a:gd name="T9" fmla="*/ 37 h 633"/>
                  <a:gd name="T10" fmla="*/ 273 w 367"/>
                  <a:gd name="T11" fmla="*/ 65 h 633"/>
                  <a:gd name="T12" fmla="*/ 254 w 367"/>
                  <a:gd name="T13" fmla="*/ 103 h 633"/>
                  <a:gd name="T14" fmla="*/ 214 w 367"/>
                  <a:gd name="T15" fmla="*/ 84 h 633"/>
                  <a:gd name="T16" fmla="*/ 216 w 367"/>
                  <a:gd name="T17" fmla="*/ 48 h 633"/>
                  <a:gd name="T18" fmla="*/ 165 w 367"/>
                  <a:gd name="T19" fmla="*/ 49 h 633"/>
                  <a:gd name="T20" fmla="*/ 124 w 367"/>
                  <a:gd name="T21" fmla="*/ 70 h 633"/>
                  <a:gd name="T22" fmla="*/ 124 w 367"/>
                  <a:gd name="T23" fmla="*/ 70 h 633"/>
                  <a:gd name="T24" fmla="*/ 140 w 367"/>
                  <a:gd name="T25" fmla="*/ 175 h 633"/>
                  <a:gd name="T26" fmla="*/ 0 w 367"/>
                  <a:gd name="T27" fmla="*/ 450 h 633"/>
                  <a:gd name="T28" fmla="*/ 0 w 367"/>
                  <a:gd name="T29" fmla="*/ 450 h 633"/>
                  <a:gd name="T30" fmla="*/ 33 w 367"/>
                  <a:gd name="T31" fmla="*/ 483 h 633"/>
                  <a:gd name="T32" fmla="*/ 49 w 367"/>
                  <a:gd name="T33" fmla="*/ 531 h 633"/>
                  <a:gd name="T34" fmla="*/ 14 w 367"/>
                  <a:gd name="T35" fmla="*/ 541 h 633"/>
                  <a:gd name="T36" fmla="*/ 9 w 367"/>
                  <a:gd name="T37" fmla="*/ 584 h 633"/>
                  <a:gd name="T38" fmla="*/ 51 w 367"/>
                  <a:gd name="T39" fmla="*/ 590 h 633"/>
                  <a:gd name="T40" fmla="*/ 71 w 367"/>
                  <a:gd name="T41" fmla="*/ 562 h 633"/>
                  <a:gd name="T42" fmla="*/ 103 w 367"/>
                  <a:gd name="T43" fmla="*/ 580 h 633"/>
                  <a:gd name="T44" fmla="*/ 133 w 367"/>
                  <a:gd name="T45" fmla="*/ 633 h 633"/>
                  <a:gd name="T46" fmla="*/ 367 w 367"/>
                  <a:gd name="T47" fmla="*/ 175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7" h="633">
                    <a:moveTo>
                      <a:pt x="367" y="175"/>
                    </a:moveTo>
                    <a:cubicBezTo>
                      <a:pt x="367" y="114"/>
                      <a:pt x="357" y="55"/>
                      <a:pt x="339" y="0"/>
                    </a:cubicBezTo>
                    <a:cubicBezTo>
                      <a:pt x="339" y="0"/>
                      <a:pt x="339" y="0"/>
                      <a:pt x="339" y="0"/>
                    </a:cubicBezTo>
                    <a:cubicBezTo>
                      <a:pt x="314" y="3"/>
                      <a:pt x="294" y="5"/>
                      <a:pt x="279" y="12"/>
                    </a:cubicBezTo>
                    <a:cubicBezTo>
                      <a:pt x="263" y="19"/>
                      <a:pt x="248" y="26"/>
                      <a:pt x="252" y="37"/>
                    </a:cubicBezTo>
                    <a:cubicBezTo>
                      <a:pt x="255" y="47"/>
                      <a:pt x="267" y="46"/>
                      <a:pt x="273" y="65"/>
                    </a:cubicBezTo>
                    <a:cubicBezTo>
                      <a:pt x="279" y="84"/>
                      <a:pt x="268" y="98"/>
                      <a:pt x="254" y="103"/>
                    </a:cubicBezTo>
                    <a:cubicBezTo>
                      <a:pt x="239" y="107"/>
                      <a:pt x="219" y="100"/>
                      <a:pt x="214" y="84"/>
                    </a:cubicBezTo>
                    <a:cubicBezTo>
                      <a:pt x="208" y="66"/>
                      <a:pt x="219" y="56"/>
                      <a:pt x="216" y="48"/>
                    </a:cubicBezTo>
                    <a:cubicBezTo>
                      <a:pt x="213" y="40"/>
                      <a:pt x="182" y="41"/>
                      <a:pt x="165" y="49"/>
                    </a:cubicBezTo>
                    <a:cubicBezTo>
                      <a:pt x="148" y="56"/>
                      <a:pt x="124" y="70"/>
                      <a:pt x="124" y="70"/>
                    </a:cubicBezTo>
                    <a:cubicBezTo>
                      <a:pt x="124" y="70"/>
                      <a:pt x="124" y="70"/>
                      <a:pt x="124" y="70"/>
                    </a:cubicBezTo>
                    <a:cubicBezTo>
                      <a:pt x="134" y="103"/>
                      <a:pt x="140" y="138"/>
                      <a:pt x="140" y="175"/>
                    </a:cubicBezTo>
                    <a:cubicBezTo>
                      <a:pt x="140" y="288"/>
                      <a:pt x="85" y="388"/>
                      <a:pt x="0" y="450"/>
                    </a:cubicBezTo>
                    <a:cubicBezTo>
                      <a:pt x="0" y="450"/>
                      <a:pt x="0" y="450"/>
                      <a:pt x="0" y="450"/>
                    </a:cubicBezTo>
                    <a:cubicBezTo>
                      <a:pt x="0" y="450"/>
                      <a:pt x="21" y="469"/>
                      <a:pt x="33" y="483"/>
                    </a:cubicBezTo>
                    <a:cubicBezTo>
                      <a:pt x="45" y="497"/>
                      <a:pt x="56" y="526"/>
                      <a:pt x="49" y="531"/>
                    </a:cubicBezTo>
                    <a:cubicBezTo>
                      <a:pt x="42" y="536"/>
                      <a:pt x="29" y="530"/>
                      <a:pt x="14" y="541"/>
                    </a:cubicBezTo>
                    <a:cubicBezTo>
                      <a:pt x="1" y="550"/>
                      <a:pt x="0" y="572"/>
                      <a:pt x="9" y="584"/>
                    </a:cubicBezTo>
                    <a:cubicBezTo>
                      <a:pt x="18" y="596"/>
                      <a:pt x="35" y="602"/>
                      <a:pt x="51" y="590"/>
                    </a:cubicBezTo>
                    <a:cubicBezTo>
                      <a:pt x="66" y="579"/>
                      <a:pt x="62" y="568"/>
                      <a:pt x="71" y="562"/>
                    </a:cubicBezTo>
                    <a:cubicBezTo>
                      <a:pt x="80" y="555"/>
                      <a:pt x="91" y="567"/>
                      <a:pt x="103" y="580"/>
                    </a:cubicBezTo>
                    <a:cubicBezTo>
                      <a:pt x="114" y="592"/>
                      <a:pt x="122" y="610"/>
                      <a:pt x="133" y="633"/>
                    </a:cubicBezTo>
                    <a:cubicBezTo>
                      <a:pt x="275" y="530"/>
                      <a:pt x="367" y="363"/>
                      <a:pt x="367" y="17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" name="Gruppieren 28">
              <a:extLst>
                <a:ext uri="{FF2B5EF4-FFF2-40B4-BE49-F238E27FC236}">
                  <a16:creationId xmlns:a16="http://schemas.microsoft.com/office/drawing/2014/main" id="{8F102335-FD03-44C8-BC4E-FEF7B98CD051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grpSp>
            <p:nvGrpSpPr>
              <p:cNvPr id="27" name="Gruppieren 29">
                <a:extLst>
                  <a:ext uri="{FF2B5EF4-FFF2-40B4-BE49-F238E27FC236}">
                    <a16:creationId xmlns:a16="http://schemas.microsoft.com/office/drawing/2014/main" id="{08599356-CF1D-4A0E-A503-1A28BFBFEF2B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38" name="Text Box 13" descr="PresentationLoad.com">
                  <a:extLst>
                    <a:ext uri="{FF2B5EF4-FFF2-40B4-BE49-F238E27FC236}">
                      <a16:creationId xmlns:a16="http://schemas.microsoft.com/office/drawing/2014/main" id="{80217B0F-AEC8-4519-A3A7-B9697B06EFD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>
                  <a:spAutoFit/>
                </a:bodyPr>
                <a:lstStyle/>
                <a:p>
                  <a:pPr marL="0" marR="0" lvl="0" indent="0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5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9" name="Gerade Verbindung 41" descr="PresentationLoad.com">
                  <a:extLst>
                    <a:ext uri="{FF2B5EF4-FFF2-40B4-BE49-F238E27FC236}">
                      <a16:creationId xmlns:a16="http://schemas.microsoft.com/office/drawing/2014/main" id="{C9EA50C5-13F5-472B-B40B-16C8E0B1214A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28" name="Gruppieren 30">
                <a:extLst>
                  <a:ext uri="{FF2B5EF4-FFF2-40B4-BE49-F238E27FC236}">
                    <a16:creationId xmlns:a16="http://schemas.microsoft.com/office/drawing/2014/main" id="{2E3AB6E6-5FD4-4C63-9237-92D6F01BC4DD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36" name="Text Box 13" descr="PresentationLoad.com">
                  <a:extLst>
                    <a:ext uri="{FF2B5EF4-FFF2-40B4-BE49-F238E27FC236}">
                      <a16:creationId xmlns:a16="http://schemas.microsoft.com/office/drawing/2014/main" id="{A1052330-1A53-4A90-B559-537EB202B1F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>
                  <a:spAutoFit/>
                </a:bodyPr>
                <a:lstStyle/>
                <a:p>
                  <a:pPr marL="0" marR="0" lvl="0" indent="0" algn="r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1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algn="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7" name="Gerade Verbindung 39" descr="PresentationLoad.com">
                  <a:extLst>
                    <a:ext uri="{FF2B5EF4-FFF2-40B4-BE49-F238E27FC236}">
                      <a16:creationId xmlns:a16="http://schemas.microsoft.com/office/drawing/2014/main" id="{C4D6254A-F98C-4C0F-83D9-B1894A63F772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29" name="Gruppieren 31">
                <a:extLst>
                  <a:ext uri="{FF2B5EF4-FFF2-40B4-BE49-F238E27FC236}">
                    <a16:creationId xmlns:a16="http://schemas.microsoft.com/office/drawing/2014/main" id="{4853D49F-39BA-494A-B2CA-BD703248D880}"/>
                  </a:ext>
                </a:extLst>
              </p:cNvPr>
              <p:cNvGrpSpPr/>
              <p:nvPr/>
            </p:nvGrpSpPr>
            <p:grpSpPr>
              <a:xfrm>
                <a:off x="517827" y="4530892"/>
                <a:ext cx="3465838" cy="951730"/>
                <a:chOff x="517827" y="4530892"/>
                <a:chExt cx="3465838" cy="951730"/>
              </a:xfrm>
            </p:grpSpPr>
            <p:sp>
              <p:nvSpPr>
                <p:cNvPr id="34" name="Text Box 13" descr="PresentationLoad.com">
                  <a:extLst>
                    <a:ext uri="{FF2B5EF4-FFF2-40B4-BE49-F238E27FC236}">
                      <a16:creationId xmlns:a16="http://schemas.microsoft.com/office/drawing/2014/main" id="{1925A096-DAFC-47CA-A64E-C3E266DB517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marL="0" marR="0" lvl="0" indent="0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4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5" name="Gerade Verbindung 37" descr="PresentationLoad.com">
                  <a:extLst>
                    <a:ext uri="{FF2B5EF4-FFF2-40B4-BE49-F238E27FC236}">
                      <a16:creationId xmlns:a16="http://schemas.microsoft.com/office/drawing/2014/main" id="{5208FB7D-4B40-4703-8695-5FC175055FC9}"/>
                    </a:ext>
                  </a:extLst>
                </p:cNvPr>
                <p:cNvCxnSpPr/>
                <p:nvPr/>
              </p:nvCxnSpPr>
              <p:spPr bwMode="gray">
                <a:xfrm>
                  <a:off x="529116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30" name="Gruppieren 32">
                <a:extLst>
                  <a:ext uri="{FF2B5EF4-FFF2-40B4-BE49-F238E27FC236}">
                    <a16:creationId xmlns:a16="http://schemas.microsoft.com/office/drawing/2014/main" id="{27158B43-77B5-4F05-BE78-3307A77EA65D}"/>
                  </a:ext>
                </a:extLst>
              </p:cNvPr>
              <p:cNvGrpSpPr/>
              <p:nvPr/>
            </p:nvGrpSpPr>
            <p:grpSpPr>
              <a:xfrm>
                <a:off x="8194840" y="4530892"/>
                <a:ext cx="3465838" cy="951730"/>
                <a:chOff x="8194840" y="4530892"/>
                <a:chExt cx="3465838" cy="951730"/>
              </a:xfrm>
            </p:grpSpPr>
            <p:sp>
              <p:nvSpPr>
                <p:cNvPr id="32" name="Text Box 13" descr="PresentationLoad.com">
                  <a:extLst>
                    <a:ext uri="{FF2B5EF4-FFF2-40B4-BE49-F238E27FC236}">
                      <a16:creationId xmlns:a16="http://schemas.microsoft.com/office/drawing/2014/main" id="{B1520B48-5417-4748-BC5D-B5332FA701D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marL="0" marR="0" lvl="0" indent="0" algn="r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2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algn="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3" name="Gerade Verbindung 35" descr="PresentationLoad.com">
                  <a:extLst>
                    <a:ext uri="{FF2B5EF4-FFF2-40B4-BE49-F238E27FC236}">
                      <a16:creationId xmlns:a16="http://schemas.microsoft.com/office/drawing/2014/main" id="{06CD2202-7A9C-4DCE-9DA3-7DB7BC5E1FAD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sp>
            <p:nvSpPr>
              <p:cNvPr id="31" name="Text Box 13" descr="PresentationLoad.com">
                <a:extLst>
                  <a:ext uri="{FF2B5EF4-FFF2-40B4-BE49-F238E27FC236}">
                    <a16:creationId xmlns:a16="http://schemas.microsoft.com/office/drawing/2014/main" id="{8BBF58BE-EC32-40CB-945E-46B3DB592CF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DESCRIPTION 3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 pitchFamily="34" charset="0"/>
                </a:endParaRPr>
              </a:p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36373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1">
            <a:extLst>
              <a:ext uri="{FF2B5EF4-FFF2-40B4-BE49-F238E27FC236}">
                <a16:creationId xmlns:a16="http://schemas.microsoft.com/office/drawing/2014/main" id="{616DFD1A-F98A-4DA9-9F03-471F4B563D01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88">
              <a:extLst>
                <a:ext uri="{FF2B5EF4-FFF2-40B4-BE49-F238E27FC236}">
                  <a16:creationId xmlns:a16="http://schemas.microsoft.com/office/drawing/2014/main" id="{DA8F8E88-E6E5-4BCF-97EA-B1FE6664BC3B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2" cy="3520799"/>
              <a:chOff x="2447925" y="1298575"/>
              <a:chExt cx="4252916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6" name="Freeform 30">
                <a:extLst>
                  <a:ext uri="{FF2B5EF4-FFF2-40B4-BE49-F238E27FC236}">
                    <a16:creationId xmlns:a16="http://schemas.microsoft.com/office/drawing/2014/main" id="{53269C9D-FE3B-49D3-B1B5-63260E185C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6" y="1298575"/>
                <a:ext cx="2111376" cy="1487488"/>
              </a:xfrm>
              <a:custGeom>
                <a:avLst/>
                <a:gdLst>
                  <a:gd name="T0" fmla="*/ 86 w 563"/>
                  <a:gd name="T1" fmla="*/ 324 h 397"/>
                  <a:gd name="T2" fmla="*/ 93 w 563"/>
                  <a:gd name="T3" fmla="*/ 289 h 397"/>
                  <a:gd name="T4" fmla="*/ 134 w 563"/>
                  <a:gd name="T5" fmla="*/ 278 h 397"/>
                  <a:gd name="T6" fmla="*/ 147 w 563"/>
                  <a:gd name="T7" fmla="*/ 320 h 397"/>
                  <a:gd name="T8" fmla="*/ 119 w 563"/>
                  <a:gd name="T9" fmla="*/ 342 h 397"/>
                  <a:gd name="T10" fmla="*/ 153 w 563"/>
                  <a:gd name="T11" fmla="*/ 380 h 397"/>
                  <a:gd name="T12" fmla="*/ 196 w 563"/>
                  <a:gd name="T13" fmla="*/ 397 h 397"/>
                  <a:gd name="T14" fmla="*/ 197 w 563"/>
                  <a:gd name="T15" fmla="*/ 397 h 397"/>
                  <a:gd name="T16" fmla="*/ 491 w 563"/>
                  <a:gd name="T17" fmla="*/ 227 h 397"/>
                  <a:gd name="T18" fmla="*/ 491 w 563"/>
                  <a:gd name="T19" fmla="*/ 227 h 397"/>
                  <a:gd name="T20" fmla="*/ 491 w 563"/>
                  <a:gd name="T21" fmla="*/ 227 h 397"/>
                  <a:gd name="T22" fmla="*/ 484 w 563"/>
                  <a:gd name="T23" fmla="*/ 181 h 397"/>
                  <a:gd name="T24" fmla="*/ 499 w 563"/>
                  <a:gd name="T25" fmla="*/ 132 h 397"/>
                  <a:gd name="T26" fmla="*/ 533 w 563"/>
                  <a:gd name="T27" fmla="*/ 145 h 397"/>
                  <a:gd name="T28" fmla="*/ 563 w 563"/>
                  <a:gd name="T29" fmla="*/ 113 h 397"/>
                  <a:gd name="T30" fmla="*/ 533 w 563"/>
                  <a:gd name="T31" fmla="*/ 83 h 397"/>
                  <a:gd name="T32" fmla="*/ 499 w 563"/>
                  <a:gd name="T33" fmla="*/ 95 h 397"/>
                  <a:gd name="T34" fmla="*/ 484 w 563"/>
                  <a:gd name="T35" fmla="*/ 61 h 397"/>
                  <a:gd name="T36" fmla="*/ 491 w 563"/>
                  <a:gd name="T37" fmla="*/ 0 h 397"/>
                  <a:gd name="T38" fmla="*/ 0 w 563"/>
                  <a:gd name="T39" fmla="*/ 283 h 397"/>
                  <a:gd name="T40" fmla="*/ 50 w 563"/>
                  <a:gd name="T41" fmla="*/ 320 h 397"/>
                  <a:gd name="T42" fmla="*/ 86 w 563"/>
                  <a:gd name="T43" fmla="*/ 324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3" h="397">
                    <a:moveTo>
                      <a:pt x="86" y="324"/>
                    </a:moveTo>
                    <a:cubicBezTo>
                      <a:pt x="92" y="314"/>
                      <a:pt x="83" y="306"/>
                      <a:pt x="93" y="289"/>
                    </a:cubicBezTo>
                    <a:cubicBezTo>
                      <a:pt x="103" y="272"/>
                      <a:pt x="121" y="271"/>
                      <a:pt x="134" y="278"/>
                    </a:cubicBezTo>
                    <a:cubicBezTo>
                      <a:pt x="147" y="286"/>
                      <a:pt x="155" y="305"/>
                      <a:pt x="147" y="320"/>
                    </a:cubicBezTo>
                    <a:cubicBezTo>
                      <a:pt x="137" y="336"/>
                      <a:pt x="123" y="335"/>
                      <a:pt x="119" y="342"/>
                    </a:cubicBezTo>
                    <a:cubicBezTo>
                      <a:pt x="114" y="350"/>
                      <a:pt x="136" y="372"/>
                      <a:pt x="153" y="380"/>
                    </a:cubicBezTo>
                    <a:cubicBezTo>
                      <a:pt x="170" y="388"/>
                      <a:pt x="196" y="397"/>
                      <a:pt x="196" y="397"/>
                    </a:cubicBezTo>
                    <a:cubicBezTo>
                      <a:pt x="197" y="397"/>
                      <a:pt x="197" y="397"/>
                      <a:pt x="197" y="397"/>
                    </a:cubicBezTo>
                    <a:cubicBezTo>
                      <a:pt x="255" y="295"/>
                      <a:pt x="365" y="227"/>
                      <a:pt x="491" y="227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91" y="227"/>
                      <a:pt x="485" y="199"/>
                      <a:pt x="484" y="181"/>
                    </a:cubicBezTo>
                    <a:cubicBezTo>
                      <a:pt x="482" y="162"/>
                      <a:pt x="491" y="132"/>
                      <a:pt x="499" y="132"/>
                    </a:cubicBezTo>
                    <a:cubicBezTo>
                      <a:pt x="508" y="132"/>
                      <a:pt x="514" y="145"/>
                      <a:pt x="533" y="145"/>
                    </a:cubicBezTo>
                    <a:cubicBezTo>
                      <a:pt x="550" y="145"/>
                      <a:pt x="563" y="128"/>
                      <a:pt x="563" y="113"/>
                    </a:cubicBezTo>
                    <a:cubicBezTo>
                      <a:pt x="563" y="98"/>
                      <a:pt x="552" y="83"/>
                      <a:pt x="533" y="83"/>
                    </a:cubicBezTo>
                    <a:cubicBezTo>
                      <a:pt x="513" y="83"/>
                      <a:pt x="511" y="95"/>
                      <a:pt x="499" y="95"/>
                    </a:cubicBezTo>
                    <a:cubicBezTo>
                      <a:pt x="488" y="95"/>
                      <a:pt x="486" y="78"/>
                      <a:pt x="484" y="61"/>
                    </a:cubicBezTo>
                    <a:cubicBezTo>
                      <a:pt x="482" y="45"/>
                      <a:pt x="486" y="25"/>
                      <a:pt x="491" y="0"/>
                    </a:cubicBezTo>
                    <a:cubicBezTo>
                      <a:pt x="281" y="0"/>
                      <a:pt x="98" y="114"/>
                      <a:pt x="0" y="283"/>
                    </a:cubicBezTo>
                    <a:cubicBezTo>
                      <a:pt x="20" y="300"/>
                      <a:pt x="35" y="314"/>
                      <a:pt x="50" y="320"/>
                    </a:cubicBezTo>
                    <a:cubicBezTo>
                      <a:pt x="66" y="327"/>
                      <a:pt x="80" y="334"/>
                      <a:pt x="86" y="32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31">
                <a:extLst>
                  <a:ext uri="{FF2B5EF4-FFF2-40B4-BE49-F238E27FC236}">
                    <a16:creationId xmlns:a16="http://schemas.microsoft.com/office/drawing/2014/main" id="{120544D6-935F-4537-982D-C2D6CAE147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1666" y="2359025"/>
                <a:ext cx="1019175" cy="2174876"/>
              </a:xfrm>
              <a:custGeom>
                <a:avLst/>
                <a:gdLst>
                  <a:gd name="T0" fmla="*/ 118 w 272"/>
                  <a:gd name="T1" fmla="*/ 55 h 580"/>
                  <a:gd name="T2" fmla="*/ 145 w 272"/>
                  <a:gd name="T3" fmla="*/ 78 h 580"/>
                  <a:gd name="T4" fmla="*/ 134 w 272"/>
                  <a:gd name="T5" fmla="*/ 119 h 580"/>
                  <a:gd name="T6" fmla="*/ 91 w 272"/>
                  <a:gd name="T7" fmla="*/ 109 h 580"/>
                  <a:gd name="T8" fmla="*/ 86 w 272"/>
                  <a:gd name="T9" fmla="*/ 73 h 580"/>
                  <a:gd name="T10" fmla="*/ 36 w 272"/>
                  <a:gd name="T11" fmla="*/ 84 h 580"/>
                  <a:gd name="T12" fmla="*/ 0 w 272"/>
                  <a:gd name="T13" fmla="*/ 114 h 580"/>
                  <a:gd name="T14" fmla="*/ 0 w 272"/>
                  <a:gd name="T15" fmla="*/ 114 h 580"/>
                  <a:gd name="T16" fmla="*/ 45 w 272"/>
                  <a:gd name="T17" fmla="*/ 284 h 580"/>
                  <a:gd name="T18" fmla="*/ 0 w 272"/>
                  <a:gd name="T19" fmla="*/ 454 h 580"/>
                  <a:gd name="T20" fmla="*/ 0 w 272"/>
                  <a:gd name="T21" fmla="*/ 454 h 580"/>
                  <a:gd name="T22" fmla="*/ 43 w 272"/>
                  <a:gd name="T23" fmla="*/ 470 h 580"/>
                  <a:gd name="T24" fmla="*/ 78 w 272"/>
                  <a:gd name="T25" fmla="*/ 508 h 580"/>
                  <a:gd name="T26" fmla="*/ 50 w 272"/>
                  <a:gd name="T27" fmla="*/ 531 h 580"/>
                  <a:gd name="T28" fmla="*/ 62 w 272"/>
                  <a:gd name="T29" fmla="*/ 573 h 580"/>
                  <a:gd name="T30" fmla="*/ 103 w 272"/>
                  <a:gd name="T31" fmla="*/ 562 h 580"/>
                  <a:gd name="T32" fmla="*/ 110 w 272"/>
                  <a:gd name="T33" fmla="*/ 527 h 580"/>
                  <a:gd name="T34" fmla="*/ 147 w 272"/>
                  <a:gd name="T35" fmla="*/ 531 h 580"/>
                  <a:gd name="T36" fmla="*/ 196 w 272"/>
                  <a:gd name="T37" fmla="*/ 567 h 580"/>
                  <a:gd name="T38" fmla="*/ 272 w 272"/>
                  <a:gd name="T39" fmla="*/ 284 h 580"/>
                  <a:gd name="T40" fmla="*/ 196 w 272"/>
                  <a:gd name="T41" fmla="*/ 0 h 580"/>
                  <a:gd name="T42" fmla="*/ 140 w 272"/>
                  <a:gd name="T43" fmla="*/ 25 h 580"/>
                  <a:gd name="T44" fmla="*/ 118 w 272"/>
                  <a:gd name="T45" fmla="*/ 55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2" h="580">
                    <a:moveTo>
                      <a:pt x="118" y="55"/>
                    </a:moveTo>
                    <a:cubicBezTo>
                      <a:pt x="124" y="65"/>
                      <a:pt x="135" y="61"/>
                      <a:pt x="145" y="78"/>
                    </a:cubicBezTo>
                    <a:cubicBezTo>
                      <a:pt x="155" y="95"/>
                      <a:pt x="147" y="112"/>
                      <a:pt x="134" y="119"/>
                    </a:cubicBezTo>
                    <a:cubicBezTo>
                      <a:pt x="121" y="127"/>
                      <a:pt x="100" y="124"/>
                      <a:pt x="91" y="109"/>
                    </a:cubicBezTo>
                    <a:cubicBezTo>
                      <a:pt x="82" y="93"/>
                      <a:pt x="90" y="81"/>
                      <a:pt x="86" y="73"/>
                    </a:cubicBezTo>
                    <a:cubicBezTo>
                      <a:pt x="82" y="66"/>
                      <a:pt x="51" y="74"/>
                      <a:pt x="36" y="84"/>
                    </a:cubicBezTo>
                    <a:cubicBezTo>
                      <a:pt x="20" y="95"/>
                      <a:pt x="0" y="114"/>
                      <a:pt x="0" y="114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29" y="164"/>
                      <a:pt x="45" y="222"/>
                      <a:pt x="45" y="284"/>
                    </a:cubicBezTo>
                    <a:cubicBezTo>
                      <a:pt x="45" y="346"/>
                      <a:pt x="29" y="404"/>
                      <a:pt x="0" y="454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0" y="454"/>
                      <a:pt x="26" y="462"/>
                      <a:pt x="43" y="470"/>
                    </a:cubicBezTo>
                    <a:cubicBezTo>
                      <a:pt x="60" y="479"/>
                      <a:pt x="82" y="501"/>
                      <a:pt x="78" y="508"/>
                    </a:cubicBezTo>
                    <a:cubicBezTo>
                      <a:pt x="73" y="516"/>
                      <a:pt x="59" y="515"/>
                      <a:pt x="50" y="531"/>
                    </a:cubicBezTo>
                    <a:cubicBezTo>
                      <a:pt x="41" y="545"/>
                      <a:pt x="49" y="565"/>
                      <a:pt x="62" y="573"/>
                    </a:cubicBezTo>
                    <a:cubicBezTo>
                      <a:pt x="75" y="580"/>
                      <a:pt x="93" y="579"/>
                      <a:pt x="103" y="562"/>
                    </a:cubicBezTo>
                    <a:cubicBezTo>
                      <a:pt x="113" y="545"/>
                      <a:pt x="104" y="537"/>
                      <a:pt x="110" y="527"/>
                    </a:cubicBezTo>
                    <a:cubicBezTo>
                      <a:pt x="116" y="517"/>
                      <a:pt x="131" y="524"/>
                      <a:pt x="147" y="531"/>
                    </a:cubicBezTo>
                    <a:cubicBezTo>
                      <a:pt x="161" y="537"/>
                      <a:pt x="176" y="550"/>
                      <a:pt x="196" y="567"/>
                    </a:cubicBezTo>
                    <a:cubicBezTo>
                      <a:pt x="244" y="484"/>
                      <a:pt x="272" y="387"/>
                      <a:pt x="272" y="284"/>
                    </a:cubicBezTo>
                    <a:cubicBezTo>
                      <a:pt x="272" y="181"/>
                      <a:pt x="244" y="84"/>
                      <a:pt x="196" y="0"/>
                    </a:cubicBezTo>
                    <a:cubicBezTo>
                      <a:pt x="172" y="9"/>
                      <a:pt x="153" y="15"/>
                      <a:pt x="140" y="25"/>
                    </a:cubicBezTo>
                    <a:cubicBezTo>
                      <a:pt x="126" y="35"/>
                      <a:pt x="112" y="45"/>
                      <a:pt x="118" y="5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32">
                <a:extLst>
                  <a:ext uri="{FF2B5EF4-FFF2-40B4-BE49-F238E27FC236}">
                    <a16:creationId xmlns:a16="http://schemas.microsoft.com/office/drawing/2014/main" id="{A2D82395-30CA-4D0B-BB2D-E9D68D92F7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6" y="4013200"/>
                <a:ext cx="1874839" cy="1538288"/>
              </a:xfrm>
              <a:custGeom>
                <a:avLst/>
                <a:gdLst>
                  <a:gd name="T0" fmla="*/ 498 w 500"/>
                  <a:gd name="T1" fmla="*/ 349 h 410"/>
                  <a:gd name="T2" fmla="*/ 483 w 500"/>
                  <a:gd name="T3" fmla="*/ 315 h 410"/>
                  <a:gd name="T4" fmla="*/ 449 w 500"/>
                  <a:gd name="T5" fmla="*/ 326 h 410"/>
                  <a:gd name="T6" fmla="*/ 420 w 500"/>
                  <a:gd name="T7" fmla="*/ 296 h 410"/>
                  <a:gd name="T8" fmla="*/ 449 w 500"/>
                  <a:gd name="T9" fmla="*/ 265 h 410"/>
                  <a:gd name="T10" fmla="*/ 483 w 500"/>
                  <a:gd name="T11" fmla="*/ 278 h 410"/>
                  <a:gd name="T12" fmla="*/ 499 w 500"/>
                  <a:gd name="T13" fmla="*/ 229 h 410"/>
                  <a:gd name="T14" fmla="*/ 491 w 500"/>
                  <a:gd name="T15" fmla="*/ 183 h 410"/>
                  <a:gd name="T16" fmla="*/ 491 w 500"/>
                  <a:gd name="T17" fmla="*/ 183 h 410"/>
                  <a:gd name="T18" fmla="*/ 491 w 500"/>
                  <a:gd name="T19" fmla="*/ 183 h 410"/>
                  <a:gd name="T20" fmla="*/ 197 w 500"/>
                  <a:gd name="T21" fmla="*/ 13 h 410"/>
                  <a:gd name="T22" fmla="*/ 196 w 500"/>
                  <a:gd name="T23" fmla="*/ 13 h 410"/>
                  <a:gd name="T24" fmla="*/ 160 w 500"/>
                  <a:gd name="T25" fmla="*/ 42 h 410"/>
                  <a:gd name="T26" fmla="*/ 110 w 500"/>
                  <a:gd name="T27" fmla="*/ 53 h 410"/>
                  <a:gd name="T28" fmla="*/ 105 w 500"/>
                  <a:gd name="T29" fmla="*/ 18 h 410"/>
                  <a:gd name="T30" fmla="*/ 62 w 500"/>
                  <a:gd name="T31" fmla="*/ 8 h 410"/>
                  <a:gd name="T32" fmla="*/ 51 w 500"/>
                  <a:gd name="T33" fmla="*/ 49 h 410"/>
                  <a:gd name="T34" fmla="*/ 78 w 500"/>
                  <a:gd name="T35" fmla="*/ 72 h 410"/>
                  <a:gd name="T36" fmla="*/ 56 w 500"/>
                  <a:gd name="T37" fmla="*/ 102 h 410"/>
                  <a:gd name="T38" fmla="*/ 0 w 500"/>
                  <a:gd name="T39" fmla="*/ 126 h 410"/>
                  <a:gd name="T40" fmla="*/ 491 w 500"/>
                  <a:gd name="T41" fmla="*/ 410 h 410"/>
                  <a:gd name="T42" fmla="*/ 498 w 500"/>
                  <a:gd name="T43" fmla="*/ 349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00" h="410">
                    <a:moveTo>
                      <a:pt x="498" y="349"/>
                    </a:moveTo>
                    <a:cubicBezTo>
                      <a:pt x="496" y="332"/>
                      <a:pt x="494" y="315"/>
                      <a:pt x="483" y="315"/>
                    </a:cubicBezTo>
                    <a:cubicBezTo>
                      <a:pt x="472" y="315"/>
                      <a:pt x="469" y="326"/>
                      <a:pt x="449" y="326"/>
                    </a:cubicBezTo>
                    <a:cubicBezTo>
                      <a:pt x="430" y="326"/>
                      <a:pt x="420" y="311"/>
                      <a:pt x="420" y="296"/>
                    </a:cubicBezTo>
                    <a:cubicBezTo>
                      <a:pt x="420" y="281"/>
                      <a:pt x="433" y="265"/>
                      <a:pt x="449" y="265"/>
                    </a:cubicBezTo>
                    <a:cubicBezTo>
                      <a:pt x="468" y="265"/>
                      <a:pt x="475" y="278"/>
                      <a:pt x="483" y="278"/>
                    </a:cubicBezTo>
                    <a:cubicBezTo>
                      <a:pt x="492" y="278"/>
                      <a:pt x="500" y="248"/>
                      <a:pt x="499" y="229"/>
                    </a:cubicBezTo>
                    <a:cubicBezTo>
                      <a:pt x="497" y="210"/>
                      <a:pt x="491" y="183"/>
                      <a:pt x="491" y="183"/>
                    </a:cubicBezTo>
                    <a:cubicBezTo>
                      <a:pt x="491" y="183"/>
                      <a:pt x="491" y="183"/>
                      <a:pt x="491" y="183"/>
                    </a:cubicBezTo>
                    <a:cubicBezTo>
                      <a:pt x="491" y="183"/>
                      <a:pt x="491" y="183"/>
                      <a:pt x="491" y="183"/>
                    </a:cubicBezTo>
                    <a:cubicBezTo>
                      <a:pt x="365" y="183"/>
                      <a:pt x="255" y="115"/>
                      <a:pt x="197" y="13"/>
                    </a:cubicBezTo>
                    <a:cubicBezTo>
                      <a:pt x="196" y="13"/>
                      <a:pt x="196" y="13"/>
                      <a:pt x="196" y="13"/>
                    </a:cubicBezTo>
                    <a:cubicBezTo>
                      <a:pt x="196" y="13"/>
                      <a:pt x="176" y="32"/>
                      <a:pt x="160" y="42"/>
                    </a:cubicBezTo>
                    <a:cubicBezTo>
                      <a:pt x="145" y="53"/>
                      <a:pt x="115" y="61"/>
                      <a:pt x="110" y="53"/>
                    </a:cubicBezTo>
                    <a:cubicBezTo>
                      <a:pt x="106" y="46"/>
                      <a:pt x="114" y="34"/>
                      <a:pt x="105" y="18"/>
                    </a:cubicBezTo>
                    <a:cubicBezTo>
                      <a:pt x="97" y="3"/>
                      <a:pt x="75" y="0"/>
                      <a:pt x="62" y="8"/>
                    </a:cubicBezTo>
                    <a:cubicBezTo>
                      <a:pt x="49" y="15"/>
                      <a:pt x="42" y="32"/>
                      <a:pt x="51" y="49"/>
                    </a:cubicBezTo>
                    <a:cubicBezTo>
                      <a:pt x="61" y="65"/>
                      <a:pt x="72" y="62"/>
                      <a:pt x="78" y="72"/>
                    </a:cubicBezTo>
                    <a:cubicBezTo>
                      <a:pt x="84" y="82"/>
                      <a:pt x="70" y="91"/>
                      <a:pt x="56" y="102"/>
                    </a:cubicBezTo>
                    <a:cubicBezTo>
                      <a:pt x="44" y="111"/>
                      <a:pt x="25" y="118"/>
                      <a:pt x="0" y="126"/>
                    </a:cubicBezTo>
                    <a:cubicBezTo>
                      <a:pt x="98" y="296"/>
                      <a:pt x="281" y="410"/>
                      <a:pt x="491" y="410"/>
                    </a:cubicBezTo>
                    <a:cubicBezTo>
                      <a:pt x="496" y="384"/>
                      <a:pt x="500" y="365"/>
                      <a:pt x="498" y="349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33">
                <a:extLst>
                  <a:ext uri="{FF2B5EF4-FFF2-40B4-BE49-F238E27FC236}">
                    <a16:creationId xmlns:a16="http://schemas.microsoft.com/office/drawing/2014/main" id="{402D891A-EC28-46BA-B12D-85C9FD67D5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41" y="1298575"/>
                <a:ext cx="1874839" cy="1536700"/>
              </a:xfrm>
              <a:custGeom>
                <a:avLst/>
                <a:gdLst>
                  <a:gd name="T0" fmla="*/ 9 w 500"/>
                  <a:gd name="T1" fmla="*/ 0 h 410"/>
                  <a:gd name="T2" fmla="*/ 2 w 500"/>
                  <a:gd name="T3" fmla="*/ 61 h 410"/>
                  <a:gd name="T4" fmla="*/ 17 w 500"/>
                  <a:gd name="T5" fmla="*/ 95 h 410"/>
                  <a:gd name="T6" fmla="*/ 51 w 500"/>
                  <a:gd name="T7" fmla="*/ 83 h 410"/>
                  <a:gd name="T8" fmla="*/ 81 w 500"/>
                  <a:gd name="T9" fmla="*/ 113 h 410"/>
                  <a:gd name="T10" fmla="*/ 51 w 500"/>
                  <a:gd name="T11" fmla="*/ 145 h 410"/>
                  <a:gd name="T12" fmla="*/ 17 w 500"/>
                  <a:gd name="T13" fmla="*/ 132 h 410"/>
                  <a:gd name="T14" fmla="*/ 2 w 500"/>
                  <a:gd name="T15" fmla="*/ 181 h 410"/>
                  <a:gd name="T16" fmla="*/ 9 w 500"/>
                  <a:gd name="T17" fmla="*/ 227 h 410"/>
                  <a:gd name="T18" fmla="*/ 9 w 500"/>
                  <a:gd name="T19" fmla="*/ 227 h 410"/>
                  <a:gd name="T20" fmla="*/ 304 w 500"/>
                  <a:gd name="T21" fmla="*/ 397 h 410"/>
                  <a:gd name="T22" fmla="*/ 304 w 500"/>
                  <a:gd name="T23" fmla="*/ 397 h 410"/>
                  <a:gd name="T24" fmla="*/ 340 w 500"/>
                  <a:gd name="T25" fmla="*/ 367 h 410"/>
                  <a:gd name="T26" fmla="*/ 390 w 500"/>
                  <a:gd name="T27" fmla="*/ 356 h 410"/>
                  <a:gd name="T28" fmla="*/ 395 w 500"/>
                  <a:gd name="T29" fmla="*/ 392 h 410"/>
                  <a:gd name="T30" fmla="*/ 438 w 500"/>
                  <a:gd name="T31" fmla="*/ 402 h 410"/>
                  <a:gd name="T32" fmla="*/ 449 w 500"/>
                  <a:gd name="T33" fmla="*/ 361 h 410"/>
                  <a:gd name="T34" fmla="*/ 422 w 500"/>
                  <a:gd name="T35" fmla="*/ 338 h 410"/>
                  <a:gd name="T36" fmla="*/ 444 w 500"/>
                  <a:gd name="T37" fmla="*/ 308 h 410"/>
                  <a:gd name="T38" fmla="*/ 500 w 500"/>
                  <a:gd name="T39" fmla="*/ 283 h 410"/>
                  <a:gd name="T40" fmla="*/ 9 w 500"/>
                  <a:gd name="T41" fmla="*/ 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00" h="410">
                    <a:moveTo>
                      <a:pt x="9" y="0"/>
                    </a:move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35" y="227"/>
                      <a:pt x="245" y="295"/>
                      <a:pt x="304" y="397"/>
                    </a:cubicBezTo>
                    <a:cubicBezTo>
                      <a:pt x="304" y="397"/>
                      <a:pt x="304" y="397"/>
                      <a:pt x="304" y="397"/>
                    </a:cubicBezTo>
                    <a:cubicBezTo>
                      <a:pt x="304" y="397"/>
                      <a:pt x="324" y="378"/>
                      <a:pt x="340" y="367"/>
                    </a:cubicBezTo>
                    <a:cubicBezTo>
                      <a:pt x="355" y="357"/>
                      <a:pt x="386" y="349"/>
                      <a:pt x="390" y="356"/>
                    </a:cubicBezTo>
                    <a:cubicBezTo>
                      <a:pt x="394" y="364"/>
                      <a:pt x="386" y="376"/>
                      <a:pt x="395" y="392"/>
                    </a:cubicBezTo>
                    <a:cubicBezTo>
                      <a:pt x="404" y="407"/>
                      <a:pt x="425" y="410"/>
                      <a:pt x="438" y="402"/>
                    </a:cubicBezTo>
                    <a:cubicBezTo>
                      <a:pt x="451" y="395"/>
                      <a:pt x="459" y="378"/>
                      <a:pt x="449" y="361"/>
                    </a:cubicBezTo>
                    <a:cubicBezTo>
                      <a:pt x="439" y="344"/>
                      <a:pt x="428" y="348"/>
                      <a:pt x="422" y="338"/>
                    </a:cubicBezTo>
                    <a:cubicBezTo>
                      <a:pt x="416" y="328"/>
                      <a:pt x="430" y="318"/>
                      <a:pt x="444" y="308"/>
                    </a:cubicBezTo>
                    <a:cubicBezTo>
                      <a:pt x="457" y="298"/>
                      <a:pt x="476" y="292"/>
                      <a:pt x="500" y="283"/>
                    </a:cubicBezTo>
                    <a:cubicBezTo>
                      <a:pt x="402" y="114"/>
                      <a:pt x="219" y="0"/>
                      <a:pt x="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34">
                <a:extLst>
                  <a:ext uri="{FF2B5EF4-FFF2-40B4-BE49-F238E27FC236}">
                    <a16:creationId xmlns:a16="http://schemas.microsoft.com/office/drawing/2014/main" id="{3C9ABE3D-291B-4DBA-8C43-43D7E8566C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08477" y="4062413"/>
                <a:ext cx="2108201" cy="1489075"/>
              </a:xfrm>
              <a:custGeom>
                <a:avLst/>
                <a:gdLst>
                  <a:gd name="T0" fmla="*/ 476 w 562"/>
                  <a:gd name="T1" fmla="*/ 73 h 397"/>
                  <a:gd name="T2" fmla="*/ 469 w 562"/>
                  <a:gd name="T3" fmla="*/ 108 h 397"/>
                  <a:gd name="T4" fmla="*/ 428 w 562"/>
                  <a:gd name="T5" fmla="*/ 119 h 397"/>
                  <a:gd name="T6" fmla="*/ 416 w 562"/>
                  <a:gd name="T7" fmla="*/ 77 h 397"/>
                  <a:gd name="T8" fmla="*/ 444 w 562"/>
                  <a:gd name="T9" fmla="*/ 54 h 397"/>
                  <a:gd name="T10" fmla="*/ 409 w 562"/>
                  <a:gd name="T11" fmla="*/ 16 h 397"/>
                  <a:gd name="T12" fmla="*/ 366 w 562"/>
                  <a:gd name="T13" fmla="*/ 0 h 397"/>
                  <a:gd name="T14" fmla="*/ 366 w 562"/>
                  <a:gd name="T15" fmla="*/ 0 h 397"/>
                  <a:gd name="T16" fmla="*/ 71 w 562"/>
                  <a:gd name="T17" fmla="*/ 170 h 397"/>
                  <a:gd name="T18" fmla="*/ 71 w 562"/>
                  <a:gd name="T19" fmla="*/ 170 h 397"/>
                  <a:gd name="T20" fmla="*/ 79 w 562"/>
                  <a:gd name="T21" fmla="*/ 216 h 397"/>
                  <a:gd name="T22" fmla="*/ 63 w 562"/>
                  <a:gd name="T23" fmla="*/ 265 h 397"/>
                  <a:gd name="T24" fmla="*/ 29 w 562"/>
                  <a:gd name="T25" fmla="*/ 252 h 397"/>
                  <a:gd name="T26" fmla="*/ 0 w 562"/>
                  <a:gd name="T27" fmla="*/ 283 h 397"/>
                  <a:gd name="T28" fmla="*/ 29 w 562"/>
                  <a:gd name="T29" fmla="*/ 313 h 397"/>
                  <a:gd name="T30" fmla="*/ 63 w 562"/>
                  <a:gd name="T31" fmla="*/ 302 h 397"/>
                  <a:gd name="T32" fmla="*/ 78 w 562"/>
                  <a:gd name="T33" fmla="*/ 336 h 397"/>
                  <a:gd name="T34" fmla="*/ 71 w 562"/>
                  <a:gd name="T35" fmla="*/ 397 h 397"/>
                  <a:gd name="T36" fmla="*/ 562 w 562"/>
                  <a:gd name="T37" fmla="*/ 113 h 397"/>
                  <a:gd name="T38" fmla="*/ 513 w 562"/>
                  <a:gd name="T39" fmla="*/ 77 h 397"/>
                  <a:gd name="T40" fmla="*/ 476 w 562"/>
                  <a:gd name="T41" fmla="*/ 73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2" h="397">
                    <a:moveTo>
                      <a:pt x="476" y="73"/>
                    </a:moveTo>
                    <a:cubicBezTo>
                      <a:pt x="470" y="83"/>
                      <a:pt x="479" y="91"/>
                      <a:pt x="469" y="108"/>
                    </a:cubicBezTo>
                    <a:cubicBezTo>
                      <a:pt x="459" y="125"/>
                      <a:pt x="441" y="126"/>
                      <a:pt x="428" y="119"/>
                    </a:cubicBezTo>
                    <a:cubicBezTo>
                      <a:pt x="415" y="111"/>
                      <a:pt x="407" y="91"/>
                      <a:pt x="416" y="77"/>
                    </a:cubicBezTo>
                    <a:cubicBezTo>
                      <a:pt x="425" y="61"/>
                      <a:pt x="439" y="62"/>
                      <a:pt x="444" y="54"/>
                    </a:cubicBezTo>
                    <a:cubicBezTo>
                      <a:pt x="448" y="47"/>
                      <a:pt x="426" y="25"/>
                      <a:pt x="409" y="16"/>
                    </a:cubicBezTo>
                    <a:cubicBezTo>
                      <a:pt x="392" y="8"/>
                      <a:pt x="366" y="0"/>
                      <a:pt x="366" y="0"/>
                    </a:cubicBezTo>
                    <a:cubicBezTo>
                      <a:pt x="366" y="0"/>
                      <a:pt x="366" y="0"/>
                      <a:pt x="366" y="0"/>
                    </a:cubicBezTo>
                    <a:cubicBezTo>
                      <a:pt x="307" y="102"/>
                      <a:pt x="197" y="170"/>
                      <a:pt x="71" y="170"/>
                    </a:cubicBezTo>
                    <a:cubicBezTo>
                      <a:pt x="71" y="170"/>
                      <a:pt x="71" y="170"/>
                      <a:pt x="71" y="170"/>
                    </a:cubicBezTo>
                    <a:cubicBezTo>
                      <a:pt x="71" y="170"/>
                      <a:pt x="77" y="197"/>
                      <a:pt x="79" y="216"/>
                    </a:cubicBezTo>
                    <a:cubicBezTo>
                      <a:pt x="80" y="235"/>
                      <a:pt x="72" y="265"/>
                      <a:pt x="63" y="265"/>
                    </a:cubicBezTo>
                    <a:cubicBezTo>
                      <a:pt x="55" y="265"/>
                      <a:pt x="48" y="252"/>
                      <a:pt x="29" y="252"/>
                    </a:cubicBezTo>
                    <a:cubicBezTo>
                      <a:pt x="13" y="252"/>
                      <a:pt x="0" y="268"/>
                      <a:pt x="0" y="283"/>
                    </a:cubicBezTo>
                    <a:cubicBezTo>
                      <a:pt x="0" y="298"/>
                      <a:pt x="10" y="313"/>
                      <a:pt x="29" y="313"/>
                    </a:cubicBezTo>
                    <a:cubicBezTo>
                      <a:pt x="49" y="313"/>
                      <a:pt x="52" y="302"/>
                      <a:pt x="63" y="302"/>
                    </a:cubicBezTo>
                    <a:cubicBezTo>
                      <a:pt x="74" y="302"/>
                      <a:pt x="76" y="319"/>
                      <a:pt x="78" y="336"/>
                    </a:cubicBezTo>
                    <a:cubicBezTo>
                      <a:pt x="80" y="352"/>
                      <a:pt x="76" y="371"/>
                      <a:pt x="71" y="397"/>
                    </a:cubicBezTo>
                    <a:cubicBezTo>
                      <a:pt x="281" y="397"/>
                      <a:pt x="464" y="283"/>
                      <a:pt x="562" y="113"/>
                    </a:cubicBezTo>
                    <a:cubicBezTo>
                      <a:pt x="542" y="96"/>
                      <a:pt x="527" y="83"/>
                      <a:pt x="513" y="77"/>
                    </a:cubicBezTo>
                    <a:cubicBezTo>
                      <a:pt x="497" y="70"/>
                      <a:pt x="482" y="63"/>
                      <a:pt x="476" y="73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35">
                <a:extLst>
                  <a:ext uri="{FF2B5EF4-FFF2-40B4-BE49-F238E27FC236}">
                    <a16:creationId xmlns:a16="http://schemas.microsoft.com/office/drawing/2014/main" id="{912420F4-C0B4-423C-AE66-6733212888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314575"/>
                <a:ext cx="1023938" cy="2171700"/>
              </a:xfrm>
              <a:custGeom>
                <a:avLst/>
                <a:gdLst>
                  <a:gd name="T0" fmla="*/ 154 w 273"/>
                  <a:gd name="T1" fmla="*/ 525 h 579"/>
                  <a:gd name="T2" fmla="*/ 127 w 273"/>
                  <a:gd name="T3" fmla="*/ 502 h 579"/>
                  <a:gd name="T4" fmla="*/ 138 w 273"/>
                  <a:gd name="T5" fmla="*/ 461 h 579"/>
                  <a:gd name="T6" fmla="*/ 181 w 273"/>
                  <a:gd name="T7" fmla="*/ 471 h 579"/>
                  <a:gd name="T8" fmla="*/ 186 w 273"/>
                  <a:gd name="T9" fmla="*/ 506 h 579"/>
                  <a:gd name="T10" fmla="*/ 236 w 273"/>
                  <a:gd name="T11" fmla="*/ 495 h 579"/>
                  <a:gd name="T12" fmla="*/ 272 w 273"/>
                  <a:gd name="T13" fmla="*/ 466 h 579"/>
                  <a:gd name="T14" fmla="*/ 273 w 273"/>
                  <a:gd name="T15" fmla="*/ 466 h 579"/>
                  <a:gd name="T16" fmla="*/ 227 w 273"/>
                  <a:gd name="T17" fmla="*/ 296 h 579"/>
                  <a:gd name="T18" fmla="*/ 273 w 273"/>
                  <a:gd name="T19" fmla="*/ 126 h 579"/>
                  <a:gd name="T20" fmla="*/ 272 w 273"/>
                  <a:gd name="T21" fmla="*/ 126 h 579"/>
                  <a:gd name="T22" fmla="*/ 229 w 273"/>
                  <a:gd name="T23" fmla="*/ 109 h 579"/>
                  <a:gd name="T24" fmla="*/ 195 w 273"/>
                  <a:gd name="T25" fmla="*/ 71 h 579"/>
                  <a:gd name="T26" fmla="*/ 223 w 273"/>
                  <a:gd name="T27" fmla="*/ 49 h 579"/>
                  <a:gd name="T28" fmla="*/ 210 w 273"/>
                  <a:gd name="T29" fmla="*/ 7 h 579"/>
                  <a:gd name="T30" fmla="*/ 169 w 273"/>
                  <a:gd name="T31" fmla="*/ 18 h 579"/>
                  <a:gd name="T32" fmla="*/ 162 w 273"/>
                  <a:gd name="T33" fmla="*/ 53 h 579"/>
                  <a:gd name="T34" fmla="*/ 126 w 273"/>
                  <a:gd name="T35" fmla="*/ 49 h 579"/>
                  <a:gd name="T36" fmla="*/ 76 w 273"/>
                  <a:gd name="T37" fmla="*/ 12 h 579"/>
                  <a:gd name="T38" fmla="*/ 0 w 273"/>
                  <a:gd name="T39" fmla="*/ 296 h 579"/>
                  <a:gd name="T40" fmla="*/ 76 w 273"/>
                  <a:gd name="T41" fmla="*/ 579 h 579"/>
                  <a:gd name="T42" fmla="*/ 132 w 273"/>
                  <a:gd name="T43" fmla="*/ 555 h 579"/>
                  <a:gd name="T44" fmla="*/ 154 w 273"/>
                  <a:gd name="T45" fmla="*/ 52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3" h="579">
                    <a:moveTo>
                      <a:pt x="154" y="525"/>
                    </a:moveTo>
                    <a:cubicBezTo>
                      <a:pt x="148" y="515"/>
                      <a:pt x="137" y="518"/>
                      <a:pt x="127" y="502"/>
                    </a:cubicBezTo>
                    <a:cubicBezTo>
                      <a:pt x="118" y="485"/>
                      <a:pt x="125" y="468"/>
                      <a:pt x="138" y="461"/>
                    </a:cubicBezTo>
                    <a:cubicBezTo>
                      <a:pt x="151" y="453"/>
                      <a:pt x="173" y="456"/>
                      <a:pt x="181" y="471"/>
                    </a:cubicBezTo>
                    <a:cubicBezTo>
                      <a:pt x="190" y="487"/>
                      <a:pt x="182" y="499"/>
                      <a:pt x="186" y="506"/>
                    </a:cubicBezTo>
                    <a:cubicBezTo>
                      <a:pt x="191" y="514"/>
                      <a:pt x="221" y="506"/>
                      <a:pt x="236" y="495"/>
                    </a:cubicBezTo>
                    <a:cubicBezTo>
                      <a:pt x="252" y="485"/>
                      <a:pt x="272" y="466"/>
                      <a:pt x="272" y="466"/>
                    </a:cubicBezTo>
                    <a:cubicBezTo>
                      <a:pt x="273" y="466"/>
                      <a:pt x="273" y="466"/>
                      <a:pt x="273" y="466"/>
                    </a:cubicBezTo>
                    <a:cubicBezTo>
                      <a:pt x="244" y="416"/>
                      <a:pt x="227" y="358"/>
                      <a:pt x="227" y="296"/>
                    </a:cubicBezTo>
                    <a:cubicBezTo>
                      <a:pt x="227" y="234"/>
                      <a:pt x="244" y="176"/>
                      <a:pt x="273" y="126"/>
                    </a:cubicBezTo>
                    <a:cubicBezTo>
                      <a:pt x="272" y="126"/>
                      <a:pt x="272" y="126"/>
                      <a:pt x="272" y="126"/>
                    </a:cubicBezTo>
                    <a:cubicBezTo>
                      <a:pt x="272" y="126"/>
                      <a:pt x="246" y="117"/>
                      <a:pt x="229" y="109"/>
                    </a:cubicBezTo>
                    <a:cubicBezTo>
                      <a:pt x="212" y="101"/>
                      <a:pt x="190" y="79"/>
                      <a:pt x="195" y="71"/>
                    </a:cubicBezTo>
                    <a:cubicBezTo>
                      <a:pt x="199" y="64"/>
                      <a:pt x="213" y="65"/>
                      <a:pt x="223" y="49"/>
                    </a:cubicBezTo>
                    <a:cubicBezTo>
                      <a:pt x="231" y="34"/>
                      <a:pt x="223" y="15"/>
                      <a:pt x="210" y="7"/>
                    </a:cubicBezTo>
                    <a:cubicBezTo>
                      <a:pt x="197" y="0"/>
                      <a:pt x="179" y="1"/>
                      <a:pt x="169" y="18"/>
                    </a:cubicBezTo>
                    <a:cubicBezTo>
                      <a:pt x="159" y="35"/>
                      <a:pt x="168" y="43"/>
                      <a:pt x="162" y="53"/>
                    </a:cubicBezTo>
                    <a:cubicBezTo>
                      <a:pt x="156" y="63"/>
                      <a:pt x="142" y="56"/>
                      <a:pt x="126" y="49"/>
                    </a:cubicBezTo>
                    <a:cubicBezTo>
                      <a:pt x="111" y="43"/>
                      <a:pt x="96" y="29"/>
                      <a:pt x="76" y="12"/>
                    </a:cubicBezTo>
                    <a:cubicBezTo>
                      <a:pt x="28" y="96"/>
                      <a:pt x="0" y="193"/>
                      <a:pt x="0" y="296"/>
                    </a:cubicBezTo>
                    <a:cubicBezTo>
                      <a:pt x="0" y="399"/>
                      <a:pt x="28" y="496"/>
                      <a:pt x="76" y="579"/>
                    </a:cubicBezTo>
                    <a:cubicBezTo>
                      <a:pt x="101" y="571"/>
                      <a:pt x="120" y="564"/>
                      <a:pt x="132" y="555"/>
                    </a:cubicBezTo>
                    <a:cubicBezTo>
                      <a:pt x="146" y="544"/>
                      <a:pt x="160" y="535"/>
                      <a:pt x="154" y="525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89">
              <a:extLst>
                <a:ext uri="{FF2B5EF4-FFF2-40B4-BE49-F238E27FC236}">
                  <a16:creationId xmlns:a16="http://schemas.microsoft.com/office/drawing/2014/main" id="{D6CB110A-B484-4B60-9D49-897DEFF220A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262626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grpSp>
          <p:nvGrpSpPr>
            <p:cNvPr id="5" name="Gruppieren 34">
              <a:extLst>
                <a:ext uri="{FF2B5EF4-FFF2-40B4-BE49-F238E27FC236}">
                  <a16:creationId xmlns:a16="http://schemas.microsoft.com/office/drawing/2014/main" id="{2B05C534-EEBC-45B5-8338-4EF3EF6973DB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434A617E-52CA-47F9-9375-C7BAE411EC5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E58DDAE1-2EEA-417C-A874-9A7A16BF01D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9C244888-D5F1-44FC-9E01-D9ECBC6BE8B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9" name="Text Box 13" descr="PresentationLoad.com">
                <a:extLst>
                  <a:ext uri="{FF2B5EF4-FFF2-40B4-BE49-F238E27FC236}">
                    <a16:creationId xmlns:a16="http://schemas.microsoft.com/office/drawing/2014/main" id="{7CABC1EE-B825-4C9E-B0B4-BF48E75E2F0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0" name="Gerade Verbindung 39" descr="PresentationLoad.com">
                <a:extLst>
                  <a:ext uri="{FF2B5EF4-FFF2-40B4-BE49-F238E27FC236}">
                    <a16:creationId xmlns:a16="http://schemas.microsoft.com/office/drawing/2014/main" id="{B306F549-92E9-4B2A-B3EF-FB2EFECE64CF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1" name="Gerade Verbindung 40" descr="PresentationLoad.com">
                <a:extLst>
                  <a:ext uri="{FF2B5EF4-FFF2-40B4-BE49-F238E27FC236}">
                    <a16:creationId xmlns:a16="http://schemas.microsoft.com/office/drawing/2014/main" id="{9DF7A247-545A-4E37-A693-04EFB3E85631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2" name="Text Box 13" descr="PresentationLoad.com">
                <a:extLst>
                  <a:ext uri="{FF2B5EF4-FFF2-40B4-BE49-F238E27FC236}">
                    <a16:creationId xmlns:a16="http://schemas.microsoft.com/office/drawing/2014/main" id="{DF57AA6A-4954-436D-A259-1859FCF955A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3" name="Gerade Verbindung 42" descr="PresentationLoad.com">
                <a:extLst>
                  <a:ext uri="{FF2B5EF4-FFF2-40B4-BE49-F238E27FC236}">
                    <a16:creationId xmlns:a16="http://schemas.microsoft.com/office/drawing/2014/main" id="{99D76A31-C381-495C-9923-37B1C7FDD02D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4" name="Gerade Verbindung 43" descr="PresentationLoad.com">
                <a:extLst>
                  <a:ext uri="{FF2B5EF4-FFF2-40B4-BE49-F238E27FC236}">
                    <a16:creationId xmlns:a16="http://schemas.microsoft.com/office/drawing/2014/main" id="{A003D80C-B92C-48D6-BCF8-3163C399478E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5" name="Text Box 13" descr="PresentationLoad.com">
                <a:extLst>
                  <a:ext uri="{FF2B5EF4-FFF2-40B4-BE49-F238E27FC236}">
                    <a16:creationId xmlns:a16="http://schemas.microsoft.com/office/drawing/2014/main" id="{3E822601-9233-44C2-ABE1-A2A163371DE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079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1">
            <a:extLst>
              <a:ext uri="{FF2B5EF4-FFF2-40B4-BE49-F238E27FC236}">
                <a16:creationId xmlns:a16="http://schemas.microsoft.com/office/drawing/2014/main" id="{78CCCF52-50CC-48B9-9E25-7A901E5765D3}"/>
              </a:ext>
            </a:extLst>
          </p:cNvPr>
          <p:cNvGrpSpPr/>
          <p:nvPr/>
        </p:nvGrpSpPr>
        <p:grpSpPr>
          <a:xfrm>
            <a:off x="517827" y="1838999"/>
            <a:ext cx="11142851" cy="4699539"/>
            <a:chOff x="517827" y="1838999"/>
            <a:chExt cx="11142851" cy="4699539"/>
          </a:xfrm>
        </p:grpSpPr>
        <p:grpSp>
          <p:nvGrpSpPr>
            <p:cNvPr id="3" name="Gruppieren 90">
              <a:extLst>
                <a:ext uri="{FF2B5EF4-FFF2-40B4-BE49-F238E27FC236}">
                  <a16:creationId xmlns:a16="http://schemas.microsoft.com/office/drawing/2014/main" id="{0907EAFC-183B-4B36-BB75-7F32F580A219}"/>
                </a:ext>
              </a:extLst>
            </p:cNvPr>
            <p:cNvGrpSpPr/>
            <p:nvPr/>
          </p:nvGrpSpPr>
          <p:grpSpPr bwMode="gray">
            <a:xfrm>
              <a:off x="4334409" y="1919631"/>
              <a:ext cx="3520800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41">
                <a:extLst>
                  <a:ext uri="{FF2B5EF4-FFF2-40B4-BE49-F238E27FC236}">
                    <a16:creationId xmlns:a16="http://schemas.microsoft.com/office/drawing/2014/main" id="{90367B8C-70CD-4304-993B-CB7DFA8FD2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2125" y="2097088"/>
                <a:ext cx="1128713" cy="1979613"/>
              </a:xfrm>
              <a:custGeom>
                <a:avLst/>
                <a:gdLst>
                  <a:gd name="T0" fmla="*/ 108 w 301"/>
                  <a:gd name="T1" fmla="*/ 66 h 528"/>
                  <a:gd name="T2" fmla="*/ 138 w 301"/>
                  <a:gd name="T3" fmla="*/ 85 h 528"/>
                  <a:gd name="T4" fmla="*/ 133 w 301"/>
                  <a:gd name="T5" fmla="*/ 127 h 528"/>
                  <a:gd name="T6" fmla="*/ 90 w 301"/>
                  <a:gd name="T7" fmla="*/ 123 h 528"/>
                  <a:gd name="T8" fmla="*/ 79 w 301"/>
                  <a:gd name="T9" fmla="*/ 89 h 528"/>
                  <a:gd name="T10" fmla="*/ 31 w 301"/>
                  <a:gd name="T11" fmla="*/ 107 h 528"/>
                  <a:gd name="T12" fmla="*/ 0 w 301"/>
                  <a:gd name="T13" fmla="*/ 142 h 528"/>
                  <a:gd name="T14" fmla="*/ 0 w 301"/>
                  <a:gd name="T15" fmla="*/ 142 h 528"/>
                  <a:gd name="T16" fmla="*/ 74 w 301"/>
                  <a:gd name="T17" fmla="*/ 354 h 528"/>
                  <a:gd name="T18" fmla="*/ 66 w 301"/>
                  <a:gd name="T19" fmla="*/ 430 h 528"/>
                  <a:gd name="T20" fmla="*/ 66 w 301"/>
                  <a:gd name="T21" fmla="*/ 430 h 528"/>
                  <a:gd name="T22" fmla="*/ 112 w 301"/>
                  <a:gd name="T23" fmla="*/ 433 h 528"/>
                  <a:gd name="T24" fmla="*/ 156 w 301"/>
                  <a:gd name="T25" fmla="*/ 458 h 528"/>
                  <a:gd name="T26" fmla="*/ 136 w 301"/>
                  <a:gd name="T27" fmla="*/ 488 h 528"/>
                  <a:gd name="T28" fmla="*/ 160 w 301"/>
                  <a:gd name="T29" fmla="*/ 525 h 528"/>
                  <a:gd name="T30" fmla="*/ 196 w 301"/>
                  <a:gd name="T31" fmla="*/ 502 h 528"/>
                  <a:gd name="T32" fmla="*/ 193 w 301"/>
                  <a:gd name="T33" fmla="*/ 467 h 528"/>
                  <a:gd name="T34" fmla="*/ 229 w 301"/>
                  <a:gd name="T35" fmla="*/ 460 h 528"/>
                  <a:gd name="T36" fmla="*/ 287 w 301"/>
                  <a:gd name="T37" fmla="*/ 480 h 528"/>
                  <a:gd name="T38" fmla="*/ 301 w 301"/>
                  <a:gd name="T39" fmla="*/ 354 h 528"/>
                  <a:gd name="T40" fmla="*/ 177 w 301"/>
                  <a:gd name="T41" fmla="*/ 0 h 528"/>
                  <a:gd name="T42" fmla="*/ 125 w 301"/>
                  <a:gd name="T43" fmla="*/ 33 h 528"/>
                  <a:gd name="T44" fmla="*/ 108 w 301"/>
                  <a:gd name="T45" fmla="*/ 66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1" h="528">
                    <a:moveTo>
                      <a:pt x="108" y="66"/>
                    </a:moveTo>
                    <a:cubicBezTo>
                      <a:pt x="115" y="75"/>
                      <a:pt x="126" y="70"/>
                      <a:pt x="138" y="85"/>
                    </a:cubicBezTo>
                    <a:cubicBezTo>
                      <a:pt x="150" y="100"/>
                      <a:pt x="145" y="118"/>
                      <a:pt x="133" y="127"/>
                    </a:cubicBezTo>
                    <a:cubicBezTo>
                      <a:pt x="122" y="136"/>
                      <a:pt x="100" y="137"/>
                      <a:pt x="90" y="123"/>
                    </a:cubicBezTo>
                    <a:cubicBezTo>
                      <a:pt x="78" y="109"/>
                      <a:pt x="84" y="96"/>
                      <a:pt x="79" y="89"/>
                    </a:cubicBezTo>
                    <a:cubicBezTo>
                      <a:pt x="74" y="82"/>
                      <a:pt x="45" y="95"/>
                      <a:pt x="31" y="107"/>
                    </a:cubicBezTo>
                    <a:cubicBezTo>
                      <a:pt x="18" y="120"/>
                      <a:pt x="0" y="142"/>
                      <a:pt x="0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46" y="200"/>
                      <a:pt x="74" y="274"/>
                      <a:pt x="74" y="354"/>
                    </a:cubicBezTo>
                    <a:cubicBezTo>
                      <a:pt x="74" y="380"/>
                      <a:pt x="71" y="405"/>
                      <a:pt x="66" y="430"/>
                    </a:cubicBezTo>
                    <a:cubicBezTo>
                      <a:pt x="66" y="430"/>
                      <a:pt x="66" y="430"/>
                      <a:pt x="66" y="430"/>
                    </a:cubicBezTo>
                    <a:cubicBezTo>
                      <a:pt x="66" y="430"/>
                      <a:pt x="94" y="430"/>
                      <a:pt x="112" y="433"/>
                    </a:cubicBezTo>
                    <a:cubicBezTo>
                      <a:pt x="131" y="435"/>
                      <a:pt x="158" y="450"/>
                      <a:pt x="156" y="458"/>
                    </a:cubicBezTo>
                    <a:cubicBezTo>
                      <a:pt x="154" y="467"/>
                      <a:pt x="140" y="470"/>
                      <a:pt x="136" y="488"/>
                    </a:cubicBezTo>
                    <a:cubicBezTo>
                      <a:pt x="132" y="505"/>
                      <a:pt x="146" y="521"/>
                      <a:pt x="160" y="525"/>
                    </a:cubicBezTo>
                    <a:cubicBezTo>
                      <a:pt x="175" y="528"/>
                      <a:pt x="192" y="521"/>
                      <a:pt x="196" y="502"/>
                    </a:cubicBezTo>
                    <a:cubicBezTo>
                      <a:pt x="201" y="483"/>
                      <a:pt x="190" y="478"/>
                      <a:pt x="193" y="467"/>
                    </a:cubicBezTo>
                    <a:cubicBezTo>
                      <a:pt x="195" y="456"/>
                      <a:pt x="212" y="458"/>
                      <a:pt x="229" y="460"/>
                    </a:cubicBezTo>
                    <a:cubicBezTo>
                      <a:pt x="245" y="461"/>
                      <a:pt x="263" y="470"/>
                      <a:pt x="287" y="480"/>
                    </a:cubicBezTo>
                    <a:cubicBezTo>
                      <a:pt x="296" y="439"/>
                      <a:pt x="301" y="397"/>
                      <a:pt x="301" y="354"/>
                    </a:cubicBezTo>
                    <a:cubicBezTo>
                      <a:pt x="301" y="220"/>
                      <a:pt x="255" y="97"/>
                      <a:pt x="177" y="0"/>
                    </a:cubicBezTo>
                    <a:cubicBezTo>
                      <a:pt x="154" y="13"/>
                      <a:pt x="136" y="22"/>
                      <a:pt x="125" y="33"/>
                    </a:cubicBezTo>
                    <a:cubicBezTo>
                      <a:pt x="113" y="45"/>
                      <a:pt x="101" y="57"/>
                      <a:pt x="108" y="66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2">
                <a:extLst>
                  <a:ext uri="{FF2B5EF4-FFF2-40B4-BE49-F238E27FC236}">
                    <a16:creationId xmlns:a16="http://schemas.microsoft.com/office/drawing/2014/main" id="{C0C8491F-85FB-4E8D-86AF-2A59CEDAA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13063" y="1298575"/>
                <a:ext cx="1931988" cy="1330325"/>
              </a:xfrm>
              <a:custGeom>
                <a:avLst/>
                <a:gdLst>
                  <a:gd name="T0" fmla="*/ 43 w 515"/>
                  <a:gd name="T1" fmla="*/ 257 h 355"/>
                  <a:gd name="T2" fmla="*/ 79 w 515"/>
                  <a:gd name="T3" fmla="*/ 266 h 355"/>
                  <a:gd name="T4" fmla="*/ 91 w 515"/>
                  <a:gd name="T5" fmla="*/ 233 h 355"/>
                  <a:gd name="T6" fmla="*/ 133 w 515"/>
                  <a:gd name="T7" fmla="*/ 228 h 355"/>
                  <a:gd name="T8" fmla="*/ 139 w 515"/>
                  <a:gd name="T9" fmla="*/ 271 h 355"/>
                  <a:gd name="T10" fmla="*/ 108 w 515"/>
                  <a:gd name="T11" fmla="*/ 289 h 355"/>
                  <a:gd name="T12" fmla="*/ 137 w 515"/>
                  <a:gd name="T13" fmla="*/ 332 h 355"/>
                  <a:gd name="T14" fmla="*/ 177 w 515"/>
                  <a:gd name="T15" fmla="*/ 355 h 355"/>
                  <a:gd name="T16" fmla="*/ 177 w 515"/>
                  <a:gd name="T17" fmla="*/ 355 h 355"/>
                  <a:gd name="T18" fmla="*/ 443 w 515"/>
                  <a:gd name="T19" fmla="*/ 227 h 355"/>
                  <a:gd name="T20" fmla="*/ 443 w 515"/>
                  <a:gd name="T21" fmla="*/ 227 h 355"/>
                  <a:gd name="T22" fmla="*/ 443 w 515"/>
                  <a:gd name="T23" fmla="*/ 227 h 355"/>
                  <a:gd name="T24" fmla="*/ 436 w 515"/>
                  <a:gd name="T25" fmla="*/ 181 h 355"/>
                  <a:gd name="T26" fmla="*/ 451 w 515"/>
                  <a:gd name="T27" fmla="*/ 132 h 355"/>
                  <a:gd name="T28" fmla="*/ 485 w 515"/>
                  <a:gd name="T29" fmla="*/ 145 h 355"/>
                  <a:gd name="T30" fmla="*/ 515 w 515"/>
                  <a:gd name="T31" fmla="*/ 113 h 355"/>
                  <a:gd name="T32" fmla="*/ 485 w 515"/>
                  <a:gd name="T33" fmla="*/ 83 h 355"/>
                  <a:gd name="T34" fmla="*/ 451 w 515"/>
                  <a:gd name="T35" fmla="*/ 95 h 355"/>
                  <a:gd name="T36" fmla="*/ 436 w 515"/>
                  <a:gd name="T37" fmla="*/ 61 h 355"/>
                  <a:gd name="T38" fmla="*/ 443 w 515"/>
                  <a:gd name="T39" fmla="*/ 0 h 355"/>
                  <a:gd name="T40" fmla="*/ 0 w 515"/>
                  <a:gd name="T41" fmla="*/ 213 h 355"/>
                  <a:gd name="T42" fmla="*/ 43 w 515"/>
                  <a:gd name="T43" fmla="*/ 25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15" h="355">
                    <a:moveTo>
                      <a:pt x="43" y="257"/>
                    </a:moveTo>
                    <a:cubicBezTo>
                      <a:pt x="58" y="266"/>
                      <a:pt x="72" y="275"/>
                      <a:pt x="79" y="266"/>
                    </a:cubicBezTo>
                    <a:cubicBezTo>
                      <a:pt x="86" y="257"/>
                      <a:pt x="79" y="248"/>
                      <a:pt x="91" y="233"/>
                    </a:cubicBezTo>
                    <a:cubicBezTo>
                      <a:pt x="103" y="217"/>
                      <a:pt x="121" y="219"/>
                      <a:pt x="133" y="228"/>
                    </a:cubicBezTo>
                    <a:cubicBezTo>
                      <a:pt x="145" y="237"/>
                      <a:pt x="150" y="258"/>
                      <a:pt x="139" y="271"/>
                    </a:cubicBezTo>
                    <a:cubicBezTo>
                      <a:pt x="128" y="286"/>
                      <a:pt x="113" y="283"/>
                      <a:pt x="108" y="289"/>
                    </a:cubicBezTo>
                    <a:cubicBezTo>
                      <a:pt x="103" y="296"/>
                      <a:pt x="121" y="321"/>
                      <a:pt x="137" y="332"/>
                    </a:cubicBezTo>
                    <a:cubicBezTo>
                      <a:pt x="152" y="342"/>
                      <a:pt x="177" y="355"/>
                      <a:pt x="177" y="355"/>
                    </a:cubicBezTo>
                    <a:cubicBezTo>
                      <a:pt x="177" y="355"/>
                      <a:pt x="177" y="355"/>
                      <a:pt x="177" y="355"/>
                    </a:cubicBezTo>
                    <a:cubicBezTo>
                      <a:pt x="240" y="277"/>
                      <a:pt x="335" y="227"/>
                      <a:pt x="443" y="227"/>
                    </a:cubicBezTo>
                    <a:cubicBezTo>
                      <a:pt x="443" y="227"/>
                      <a:pt x="443" y="227"/>
                      <a:pt x="443" y="227"/>
                    </a:cubicBezTo>
                    <a:cubicBezTo>
                      <a:pt x="443" y="227"/>
                      <a:pt x="443" y="227"/>
                      <a:pt x="443" y="227"/>
                    </a:cubicBezTo>
                    <a:cubicBezTo>
                      <a:pt x="443" y="227"/>
                      <a:pt x="437" y="199"/>
                      <a:pt x="436" y="181"/>
                    </a:cubicBezTo>
                    <a:cubicBezTo>
                      <a:pt x="434" y="162"/>
                      <a:pt x="443" y="132"/>
                      <a:pt x="451" y="132"/>
                    </a:cubicBezTo>
                    <a:cubicBezTo>
                      <a:pt x="460" y="132"/>
                      <a:pt x="466" y="145"/>
                      <a:pt x="485" y="145"/>
                    </a:cubicBezTo>
                    <a:cubicBezTo>
                      <a:pt x="502" y="145"/>
                      <a:pt x="515" y="128"/>
                      <a:pt x="515" y="113"/>
                    </a:cubicBezTo>
                    <a:cubicBezTo>
                      <a:pt x="515" y="98"/>
                      <a:pt x="504" y="83"/>
                      <a:pt x="485" y="83"/>
                    </a:cubicBezTo>
                    <a:cubicBezTo>
                      <a:pt x="465" y="83"/>
                      <a:pt x="463" y="95"/>
                      <a:pt x="451" y="95"/>
                    </a:cubicBezTo>
                    <a:cubicBezTo>
                      <a:pt x="440" y="95"/>
                      <a:pt x="438" y="78"/>
                      <a:pt x="436" y="61"/>
                    </a:cubicBezTo>
                    <a:cubicBezTo>
                      <a:pt x="434" y="45"/>
                      <a:pt x="438" y="25"/>
                      <a:pt x="443" y="0"/>
                    </a:cubicBezTo>
                    <a:cubicBezTo>
                      <a:pt x="264" y="0"/>
                      <a:pt x="104" y="83"/>
                      <a:pt x="0" y="213"/>
                    </a:cubicBezTo>
                    <a:cubicBezTo>
                      <a:pt x="17" y="233"/>
                      <a:pt x="30" y="248"/>
                      <a:pt x="43" y="257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3">
                <a:extLst>
                  <a:ext uri="{FF2B5EF4-FFF2-40B4-BE49-F238E27FC236}">
                    <a16:creationId xmlns:a16="http://schemas.microsoft.com/office/drawing/2014/main" id="{FC0351C2-141F-47AC-BD10-14CBBC71C4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1693863" cy="1330325"/>
              </a:xfrm>
              <a:custGeom>
                <a:avLst/>
                <a:gdLst>
                  <a:gd name="T0" fmla="*/ 2 w 452"/>
                  <a:gd name="T1" fmla="*/ 61 h 355"/>
                  <a:gd name="T2" fmla="*/ 17 w 452"/>
                  <a:gd name="T3" fmla="*/ 95 h 355"/>
                  <a:gd name="T4" fmla="*/ 51 w 452"/>
                  <a:gd name="T5" fmla="*/ 83 h 355"/>
                  <a:gd name="T6" fmla="*/ 81 w 452"/>
                  <a:gd name="T7" fmla="*/ 113 h 355"/>
                  <a:gd name="T8" fmla="*/ 51 w 452"/>
                  <a:gd name="T9" fmla="*/ 145 h 355"/>
                  <a:gd name="T10" fmla="*/ 17 w 452"/>
                  <a:gd name="T11" fmla="*/ 132 h 355"/>
                  <a:gd name="T12" fmla="*/ 2 w 452"/>
                  <a:gd name="T13" fmla="*/ 181 h 355"/>
                  <a:gd name="T14" fmla="*/ 9 w 452"/>
                  <a:gd name="T15" fmla="*/ 227 h 355"/>
                  <a:gd name="T16" fmla="*/ 9 w 452"/>
                  <a:gd name="T17" fmla="*/ 227 h 355"/>
                  <a:gd name="T18" fmla="*/ 275 w 452"/>
                  <a:gd name="T19" fmla="*/ 355 h 355"/>
                  <a:gd name="T20" fmla="*/ 275 w 452"/>
                  <a:gd name="T21" fmla="*/ 355 h 355"/>
                  <a:gd name="T22" fmla="*/ 306 w 452"/>
                  <a:gd name="T23" fmla="*/ 320 h 355"/>
                  <a:gd name="T24" fmla="*/ 354 w 452"/>
                  <a:gd name="T25" fmla="*/ 302 h 355"/>
                  <a:gd name="T26" fmla="*/ 365 w 452"/>
                  <a:gd name="T27" fmla="*/ 336 h 355"/>
                  <a:gd name="T28" fmla="*/ 408 w 452"/>
                  <a:gd name="T29" fmla="*/ 340 h 355"/>
                  <a:gd name="T30" fmla="*/ 413 w 452"/>
                  <a:gd name="T31" fmla="*/ 298 h 355"/>
                  <a:gd name="T32" fmla="*/ 383 w 452"/>
                  <a:gd name="T33" fmla="*/ 279 h 355"/>
                  <a:gd name="T34" fmla="*/ 400 w 452"/>
                  <a:gd name="T35" fmla="*/ 246 h 355"/>
                  <a:gd name="T36" fmla="*/ 452 w 452"/>
                  <a:gd name="T37" fmla="*/ 213 h 355"/>
                  <a:gd name="T38" fmla="*/ 9 w 452"/>
                  <a:gd name="T39" fmla="*/ 0 h 355"/>
                  <a:gd name="T40" fmla="*/ 2 w 452"/>
                  <a:gd name="T41" fmla="*/ 61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2" h="355">
                    <a:moveTo>
                      <a:pt x="2" y="61"/>
                    </a:move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17" y="227"/>
                      <a:pt x="213" y="277"/>
                      <a:pt x="275" y="355"/>
                    </a:cubicBezTo>
                    <a:cubicBezTo>
                      <a:pt x="275" y="355"/>
                      <a:pt x="275" y="355"/>
                      <a:pt x="275" y="355"/>
                    </a:cubicBezTo>
                    <a:cubicBezTo>
                      <a:pt x="275" y="355"/>
                      <a:pt x="293" y="333"/>
                      <a:pt x="306" y="320"/>
                    </a:cubicBezTo>
                    <a:cubicBezTo>
                      <a:pt x="320" y="308"/>
                      <a:pt x="349" y="295"/>
                      <a:pt x="354" y="302"/>
                    </a:cubicBezTo>
                    <a:cubicBezTo>
                      <a:pt x="359" y="309"/>
                      <a:pt x="353" y="322"/>
                      <a:pt x="365" y="336"/>
                    </a:cubicBezTo>
                    <a:cubicBezTo>
                      <a:pt x="375" y="350"/>
                      <a:pt x="397" y="349"/>
                      <a:pt x="408" y="340"/>
                    </a:cubicBezTo>
                    <a:cubicBezTo>
                      <a:pt x="420" y="331"/>
                      <a:pt x="425" y="313"/>
                      <a:pt x="413" y="298"/>
                    </a:cubicBezTo>
                    <a:cubicBezTo>
                      <a:pt x="401" y="283"/>
                      <a:pt x="390" y="288"/>
                      <a:pt x="383" y="279"/>
                    </a:cubicBezTo>
                    <a:cubicBezTo>
                      <a:pt x="376" y="270"/>
                      <a:pt x="388" y="258"/>
                      <a:pt x="400" y="246"/>
                    </a:cubicBezTo>
                    <a:cubicBezTo>
                      <a:pt x="411" y="235"/>
                      <a:pt x="429" y="226"/>
                      <a:pt x="452" y="213"/>
                    </a:cubicBezTo>
                    <a:cubicBezTo>
                      <a:pt x="348" y="83"/>
                      <a:pt x="188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4">
                <a:extLst>
                  <a:ext uri="{FF2B5EF4-FFF2-40B4-BE49-F238E27FC236}">
                    <a16:creationId xmlns:a16="http://schemas.microsoft.com/office/drawing/2014/main" id="{F701055E-6C9A-483D-9BF7-D0B5DD57AA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097088"/>
                <a:ext cx="1130300" cy="1800225"/>
              </a:xfrm>
              <a:custGeom>
                <a:avLst/>
                <a:gdLst>
                  <a:gd name="T0" fmla="*/ 105 w 301"/>
                  <a:gd name="T1" fmla="*/ 451 h 480"/>
                  <a:gd name="T2" fmla="*/ 86 w 301"/>
                  <a:gd name="T3" fmla="*/ 421 h 480"/>
                  <a:gd name="T4" fmla="*/ 109 w 301"/>
                  <a:gd name="T5" fmla="*/ 385 h 480"/>
                  <a:gd name="T6" fmla="*/ 147 w 301"/>
                  <a:gd name="T7" fmla="*/ 407 h 480"/>
                  <a:gd name="T8" fmla="*/ 141 w 301"/>
                  <a:gd name="T9" fmla="*/ 443 h 480"/>
                  <a:gd name="T10" fmla="*/ 192 w 301"/>
                  <a:gd name="T11" fmla="*/ 447 h 480"/>
                  <a:gd name="T12" fmla="*/ 235 w 301"/>
                  <a:gd name="T13" fmla="*/ 430 h 480"/>
                  <a:gd name="T14" fmla="*/ 235 w 301"/>
                  <a:gd name="T15" fmla="*/ 429 h 480"/>
                  <a:gd name="T16" fmla="*/ 227 w 301"/>
                  <a:gd name="T17" fmla="*/ 354 h 480"/>
                  <a:gd name="T18" fmla="*/ 301 w 301"/>
                  <a:gd name="T19" fmla="*/ 142 h 480"/>
                  <a:gd name="T20" fmla="*/ 301 w 301"/>
                  <a:gd name="T21" fmla="*/ 142 h 480"/>
                  <a:gd name="T22" fmla="*/ 261 w 301"/>
                  <a:gd name="T23" fmla="*/ 119 h 480"/>
                  <a:gd name="T24" fmla="*/ 232 w 301"/>
                  <a:gd name="T25" fmla="*/ 76 h 480"/>
                  <a:gd name="T26" fmla="*/ 263 w 301"/>
                  <a:gd name="T27" fmla="*/ 58 h 480"/>
                  <a:gd name="T28" fmla="*/ 257 w 301"/>
                  <a:gd name="T29" fmla="*/ 15 h 480"/>
                  <a:gd name="T30" fmla="*/ 215 w 301"/>
                  <a:gd name="T31" fmla="*/ 20 h 480"/>
                  <a:gd name="T32" fmla="*/ 203 w 301"/>
                  <a:gd name="T33" fmla="*/ 53 h 480"/>
                  <a:gd name="T34" fmla="*/ 167 w 301"/>
                  <a:gd name="T35" fmla="*/ 44 h 480"/>
                  <a:gd name="T36" fmla="*/ 124 w 301"/>
                  <a:gd name="T37" fmla="*/ 0 h 480"/>
                  <a:gd name="T38" fmla="*/ 0 w 301"/>
                  <a:gd name="T39" fmla="*/ 354 h 480"/>
                  <a:gd name="T40" fmla="*/ 14 w 301"/>
                  <a:gd name="T41" fmla="*/ 480 h 480"/>
                  <a:gd name="T42" fmla="*/ 75 w 301"/>
                  <a:gd name="T43" fmla="*/ 473 h 480"/>
                  <a:gd name="T44" fmla="*/ 105 w 301"/>
                  <a:gd name="T45" fmla="*/ 451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1" h="480">
                    <a:moveTo>
                      <a:pt x="105" y="451"/>
                    </a:moveTo>
                    <a:cubicBezTo>
                      <a:pt x="102" y="440"/>
                      <a:pt x="91" y="440"/>
                      <a:pt x="86" y="421"/>
                    </a:cubicBezTo>
                    <a:cubicBezTo>
                      <a:pt x="82" y="402"/>
                      <a:pt x="94" y="388"/>
                      <a:pt x="109" y="385"/>
                    </a:cubicBezTo>
                    <a:cubicBezTo>
                      <a:pt x="124" y="382"/>
                      <a:pt x="143" y="391"/>
                      <a:pt x="147" y="407"/>
                    </a:cubicBezTo>
                    <a:cubicBezTo>
                      <a:pt x="151" y="425"/>
                      <a:pt x="139" y="434"/>
                      <a:pt x="141" y="443"/>
                    </a:cubicBezTo>
                    <a:cubicBezTo>
                      <a:pt x="143" y="451"/>
                      <a:pt x="174" y="452"/>
                      <a:pt x="192" y="447"/>
                    </a:cubicBezTo>
                    <a:cubicBezTo>
                      <a:pt x="210" y="441"/>
                      <a:pt x="235" y="430"/>
                      <a:pt x="235" y="430"/>
                    </a:cubicBezTo>
                    <a:cubicBezTo>
                      <a:pt x="235" y="429"/>
                      <a:pt x="235" y="429"/>
                      <a:pt x="235" y="429"/>
                    </a:cubicBezTo>
                    <a:cubicBezTo>
                      <a:pt x="230" y="405"/>
                      <a:pt x="227" y="380"/>
                      <a:pt x="227" y="354"/>
                    </a:cubicBezTo>
                    <a:cubicBezTo>
                      <a:pt x="227" y="274"/>
                      <a:pt x="255" y="200"/>
                      <a:pt x="301" y="142"/>
                    </a:cubicBezTo>
                    <a:cubicBezTo>
                      <a:pt x="301" y="142"/>
                      <a:pt x="301" y="142"/>
                      <a:pt x="301" y="142"/>
                    </a:cubicBezTo>
                    <a:cubicBezTo>
                      <a:pt x="301" y="142"/>
                      <a:pt x="276" y="129"/>
                      <a:pt x="261" y="119"/>
                    </a:cubicBezTo>
                    <a:cubicBezTo>
                      <a:pt x="245" y="108"/>
                      <a:pt x="227" y="83"/>
                      <a:pt x="232" y="76"/>
                    </a:cubicBezTo>
                    <a:cubicBezTo>
                      <a:pt x="237" y="70"/>
                      <a:pt x="252" y="73"/>
                      <a:pt x="263" y="58"/>
                    </a:cubicBezTo>
                    <a:cubicBezTo>
                      <a:pt x="274" y="45"/>
                      <a:pt x="269" y="24"/>
                      <a:pt x="257" y="15"/>
                    </a:cubicBezTo>
                    <a:cubicBezTo>
                      <a:pt x="245" y="6"/>
                      <a:pt x="227" y="4"/>
                      <a:pt x="215" y="20"/>
                    </a:cubicBezTo>
                    <a:cubicBezTo>
                      <a:pt x="203" y="35"/>
                      <a:pt x="210" y="44"/>
                      <a:pt x="203" y="53"/>
                    </a:cubicBezTo>
                    <a:cubicBezTo>
                      <a:pt x="196" y="62"/>
                      <a:pt x="182" y="53"/>
                      <a:pt x="167" y="44"/>
                    </a:cubicBezTo>
                    <a:cubicBezTo>
                      <a:pt x="154" y="35"/>
                      <a:pt x="141" y="20"/>
                      <a:pt x="124" y="0"/>
                    </a:cubicBezTo>
                    <a:cubicBezTo>
                      <a:pt x="47" y="97"/>
                      <a:pt x="0" y="220"/>
                      <a:pt x="0" y="354"/>
                    </a:cubicBezTo>
                    <a:cubicBezTo>
                      <a:pt x="0" y="397"/>
                      <a:pt x="5" y="439"/>
                      <a:pt x="14" y="480"/>
                    </a:cubicBezTo>
                    <a:cubicBezTo>
                      <a:pt x="40" y="479"/>
                      <a:pt x="60" y="478"/>
                      <a:pt x="75" y="473"/>
                    </a:cubicBezTo>
                    <a:cubicBezTo>
                      <a:pt x="92" y="467"/>
                      <a:pt x="107" y="462"/>
                      <a:pt x="105" y="45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5">
                <a:extLst>
                  <a:ext uri="{FF2B5EF4-FFF2-40B4-BE49-F238E27FC236}">
                    <a16:creationId xmlns:a16="http://schemas.microsoft.com/office/drawing/2014/main" id="{57D9232D-5EAA-4D12-B0DD-175DB22106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48250" y="3709988"/>
                <a:ext cx="1600200" cy="1630363"/>
              </a:xfrm>
              <a:custGeom>
                <a:avLst/>
                <a:gdLst>
                  <a:gd name="T0" fmla="*/ 427 w 427"/>
                  <a:gd name="T1" fmla="*/ 50 h 435"/>
                  <a:gd name="T2" fmla="*/ 369 w 427"/>
                  <a:gd name="T3" fmla="*/ 30 h 435"/>
                  <a:gd name="T4" fmla="*/ 333 w 427"/>
                  <a:gd name="T5" fmla="*/ 37 h 435"/>
                  <a:gd name="T6" fmla="*/ 336 w 427"/>
                  <a:gd name="T7" fmla="*/ 72 h 435"/>
                  <a:gd name="T8" fmla="*/ 300 w 427"/>
                  <a:gd name="T9" fmla="*/ 95 h 435"/>
                  <a:gd name="T10" fmla="*/ 276 w 427"/>
                  <a:gd name="T11" fmla="*/ 58 h 435"/>
                  <a:gd name="T12" fmla="*/ 296 w 427"/>
                  <a:gd name="T13" fmla="*/ 28 h 435"/>
                  <a:gd name="T14" fmla="*/ 252 w 427"/>
                  <a:gd name="T15" fmla="*/ 3 h 435"/>
                  <a:gd name="T16" fmla="*/ 206 w 427"/>
                  <a:gd name="T17" fmla="*/ 0 h 435"/>
                  <a:gd name="T18" fmla="*/ 206 w 427"/>
                  <a:gd name="T19" fmla="*/ 0 h 435"/>
                  <a:gd name="T20" fmla="*/ 22 w 427"/>
                  <a:gd name="T21" fmla="*/ 230 h 435"/>
                  <a:gd name="T22" fmla="*/ 48 w 427"/>
                  <a:gd name="T23" fmla="*/ 268 h 435"/>
                  <a:gd name="T24" fmla="*/ 56 w 427"/>
                  <a:gd name="T25" fmla="*/ 319 h 435"/>
                  <a:gd name="T26" fmla="*/ 20 w 427"/>
                  <a:gd name="T27" fmla="*/ 322 h 435"/>
                  <a:gd name="T28" fmla="*/ 6 w 427"/>
                  <a:gd name="T29" fmla="*/ 363 h 435"/>
                  <a:gd name="T30" fmla="*/ 46 w 427"/>
                  <a:gd name="T31" fmla="*/ 378 h 435"/>
                  <a:gd name="T32" fmla="*/ 72 w 427"/>
                  <a:gd name="T33" fmla="*/ 353 h 435"/>
                  <a:gd name="T34" fmla="*/ 100 w 427"/>
                  <a:gd name="T35" fmla="*/ 377 h 435"/>
                  <a:gd name="T36" fmla="*/ 120 w 427"/>
                  <a:gd name="T37" fmla="*/ 435 h 435"/>
                  <a:gd name="T38" fmla="*/ 120 w 427"/>
                  <a:gd name="T39" fmla="*/ 435 h 435"/>
                  <a:gd name="T40" fmla="*/ 427 w 427"/>
                  <a:gd name="T41" fmla="*/ 5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435">
                    <a:moveTo>
                      <a:pt x="427" y="50"/>
                    </a:moveTo>
                    <a:cubicBezTo>
                      <a:pt x="403" y="40"/>
                      <a:pt x="385" y="31"/>
                      <a:pt x="369" y="30"/>
                    </a:cubicBezTo>
                    <a:cubicBezTo>
                      <a:pt x="352" y="28"/>
                      <a:pt x="335" y="26"/>
                      <a:pt x="333" y="37"/>
                    </a:cubicBezTo>
                    <a:cubicBezTo>
                      <a:pt x="330" y="48"/>
                      <a:pt x="341" y="53"/>
                      <a:pt x="336" y="72"/>
                    </a:cubicBezTo>
                    <a:cubicBezTo>
                      <a:pt x="332" y="91"/>
                      <a:pt x="315" y="98"/>
                      <a:pt x="300" y="95"/>
                    </a:cubicBezTo>
                    <a:cubicBezTo>
                      <a:pt x="286" y="91"/>
                      <a:pt x="272" y="75"/>
                      <a:pt x="276" y="58"/>
                    </a:cubicBezTo>
                    <a:cubicBezTo>
                      <a:pt x="280" y="40"/>
                      <a:pt x="294" y="37"/>
                      <a:pt x="296" y="28"/>
                    </a:cubicBezTo>
                    <a:cubicBezTo>
                      <a:pt x="298" y="20"/>
                      <a:pt x="271" y="5"/>
                      <a:pt x="252" y="3"/>
                    </a:cubicBezTo>
                    <a:cubicBezTo>
                      <a:pt x="234" y="0"/>
                      <a:pt x="206" y="0"/>
                      <a:pt x="206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83" y="101"/>
                      <a:pt x="114" y="186"/>
                      <a:pt x="22" y="230"/>
                    </a:cubicBezTo>
                    <a:cubicBezTo>
                      <a:pt x="22" y="231"/>
                      <a:pt x="39" y="252"/>
                      <a:pt x="48" y="268"/>
                    </a:cubicBezTo>
                    <a:cubicBezTo>
                      <a:pt x="58" y="285"/>
                      <a:pt x="63" y="315"/>
                      <a:pt x="56" y="319"/>
                    </a:cubicBezTo>
                    <a:cubicBezTo>
                      <a:pt x="48" y="323"/>
                      <a:pt x="36" y="314"/>
                      <a:pt x="20" y="322"/>
                    </a:cubicBezTo>
                    <a:cubicBezTo>
                      <a:pt x="4" y="329"/>
                      <a:pt x="0" y="350"/>
                      <a:pt x="6" y="363"/>
                    </a:cubicBezTo>
                    <a:cubicBezTo>
                      <a:pt x="13" y="377"/>
                      <a:pt x="29" y="386"/>
                      <a:pt x="46" y="378"/>
                    </a:cubicBezTo>
                    <a:cubicBezTo>
                      <a:pt x="64" y="369"/>
                      <a:pt x="62" y="358"/>
                      <a:pt x="72" y="353"/>
                    </a:cubicBezTo>
                    <a:cubicBezTo>
                      <a:pt x="82" y="348"/>
                      <a:pt x="90" y="362"/>
                      <a:pt x="100" y="377"/>
                    </a:cubicBezTo>
                    <a:cubicBezTo>
                      <a:pt x="108" y="390"/>
                      <a:pt x="113" y="410"/>
                      <a:pt x="120" y="435"/>
                    </a:cubicBezTo>
                    <a:cubicBezTo>
                      <a:pt x="120" y="435"/>
                      <a:pt x="120" y="435"/>
                      <a:pt x="120" y="435"/>
                    </a:cubicBezTo>
                    <a:cubicBezTo>
                      <a:pt x="273" y="361"/>
                      <a:pt x="388" y="220"/>
                      <a:pt x="427" y="5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6">
                <a:extLst>
                  <a:ext uri="{FF2B5EF4-FFF2-40B4-BE49-F238E27FC236}">
                    <a16:creationId xmlns:a16="http://schemas.microsoft.com/office/drawing/2014/main" id="{40E25955-AD98-4B5F-8C5E-0C6778D57D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01900" y="3529013"/>
                <a:ext cx="1522413" cy="1811338"/>
              </a:xfrm>
              <a:custGeom>
                <a:avLst/>
                <a:gdLst>
                  <a:gd name="T0" fmla="*/ 341 w 406"/>
                  <a:gd name="T1" fmla="*/ 394 h 483"/>
                  <a:gd name="T2" fmla="*/ 306 w 406"/>
                  <a:gd name="T3" fmla="*/ 389 h 483"/>
                  <a:gd name="T4" fmla="*/ 292 w 406"/>
                  <a:gd name="T5" fmla="*/ 349 h 483"/>
                  <a:gd name="T6" fmla="*/ 333 w 406"/>
                  <a:gd name="T7" fmla="*/ 334 h 483"/>
                  <a:gd name="T8" fmla="*/ 357 w 406"/>
                  <a:gd name="T9" fmla="*/ 360 h 483"/>
                  <a:gd name="T10" fmla="*/ 392 w 406"/>
                  <a:gd name="T11" fmla="*/ 323 h 483"/>
                  <a:gd name="T12" fmla="*/ 405 w 406"/>
                  <a:gd name="T13" fmla="*/ 278 h 483"/>
                  <a:gd name="T14" fmla="*/ 406 w 406"/>
                  <a:gd name="T15" fmla="*/ 278 h 483"/>
                  <a:gd name="T16" fmla="*/ 221 w 406"/>
                  <a:gd name="T17" fmla="*/ 47 h 483"/>
                  <a:gd name="T18" fmla="*/ 221 w 406"/>
                  <a:gd name="T19" fmla="*/ 48 h 483"/>
                  <a:gd name="T20" fmla="*/ 178 w 406"/>
                  <a:gd name="T21" fmla="*/ 65 h 483"/>
                  <a:gd name="T22" fmla="*/ 127 w 406"/>
                  <a:gd name="T23" fmla="*/ 61 h 483"/>
                  <a:gd name="T24" fmla="*/ 133 w 406"/>
                  <a:gd name="T25" fmla="*/ 25 h 483"/>
                  <a:gd name="T26" fmla="*/ 95 w 406"/>
                  <a:gd name="T27" fmla="*/ 3 h 483"/>
                  <a:gd name="T28" fmla="*/ 72 w 406"/>
                  <a:gd name="T29" fmla="*/ 39 h 483"/>
                  <a:gd name="T30" fmla="*/ 91 w 406"/>
                  <a:gd name="T31" fmla="*/ 69 h 483"/>
                  <a:gd name="T32" fmla="*/ 61 w 406"/>
                  <a:gd name="T33" fmla="*/ 91 h 483"/>
                  <a:gd name="T34" fmla="*/ 0 w 406"/>
                  <a:gd name="T35" fmla="*/ 98 h 483"/>
                  <a:gd name="T36" fmla="*/ 307 w 406"/>
                  <a:gd name="T37" fmla="*/ 483 h 483"/>
                  <a:gd name="T38" fmla="*/ 340 w 406"/>
                  <a:gd name="T39" fmla="*/ 431 h 483"/>
                  <a:gd name="T40" fmla="*/ 341 w 406"/>
                  <a:gd name="T41" fmla="*/ 394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6" h="483">
                    <a:moveTo>
                      <a:pt x="341" y="394"/>
                    </a:moveTo>
                    <a:cubicBezTo>
                      <a:pt x="331" y="389"/>
                      <a:pt x="323" y="398"/>
                      <a:pt x="306" y="389"/>
                    </a:cubicBezTo>
                    <a:cubicBezTo>
                      <a:pt x="288" y="381"/>
                      <a:pt x="285" y="363"/>
                      <a:pt x="292" y="349"/>
                    </a:cubicBezTo>
                    <a:cubicBezTo>
                      <a:pt x="298" y="336"/>
                      <a:pt x="317" y="326"/>
                      <a:pt x="333" y="334"/>
                    </a:cubicBezTo>
                    <a:cubicBezTo>
                      <a:pt x="349" y="342"/>
                      <a:pt x="349" y="356"/>
                      <a:pt x="357" y="360"/>
                    </a:cubicBezTo>
                    <a:cubicBezTo>
                      <a:pt x="365" y="364"/>
                      <a:pt x="385" y="340"/>
                      <a:pt x="392" y="323"/>
                    </a:cubicBezTo>
                    <a:cubicBezTo>
                      <a:pt x="399" y="305"/>
                      <a:pt x="405" y="278"/>
                      <a:pt x="405" y="278"/>
                    </a:cubicBezTo>
                    <a:cubicBezTo>
                      <a:pt x="406" y="278"/>
                      <a:pt x="406" y="278"/>
                      <a:pt x="406" y="278"/>
                    </a:cubicBezTo>
                    <a:cubicBezTo>
                      <a:pt x="314" y="234"/>
                      <a:pt x="245" y="149"/>
                      <a:pt x="221" y="47"/>
                    </a:cubicBezTo>
                    <a:cubicBezTo>
                      <a:pt x="221" y="48"/>
                      <a:pt x="221" y="48"/>
                      <a:pt x="221" y="48"/>
                    </a:cubicBezTo>
                    <a:cubicBezTo>
                      <a:pt x="221" y="48"/>
                      <a:pt x="196" y="59"/>
                      <a:pt x="178" y="65"/>
                    </a:cubicBezTo>
                    <a:cubicBezTo>
                      <a:pt x="160" y="70"/>
                      <a:pt x="129" y="69"/>
                      <a:pt x="127" y="61"/>
                    </a:cubicBezTo>
                    <a:cubicBezTo>
                      <a:pt x="125" y="52"/>
                      <a:pt x="137" y="43"/>
                      <a:pt x="133" y="25"/>
                    </a:cubicBezTo>
                    <a:cubicBezTo>
                      <a:pt x="129" y="9"/>
                      <a:pt x="110" y="0"/>
                      <a:pt x="95" y="3"/>
                    </a:cubicBezTo>
                    <a:cubicBezTo>
                      <a:pt x="80" y="6"/>
                      <a:pt x="68" y="20"/>
                      <a:pt x="72" y="39"/>
                    </a:cubicBezTo>
                    <a:cubicBezTo>
                      <a:pt x="77" y="58"/>
                      <a:pt x="88" y="58"/>
                      <a:pt x="91" y="69"/>
                    </a:cubicBezTo>
                    <a:cubicBezTo>
                      <a:pt x="93" y="80"/>
                      <a:pt x="78" y="85"/>
                      <a:pt x="61" y="91"/>
                    </a:cubicBezTo>
                    <a:cubicBezTo>
                      <a:pt x="46" y="96"/>
                      <a:pt x="26" y="97"/>
                      <a:pt x="0" y="98"/>
                    </a:cubicBezTo>
                    <a:cubicBezTo>
                      <a:pt x="39" y="268"/>
                      <a:pt x="154" y="409"/>
                      <a:pt x="307" y="483"/>
                    </a:cubicBezTo>
                    <a:cubicBezTo>
                      <a:pt x="322" y="462"/>
                      <a:pt x="335" y="446"/>
                      <a:pt x="340" y="431"/>
                    </a:cubicBezTo>
                    <a:cubicBezTo>
                      <a:pt x="345" y="414"/>
                      <a:pt x="351" y="399"/>
                      <a:pt x="341" y="394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7">
                <a:extLst>
                  <a:ext uri="{FF2B5EF4-FFF2-40B4-BE49-F238E27FC236}">
                    <a16:creationId xmlns:a16="http://schemas.microsoft.com/office/drawing/2014/main" id="{38936705-D071-4779-B328-129FB07C36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0288" y="4572000"/>
                <a:ext cx="1927225" cy="979488"/>
              </a:xfrm>
              <a:custGeom>
                <a:avLst/>
                <a:gdLst>
                  <a:gd name="T0" fmla="*/ 514 w 514"/>
                  <a:gd name="T1" fmla="*/ 205 h 261"/>
                  <a:gd name="T2" fmla="*/ 514 w 514"/>
                  <a:gd name="T3" fmla="*/ 205 h 261"/>
                  <a:gd name="T4" fmla="*/ 494 w 514"/>
                  <a:gd name="T5" fmla="*/ 147 h 261"/>
                  <a:gd name="T6" fmla="*/ 466 w 514"/>
                  <a:gd name="T7" fmla="*/ 123 h 261"/>
                  <a:gd name="T8" fmla="*/ 440 w 514"/>
                  <a:gd name="T9" fmla="*/ 148 h 261"/>
                  <a:gd name="T10" fmla="*/ 400 w 514"/>
                  <a:gd name="T11" fmla="*/ 133 h 261"/>
                  <a:gd name="T12" fmla="*/ 414 w 514"/>
                  <a:gd name="T13" fmla="*/ 92 h 261"/>
                  <a:gd name="T14" fmla="*/ 450 w 514"/>
                  <a:gd name="T15" fmla="*/ 89 h 261"/>
                  <a:gd name="T16" fmla="*/ 442 w 514"/>
                  <a:gd name="T17" fmla="*/ 38 h 261"/>
                  <a:gd name="T18" fmla="*/ 416 w 514"/>
                  <a:gd name="T19" fmla="*/ 0 h 261"/>
                  <a:gd name="T20" fmla="*/ 268 w 514"/>
                  <a:gd name="T21" fmla="*/ 34 h 261"/>
                  <a:gd name="T22" fmla="*/ 121 w 514"/>
                  <a:gd name="T23" fmla="*/ 0 h 261"/>
                  <a:gd name="T24" fmla="*/ 120 w 514"/>
                  <a:gd name="T25" fmla="*/ 0 h 261"/>
                  <a:gd name="T26" fmla="*/ 107 w 514"/>
                  <a:gd name="T27" fmla="*/ 45 h 261"/>
                  <a:gd name="T28" fmla="*/ 72 w 514"/>
                  <a:gd name="T29" fmla="*/ 82 h 261"/>
                  <a:gd name="T30" fmla="*/ 48 w 514"/>
                  <a:gd name="T31" fmla="*/ 56 h 261"/>
                  <a:gd name="T32" fmla="*/ 7 w 514"/>
                  <a:gd name="T33" fmla="*/ 71 h 261"/>
                  <a:gd name="T34" fmla="*/ 21 w 514"/>
                  <a:gd name="T35" fmla="*/ 111 h 261"/>
                  <a:gd name="T36" fmla="*/ 56 w 514"/>
                  <a:gd name="T37" fmla="*/ 116 h 261"/>
                  <a:gd name="T38" fmla="*/ 55 w 514"/>
                  <a:gd name="T39" fmla="*/ 153 h 261"/>
                  <a:gd name="T40" fmla="*/ 22 w 514"/>
                  <a:gd name="T41" fmla="*/ 205 h 261"/>
                  <a:gd name="T42" fmla="*/ 268 w 514"/>
                  <a:gd name="T43" fmla="*/ 261 h 261"/>
                  <a:gd name="T44" fmla="*/ 514 w 514"/>
                  <a:gd name="T45" fmla="*/ 205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4" h="261">
                    <a:moveTo>
                      <a:pt x="514" y="205"/>
                    </a:moveTo>
                    <a:cubicBezTo>
                      <a:pt x="514" y="205"/>
                      <a:pt x="514" y="205"/>
                      <a:pt x="514" y="205"/>
                    </a:cubicBezTo>
                    <a:cubicBezTo>
                      <a:pt x="507" y="180"/>
                      <a:pt x="502" y="160"/>
                      <a:pt x="494" y="147"/>
                    </a:cubicBezTo>
                    <a:cubicBezTo>
                      <a:pt x="484" y="132"/>
                      <a:pt x="476" y="118"/>
                      <a:pt x="466" y="123"/>
                    </a:cubicBezTo>
                    <a:cubicBezTo>
                      <a:pt x="456" y="128"/>
                      <a:pt x="458" y="139"/>
                      <a:pt x="440" y="148"/>
                    </a:cubicBezTo>
                    <a:cubicBezTo>
                      <a:pt x="423" y="156"/>
                      <a:pt x="407" y="147"/>
                      <a:pt x="400" y="133"/>
                    </a:cubicBezTo>
                    <a:cubicBezTo>
                      <a:pt x="394" y="120"/>
                      <a:pt x="398" y="99"/>
                      <a:pt x="414" y="92"/>
                    </a:cubicBezTo>
                    <a:cubicBezTo>
                      <a:pt x="430" y="84"/>
                      <a:pt x="442" y="93"/>
                      <a:pt x="450" y="89"/>
                    </a:cubicBezTo>
                    <a:cubicBezTo>
                      <a:pt x="457" y="85"/>
                      <a:pt x="452" y="55"/>
                      <a:pt x="442" y="38"/>
                    </a:cubicBezTo>
                    <a:cubicBezTo>
                      <a:pt x="433" y="22"/>
                      <a:pt x="416" y="1"/>
                      <a:pt x="416" y="0"/>
                    </a:cubicBezTo>
                    <a:cubicBezTo>
                      <a:pt x="371" y="22"/>
                      <a:pt x="321" y="34"/>
                      <a:pt x="268" y="34"/>
                    </a:cubicBezTo>
                    <a:cubicBezTo>
                      <a:pt x="215" y="34"/>
                      <a:pt x="165" y="22"/>
                      <a:pt x="121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0"/>
                      <a:pt x="114" y="27"/>
                      <a:pt x="107" y="45"/>
                    </a:cubicBezTo>
                    <a:cubicBezTo>
                      <a:pt x="100" y="62"/>
                      <a:pt x="80" y="86"/>
                      <a:pt x="72" y="82"/>
                    </a:cubicBezTo>
                    <a:cubicBezTo>
                      <a:pt x="64" y="78"/>
                      <a:pt x="64" y="64"/>
                      <a:pt x="48" y="56"/>
                    </a:cubicBezTo>
                    <a:cubicBezTo>
                      <a:pt x="32" y="48"/>
                      <a:pt x="13" y="58"/>
                      <a:pt x="7" y="71"/>
                    </a:cubicBezTo>
                    <a:cubicBezTo>
                      <a:pt x="0" y="85"/>
                      <a:pt x="3" y="103"/>
                      <a:pt x="21" y="111"/>
                    </a:cubicBezTo>
                    <a:cubicBezTo>
                      <a:pt x="38" y="120"/>
                      <a:pt x="46" y="111"/>
                      <a:pt x="56" y="116"/>
                    </a:cubicBezTo>
                    <a:cubicBezTo>
                      <a:pt x="66" y="121"/>
                      <a:pt x="60" y="136"/>
                      <a:pt x="55" y="153"/>
                    </a:cubicBezTo>
                    <a:cubicBezTo>
                      <a:pt x="50" y="168"/>
                      <a:pt x="37" y="184"/>
                      <a:pt x="22" y="205"/>
                    </a:cubicBezTo>
                    <a:cubicBezTo>
                      <a:pt x="97" y="241"/>
                      <a:pt x="180" y="261"/>
                      <a:pt x="268" y="261"/>
                    </a:cubicBezTo>
                    <a:cubicBezTo>
                      <a:pt x="356" y="261"/>
                      <a:pt x="440" y="241"/>
                      <a:pt x="514" y="205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91">
              <a:extLst>
                <a:ext uri="{FF2B5EF4-FFF2-40B4-BE49-F238E27FC236}">
                  <a16:creationId xmlns:a16="http://schemas.microsoft.com/office/drawing/2014/main" id="{64F25DB2-BC62-4882-8408-5299A6EC061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404040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grpSp>
          <p:nvGrpSpPr>
            <p:cNvPr id="5" name="Gruppieren 36">
              <a:extLst>
                <a:ext uri="{FF2B5EF4-FFF2-40B4-BE49-F238E27FC236}">
                  <a16:creationId xmlns:a16="http://schemas.microsoft.com/office/drawing/2014/main" id="{D9D56E6A-B8AB-420E-A8B3-D101F5D8D7EB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2CB539F6-4921-4780-8881-CD7A7FCAE2C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7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CFB3C54F-B02A-4A3C-92D2-23B10162DB5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F3BB981C-83EB-4758-A15D-64C10A39D73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9" name="Text Box 13" descr="PresentationLoad.com">
                <a:extLst>
                  <a:ext uri="{FF2B5EF4-FFF2-40B4-BE49-F238E27FC236}">
                    <a16:creationId xmlns:a16="http://schemas.microsoft.com/office/drawing/2014/main" id="{D0EF05BC-019B-4AC1-9ADF-07D948BC464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0" name="Gerade Verbindung 41">
                <a:extLst>
                  <a:ext uri="{FF2B5EF4-FFF2-40B4-BE49-F238E27FC236}">
                    <a16:creationId xmlns:a16="http://schemas.microsoft.com/office/drawing/2014/main" id="{B703383B-0E77-45C1-B03E-A2360F4CEB30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1" name="Gerade Verbindung 42">
                <a:extLst>
                  <a:ext uri="{FF2B5EF4-FFF2-40B4-BE49-F238E27FC236}">
                    <a16:creationId xmlns:a16="http://schemas.microsoft.com/office/drawing/2014/main" id="{BB6BA799-6A2B-4A6A-913D-F1FCAF7F120E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2" name="Text Box 13" descr="PresentationLoad.com">
                <a:extLst>
                  <a:ext uri="{FF2B5EF4-FFF2-40B4-BE49-F238E27FC236}">
                    <a16:creationId xmlns:a16="http://schemas.microsoft.com/office/drawing/2014/main" id="{AD3A88EC-2A87-44BE-8E95-0C5DB78B0B0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ctr"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ct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13" name="Text Box 13" descr="PresentationLoad.com">
                <a:extLst>
                  <a:ext uri="{FF2B5EF4-FFF2-40B4-BE49-F238E27FC236}">
                    <a16:creationId xmlns:a16="http://schemas.microsoft.com/office/drawing/2014/main" id="{64F0759A-497F-4285-870A-93EC1A94CF0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4" name="Gerade Verbindung 45">
                <a:extLst>
                  <a:ext uri="{FF2B5EF4-FFF2-40B4-BE49-F238E27FC236}">
                    <a16:creationId xmlns:a16="http://schemas.microsoft.com/office/drawing/2014/main" id="{88E1F125-CDED-406F-8651-12E1F0B8DF16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5" name="Text Box 13" descr="PresentationLoad.com">
                <a:extLst>
                  <a:ext uri="{FF2B5EF4-FFF2-40B4-BE49-F238E27FC236}">
                    <a16:creationId xmlns:a16="http://schemas.microsoft.com/office/drawing/2014/main" id="{91C6FB73-7E6C-49E5-8910-C9366CE6057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6" name="Gerade Verbindung 47" descr="PresentationLoad.com">
                <a:extLst>
                  <a:ext uri="{FF2B5EF4-FFF2-40B4-BE49-F238E27FC236}">
                    <a16:creationId xmlns:a16="http://schemas.microsoft.com/office/drawing/2014/main" id="{F2E7868E-58D5-43A6-BDE4-5D3EA4E1F3B8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</p:grpSp>
      </p:grpSp>
    </p:spTree>
    <p:extLst>
      <p:ext uri="{BB962C8B-B14F-4D97-AF65-F5344CB8AC3E}">
        <p14:creationId xmlns:p14="http://schemas.microsoft.com/office/powerpoint/2010/main" val="4415539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1">
            <a:extLst>
              <a:ext uri="{FF2B5EF4-FFF2-40B4-BE49-F238E27FC236}">
                <a16:creationId xmlns:a16="http://schemas.microsoft.com/office/drawing/2014/main" id="{A1B9C93D-964D-4B8D-A2DB-6FCB47438111}"/>
              </a:ext>
            </a:extLst>
          </p:cNvPr>
          <p:cNvGrpSpPr/>
          <p:nvPr/>
        </p:nvGrpSpPr>
        <p:grpSpPr>
          <a:xfrm>
            <a:off x="517827" y="860982"/>
            <a:ext cx="11142851" cy="5677556"/>
            <a:chOff x="517827" y="860982"/>
            <a:chExt cx="11142851" cy="5677556"/>
          </a:xfrm>
        </p:grpSpPr>
        <p:grpSp>
          <p:nvGrpSpPr>
            <p:cNvPr id="3" name="Gruppieren 100">
              <a:extLst>
                <a:ext uri="{FF2B5EF4-FFF2-40B4-BE49-F238E27FC236}">
                  <a16:creationId xmlns:a16="http://schemas.microsoft.com/office/drawing/2014/main" id="{0427CC35-BAD3-4CF1-802B-B746C5E0C60D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799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22">
                <a:extLst>
                  <a:ext uri="{FF2B5EF4-FFF2-40B4-BE49-F238E27FC236}">
                    <a16:creationId xmlns:a16="http://schemas.microsoft.com/office/drawing/2014/main" id="{0A6E175C-2C8F-4B56-88F5-7AD13FA15E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08475" y="4324350"/>
                <a:ext cx="1770063" cy="1227138"/>
              </a:xfrm>
              <a:custGeom>
                <a:avLst/>
                <a:gdLst>
                  <a:gd name="T0" fmla="*/ 434 w 472"/>
                  <a:gd name="T1" fmla="*/ 113 h 327"/>
                  <a:gd name="T2" fmla="*/ 399 w 472"/>
                  <a:gd name="T3" fmla="*/ 99 h 327"/>
                  <a:gd name="T4" fmla="*/ 384 w 472"/>
                  <a:gd name="T5" fmla="*/ 131 h 327"/>
                  <a:gd name="T6" fmla="*/ 341 w 472"/>
                  <a:gd name="T7" fmla="*/ 131 h 327"/>
                  <a:gd name="T8" fmla="*/ 340 w 472"/>
                  <a:gd name="T9" fmla="*/ 88 h 327"/>
                  <a:gd name="T10" fmla="*/ 373 w 472"/>
                  <a:gd name="T11" fmla="*/ 73 h 327"/>
                  <a:gd name="T12" fmla="*/ 349 w 472"/>
                  <a:gd name="T13" fmla="*/ 28 h 327"/>
                  <a:gd name="T14" fmla="*/ 312 w 472"/>
                  <a:gd name="T15" fmla="*/ 0 h 327"/>
                  <a:gd name="T16" fmla="*/ 312 w 472"/>
                  <a:gd name="T17" fmla="*/ 0 h 327"/>
                  <a:gd name="T18" fmla="*/ 71 w 472"/>
                  <a:gd name="T19" fmla="*/ 100 h 327"/>
                  <a:gd name="T20" fmla="*/ 71 w 472"/>
                  <a:gd name="T21" fmla="*/ 100 h 327"/>
                  <a:gd name="T22" fmla="*/ 71 w 472"/>
                  <a:gd name="T23" fmla="*/ 100 h 327"/>
                  <a:gd name="T24" fmla="*/ 78 w 472"/>
                  <a:gd name="T25" fmla="*/ 146 h 327"/>
                  <a:gd name="T26" fmla="*/ 63 w 472"/>
                  <a:gd name="T27" fmla="*/ 195 h 327"/>
                  <a:gd name="T28" fmla="*/ 29 w 472"/>
                  <a:gd name="T29" fmla="*/ 182 h 327"/>
                  <a:gd name="T30" fmla="*/ 0 w 472"/>
                  <a:gd name="T31" fmla="*/ 213 h 327"/>
                  <a:gd name="T32" fmla="*/ 29 w 472"/>
                  <a:gd name="T33" fmla="*/ 243 h 327"/>
                  <a:gd name="T34" fmla="*/ 63 w 472"/>
                  <a:gd name="T35" fmla="*/ 232 h 327"/>
                  <a:gd name="T36" fmla="*/ 78 w 472"/>
                  <a:gd name="T37" fmla="*/ 266 h 327"/>
                  <a:gd name="T38" fmla="*/ 71 w 472"/>
                  <a:gd name="T39" fmla="*/ 327 h 327"/>
                  <a:gd name="T40" fmla="*/ 71 w 472"/>
                  <a:gd name="T41" fmla="*/ 327 h 327"/>
                  <a:gd name="T42" fmla="*/ 71 w 472"/>
                  <a:gd name="T43" fmla="*/ 327 h 327"/>
                  <a:gd name="T44" fmla="*/ 472 w 472"/>
                  <a:gd name="T45" fmla="*/ 161 h 327"/>
                  <a:gd name="T46" fmla="*/ 472 w 472"/>
                  <a:gd name="T47" fmla="*/ 161 h 327"/>
                  <a:gd name="T48" fmla="*/ 434 w 472"/>
                  <a:gd name="T49" fmla="*/ 113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2" h="327">
                    <a:moveTo>
                      <a:pt x="434" y="113"/>
                    </a:moveTo>
                    <a:cubicBezTo>
                      <a:pt x="420" y="102"/>
                      <a:pt x="407" y="91"/>
                      <a:pt x="399" y="99"/>
                    </a:cubicBezTo>
                    <a:cubicBezTo>
                      <a:pt x="391" y="108"/>
                      <a:pt x="397" y="117"/>
                      <a:pt x="384" y="131"/>
                    </a:cubicBezTo>
                    <a:cubicBezTo>
                      <a:pt x="370" y="145"/>
                      <a:pt x="352" y="142"/>
                      <a:pt x="341" y="131"/>
                    </a:cubicBezTo>
                    <a:cubicBezTo>
                      <a:pt x="331" y="121"/>
                      <a:pt x="328" y="99"/>
                      <a:pt x="340" y="88"/>
                    </a:cubicBezTo>
                    <a:cubicBezTo>
                      <a:pt x="353" y="74"/>
                      <a:pt x="367" y="79"/>
                      <a:pt x="373" y="73"/>
                    </a:cubicBezTo>
                    <a:cubicBezTo>
                      <a:pt x="379" y="67"/>
                      <a:pt x="363" y="40"/>
                      <a:pt x="349" y="28"/>
                    </a:cubicBezTo>
                    <a:cubicBezTo>
                      <a:pt x="335" y="15"/>
                      <a:pt x="312" y="0"/>
                      <a:pt x="312" y="0"/>
                    </a:cubicBezTo>
                    <a:cubicBezTo>
                      <a:pt x="312" y="0"/>
                      <a:pt x="312" y="0"/>
                      <a:pt x="312" y="0"/>
                    </a:cubicBezTo>
                    <a:cubicBezTo>
                      <a:pt x="250" y="62"/>
                      <a:pt x="165" y="100"/>
                      <a:pt x="71" y="100"/>
                    </a:cubicBezTo>
                    <a:cubicBezTo>
                      <a:pt x="71" y="100"/>
                      <a:pt x="71" y="100"/>
                      <a:pt x="71" y="100"/>
                    </a:cubicBezTo>
                    <a:cubicBezTo>
                      <a:pt x="71" y="100"/>
                      <a:pt x="71" y="100"/>
                      <a:pt x="71" y="100"/>
                    </a:cubicBezTo>
                    <a:cubicBezTo>
                      <a:pt x="71" y="100"/>
                      <a:pt x="77" y="127"/>
                      <a:pt x="78" y="146"/>
                    </a:cubicBezTo>
                    <a:cubicBezTo>
                      <a:pt x="80" y="165"/>
                      <a:pt x="72" y="195"/>
                      <a:pt x="63" y="195"/>
                    </a:cubicBezTo>
                    <a:cubicBezTo>
                      <a:pt x="55" y="195"/>
                      <a:pt x="48" y="182"/>
                      <a:pt x="29" y="182"/>
                    </a:cubicBezTo>
                    <a:cubicBezTo>
                      <a:pt x="13" y="182"/>
                      <a:pt x="0" y="198"/>
                      <a:pt x="0" y="213"/>
                    </a:cubicBezTo>
                    <a:cubicBezTo>
                      <a:pt x="0" y="228"/>
                      <a:pt x="10" y="243"/>
                      <a:pt x="29" y="243"/>
                    </a:cubicBezTo>
                    <a:cubicBezTo>
                      <a:pt x="49" y="243"/>
                      <a:pt x="52" y="232"/>
                      <a:pt x="63" y="232"/>
                    </a:cubicBezTo>
                    <a:cubicBezTo>
                      <a:pt x="74" y="232"/>
                      <a:pt x="76" y="249"/>
                      <a:pt x="78" y="266"/>
                    </a:cubicBezTo>
                    <a:cubicBezTo>
                      <a:pt x="80" y="281"/>
                      <a:pt x="76" y="301"/>
                      <a:pt x="71" y="327"/>
                    </a:cubicBezTo>
                    <a:cubicBezTo>
                      <a:pt x="71" y="327"/>
                      <a:pt x="71" y="327"/>
                      <a:pt x="71" y="327"/>
                    </a:cubicBezTo>
                    <a:cubicBezTo>
                      <a:pt x="71" y="327"/>
                      <a:pt x="71" y="327"/>
                      <a:pt x="71" y="327"/>
                    </a:cubicBezTo>
                    <a:cubicBezTo>
                      <a:pt x="228" y="327"/>
                      <a:pt x="369" y="263"/>
                      <a:pt x="472" y="161"/>
                    </a:cubicBezTo>
                    <a:cubicBezTo>
                      <a:pt x="472" y="161"/>
                      <a:pt x="472" y="161"/>
                      <a:pt x="472" y="161"/>
                    </a:cubicBezTo>
                    <a:cubicBezTo>
                      <a:pt x="457" y="139"/>
                      <a:pt x="446" y="123"/>
                      <a:pt x="434" y="113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23">
                <a:extLst>
                  <a:ext uri="{FF2B5EF4-FFF2-40B4-BE49-F238E27FC236}">
                    <a16:creationId xmlns:a16="http://schemas.microsoft.com/office/drawing/2014/main" id="{3FD65835-F8CD-4C92-812C-395F8B1350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3154363"/>
                <a:ext cx="1227138" cy="1773238"/>
              </a:xfrm>
              <a:custGeom>
                <a:avLst/>
                <a:gdLst>
                  <a:gd name="T0" fmla="*/ 214 w 327"/>
                  <a:gd name="T1" fmla="*/ 434 h 473"/>
                  <a:gd name="T2" fmla="*/ 227 w 327"/>
                  <a:gd name="T3" fmla="*/ 400 h 473"/>
                  <a:gd name="T4" fmla="*/ 196 w 327"/>
                  <a:gd name="T5" fmla="*/ 384 h 473"/>
                  <a:gd name="T6" fmla="*/ 196 w 327"/>
                  <a:gd name="T7" fmla="*/ 342 h 473"/>
                  <a:gd name="T8" fmla="*/ 239 w 327"/>
                  <a:gd name="T9" fmla="*/ 341 h 473"/>
                  <a:gd name="T10" fmla="*/ 254 w 327"/>
                  <a:gd name="T11" fmla="*/ 374 h 473"/>
                  <a:gd name="T12" fmla="*/ 299 w 327"/>
                  <a:gd name="T13" fmla="*/ 350 h 473"/>
                  <a:gd name="T14" fmla="*/ 327 w 327"/>
                  <a:gd name="T15" fmla="*/ 312 h 473"/>
                  <a:gd name="T16" fmla="*/ 327 w 327"/>
                  <a:gd name="T17" fmla="*/ 312 h 473"/>
                  <a:gd name="T18" fmla="*/ 227 w 327"/>
                  <a:gd name="T19" fmla="*/ 72 h 473"/>
                  <a:gd name="T20" fmla="*/ 227 w 327"/>
                  <a:gd name="T21" fmla="*/ 72 h 473"/>
                  <a:gd name="T22" fmla="*/ 227 w 327"/>
                  <a:gd name="T23" fmla="*/ 72 h 473"/>
                  <a:gd name="T24" fmla="*/ 181 w 327"/>
                  <a:gd name="T25" fmla="*/ 79 h 473"/>
                  <a:gd name="T26" fmla="*/ 132 w 327"/>
                  <a:gd name="T27" fmla="*/ 64 h 473"/>
                  <a:gd name="T28" fmla="*/ 145 w 327"/>
                  <a:gd name="T29" fmla="*/ 30 h 473"/>
                  <a:gd name="T30" fmla="*/ 114 w 327"/>
                  <a:gd name="T31" fmla="*/ 0 h 473"/>
                  <a:gd name="T32" fmla="*/ 84 w 327"/>
                  <a:gd name="T33" fmla="*/ 30 h 473"/>
                  <a:gd name="T34" fmla="*/ 95 w 327"/>
                  <a:gd name="T35" fmla="*/ 64 h 473"/>
                  <a:gd name="T36" fmla="*/ 61 w 327"/>
                  <a:gd name="T37" fmla="*/ 79 h 473"/>
                  <a:gd name="T38" fmla="*/ 0 w 327"/>
                  <a:gd name="T39" fmla="*/ 72 h 473"/>
                  <a:gd name="T40" fmla="*/ 0 w 327"/>
                  <a:gd name="T41" fmla="*/ 72 h 473"/>
                  <a:gd name="T42" fmla="*/ 0 w 327"/>
                  <a:gd name="T43" fmla="*/ 72 h 473"/>
                  <a:gd name="T44" fmla="*/ 166 w 327"/>
                  <a:gd name="T45" fmla="*/ 473 h 473"/>
                  <a:gd name="T46" fmla="*/ 166 w 327"/>
                  <a:gd name="T47" fmla="*/ 473 h 473"/>
                  <a:gd name="T48" fmla="*/ 214 w 327"/>
                  <a:gd name="T49" fmla="*/ 43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7" h="473">
                    <a:moveTo>
                      <a:pt x="214" y="434"/>
                    </a:moveTo>
                    <a:cubicBezTo>
                      <a:pt x="225" y="421"/>
                      <a:pt x="236" y="408"/>
                      <a:pt x="227" y="400"/>
                    </a:cubicBezTo>
                    <a:cubicBezTo>
                      <a:pt x="219" y="392"/>
                      <a:pt x="210" y="398"/>
                      <a:pt x="196" y="384"/>
                    </a:cubicBezTo>
                    <a:cubicBezTo>
                      <a:pt x="182" y="370"/>
                      <a:pt x="185" y="353"/>
                      <a:pt x="196" y="342"/>
                    </a:cubicBezTo>
                    <a:cubicBezTo>
                      <a:pt x="206" y="331"/>
                      <a:pt x="228" y="329"/>
                      <a:pt x="239" y="341"/>
                    </a:cubicBezTo>
                    <a:cubicBezTo>
                      <a:pt x="253" y="354"/>
                      <a:pt x="248" y="368"/>
                      <a:pt x="254" y="374"/>
                    </a:cubicBezTo>
                    <a:cubicBezTo>
                      <a:pt x="260" y="380"/>
                      <a:pt x="287" y="364"/>
                      <a:pt x="299" y="350"/>
                    </a:cubicBezTo>
                    <a:cubicBezTo>
                      <a:pt x="312" y="336"/>
                      <a:pt x="327" y="312"/>
                      <a:pt x="327" y="312"/>
                    </a:cubicBezTo>
                    <a:cubicBezTo>
                      <a:pt x="327" y="312"/>
                      <a:pt x="327" y="312"/>
                      <a:pt x="327" y="312"/>
                    </a:cubicBezTo>
                    <a:cubicBezTo>
                      <a:pt x="265" y="251"/>
                      <a:pt x="227" y="166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00" y="78"/>
                      <a:pt x="181" y="79"/>
                    </a:cubicBezTo>
                    <a:cubicBezTo>
                      <a:pt x="162" y="81"/>
                      <a:pt x="132" y="72"/>
                      <a:pt x="132" y="64"/>
                    </a:cubicBezTo>
                    <a:cubicBezTo>
                      <a:pt x="132" y="55"/>
                      <a:pt x="145" y="49"/>
                      <a:pt x="145" y="30"/>
                    </a:cubicBezTo>
                    <a:cubicBezTo>
                      <a:pt x="145" y="13"/>
                      <a:pt x="129" y="0"/>
                      <a:pt x="114" y="0"/>
                    </a:cubicBezTo>
                    <a:cubicBezTo>
                      <a:pt x="99" y="0"/>
                      <a:pt x="84" y="11"/>
                      <a:pt x="84" y="30"/>
                    </a:cubicBezTo>
                    <a:cubicBezTo>
                      <a:pt x="84" y="50"/>
                      <a:pt x="95" y="52"/>
                      <a:pt x="95" y="64"/>
                    </a:cubicBezTo>
                    <a:cubicBezTo>
                      <a:pt x="95" y="75"/>
                      <a:pt x="78" y="77"/>
                      <a:pt x="61" y="79"/>
                    </a:cubicBezTo>
                    <a:cubicBezTo>
                      <a:pt x="45" y="81"/>
                      <a:pt x="26" y="77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228"/>
                      <a:pt x="64" y="370"/>
                      <a:pt x="166" y="473"/>
                    </a:cubicBezTo>
                    <a:cubicBezTo>
                      <a:pt x="166" y="473"/>
                      <a:pt x="166" y="473"/>
                      <a:pt x="166" y="473"/>
                    </a:cubicBezTo>
                    <a:cubicBezTo>
                      <a:pt x="188" y="458"/>
                      <a:pt x="204" y="447"/>
                      <a:pt x="214" y="434"/>
                    </a:cubicBezTo>
                    <a:close/>
                  </a:path>
                </a:pathLst>
              </a:custGeom>
              <a:solidFill>
                <a:srgbClr val="595959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4">
                <a:extLst>
                  <a:ext uri="{FF2B5EF4-FFF2-40B4-BE49-F238E27FC236}">
                    <a16:creationId xmlns:a16="http://schemas.microsoft.com/office/drawing/2014/main" id="{60BEE335-BC1E-4FC6-A840-0F64936A39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1813" y="1298575"/>
                <a:ext cx="1773238" cy="1222375"/>
              </a:xfrm>
              <a:custGeom>
                <a:avLst/>
                <a:gdLst>
                  <a:gd name="T0" fmla="*/ 39 w 473"/>
                  <a:gd name="T1" fmla="*/ 214 h 326"/>
                  <a:gd name="T2" fmla="*/ 73 w 473"/>
                  <a:gd name="T3" fmla="*/ 227 h 326"/>
                  <a:gd name="T4" fmla="*/ 89 w 473"/>
                  <a:gd name="T5" fmla="*/ 195 h 326"/>
                  <a:gd name="T6" fmla="*/ 131 w 473"/>
                  <a:gd name="T7" fmla="*/ 196 h 326"/>
                  <a:gd name="T8" fmla="*/ 132 w 473"/>
                  <a:gd name="T9" fmla="*/ 239 h 326"/>
                  <a:gd name="T10" fmla="*/ 99 w 473"/>
                  <a:gd name="T11" fmla="*/ 254 h 326"/>
                  <a:gd name="T12" fmla="*/ 123 w 473"/>
                  <a:gd name="T13" fmla="*/ 299 h 326"/>
                  <a:gd name="T14" fmla="*/ 161 w 473"/>
                  <a:gd name="T15" fmla="*/ 326 h 326"/>
                  <a:gd name="T16" fmla="*/ 161 w 473"/>
                  <a:gd name="T17" fmla="*/ 326 h 326"/>
                  <a:gd name="T18" fmla="*/ 401 w 473"/>
                  <a:gd name="T19" fmla="*/ 227 h 326"/>
                  <a:gd name="T20" fmla="*/ 401 w 473"/>
                  <a:gd name="T21" fmla="*/ 227 h 326"/>
                  <a:gd name="T22" fmla="*/ 401 w 473"/>
                  <a:gd name="T23" fmla="*/ 227 h 326"/>
                  <a:gd name="T24" fmla="*/ 394 w 473"/>
                  <a:gd name="T25" fmla="*/ 181 h 326"/>
                  <a:gd name="T26" fmla="*/ 409 w 473"/>
                  <a:gd name="T27" fmla="*/ 132 h 326"/>
                  <a:gd name="T28" fmla="*/ 443 w 473"/>
                  <a:gd name="T29" fmla="*/ 145 h 326"/>
                  <a:gd name="T30" fmla="*/ 473 w 473"/>
                  <a:gd name="T31" fmla="*/ 113 h 326"/>
                  <a:gd name="T32" fmla="*/ 443 w 473"/>
                  <a:gd name="T33" fmla="*/ 83 h 326"/>
                  <a:gd name="T34" fmla="*/ 409 w 473"/>
                  <a:gd name="T35" fmla="*/ 95 h 326"/>
                  <a:gd name="T36" fmla="*/ 394 w 473"/>
                  <a:gd name="T37" fmla="*/ 61 h 326"/>
                  <a:gd name="T38" fmla="*/ 401 w 473"/>
                  <a:gd name="T39" fmla="*/ 0 h 326"/>
                  <a:gd name="T40" fmla="*/ 0 w 473"/>
                  <a:gd name="T41" fmla="*/ 166 h 326"/>
                  <a:gd name="T42" fmla="*/ 0 w 473"/>
                  <a:gd name="T43" fmla="*/ 166 h 326"/>
                  <a:gd name="T44" fmla="*/ 39 w 473"/>
                  <a:gd name="T45" fmla="*/ 21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3" h="326">
                    <a:moveTo>
                      <a:pt x="39" y="214"/>
                    </a:moveTo>
                    <a:cubicBezTo>
                      <a:pt x="52" y="225"/>
                      <a:pt x="65" y="235"/>
                      <a:pt x="73" y="227"/>
                    </a:cubicBezTo>
                    <a:cubicBezTo>
                      <a:pt x="81" y="219"/>
                      <a:pt x="75" y="209"/>
                      <a:pt x="89" y="195"/>
                    </a:cubicBezTo>
                    <a:cubicBezTo>
                      <a:pt x="103" y="182"/>
                      <a:pt x="120" y="185"/>
                      <a:pt x="131" y="196"/>
                    </a:cubicBezTo>
                    <a:cubicBezTo>
                      <a:pt x="142" y="206"/>
                      <a:pt x="144" y="227"/>
                      <a:pt x="132" y="239"/>
                    </a:cubicBezTo>
                    <a:cubicBezTo>
                      <a:pt x="119" y="252"/>
                      <a:pt x="105" y="248"/>
                      <a:pt x="99" y="254"/>
                    </a:cubicBezTo>
                    <a:cubicBezTo>
                      <a:pt x="93" y="260"/>
                      <a:pt x="109" y="287"/>
                      <a:pt x="123" y="299"/>
                    </a:cubicBezTo>
                    <a:cubicBezTo>
                      <a:pt x="137" y="311"/>
                      <a:pt x="161" y="326"/>
                      <a:pt x="161" y="326"/>
                    </a:cubicBezTo>
                    <a:cubicBezTo>
                      <a:pt x="161" y="326"/>
                      <a:pt x="161" y="326"/>
                      <a:pt x="161" y="326"/>
                    </a:cubicBezTo>
                    <a:cubicBezTo>
                      <a:pt x="222" y="265"/>
                      <a:pt x="307" y="227"/>
                      <a:pt x="401" y="227"/>
                    </a:cubicBezTo>
                    <a:cubicBezTo>
                      <a:pt x="401" y="227"/>
                      <a:pt x="401" y="227"/>
                      <a:pt x="401" y="227"/>
                    </a:cubicBezTo>
                    <a:cubicBezTo>
                      <a:pt x="401" y="227"/>
                      <a:pt x="401" y="227"/>
                      <a:pt x="401" y="227"/>
                    </a:cubicBezTo>
                    <a:cubicBezTo>
                      <a:pt x="401" y="227"/>
                      <a:pt x="395" y="199"/>
                      <a:pt x="394" y="181"/>
                    </a:cubicBezTo>
                    <a:cubicBezTo>
                      <a:pt x="392" y="162"/>
                      <a:pt x="401" y="132"/>
                      <a:pt x="409" y="132"/>
                    </a:cubicBezTo>
                    <a:cubicBezTo>
                      <a:pt x="418" y="132"/>
                      <a:pt x="424" y="145"/>
                      <a:pt x="443" y="145"/>
                    </a:cubicBezTo>
                    <a:cubicBezTo>
                      <a:pt x="460" y="145"/>
                      <a:pt x="473" y="128"/>
                      <a:pt x="473" y="113"/>
                    </a:cubicBezTo>
                    <a:cubicBezTo>
                      <a:pt x="473" y="98"/>
                      <a:pt x="462" y="83"/>
                      <a:pt x="443" y="83"/>
                    </a:cubicBezTo>
                    <a:cubicBezTo>
                      <a:pt x="423" y="83"/>
                      <a:pt x="421" y="95"/>
                      <a:pt x="409" y="95"/>
                    </a:cubicBezTo>
                    <a:cubicBezTo>
                      <a:pt x="398" y="95"/>
                      <a:pt x="396" y="78"/>
                      <a:pt x="394" y="61"/>
                    </a:cubicBezTo>
                    <a:cubicBezTo>
                      <a:pt x="392" y="45"/>
                      <a:pt x="396" y="25"/>
                      <a:pt x="401" y="0"/>
                    </a:cubicBezTo>
                    <a:cubicBezTo>
                      <a:pt x="245" y="0"/>
                      <a:pt x="103" y="63"/>
                      <a:pt x="0" y="16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15" y="187"/>
                      <a:pt x="26" y="204"/>
                      <a:pt x="39" y="21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5">
                <a:extLst>
                  <a:ext uri="{FF2B5EF4-FFF2-40B4-BE49-F238E27FC236}">
                    <a16:creationId xmlns:a16="http://schemas.microsoft.com/office/drawing/2014/main" id="{2E79BD9D-2FBA-47D4-A398-20FD8A5878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8463" y="1920875"/>
                <a:ext cx="1222375" cy="1770063"/>
              </a:xfrm>
              <a:custGeom>
                <a:avLst/>
                <a:gdLst>
                  <a:gd name="T0" fmla="*/ 112 w 326"/>
                  <a:gd name="T1" fmla="*/ 38 h 472"/>
                  <a:gd name="T2" fmla="*/ 99 w 326"/>
                  <a:gd name="T3" fmla="*/ 73 h 472"/>
                  <a:gd name="T4" fmla="*/ 130 w 326"/>
                  <a:gd name="T5" fmla="*/ 88 h 472"/>
                  <a:gd name="T6" fmla="*/ 130 w 326"/>
                  <a:gd name="T7" fmla="*/ 131 h 472"/>
                  <a:gd name="T8" fmla="*/ 87 w 326"/>
                  <a:gd name="T9" fmla="*/ 132 h 472"/>
                  <a:gd name="T10" fmla="*/ 72 w 326"/>
                  <a:gd name="T11" fmla="*/ 99 h 472"/>
                  <a:gd name="T12" fmla="*/ 27 w 326"/>
                  <a:gd name="T13" fmla="*/ 123 h 472"/>
                  <a:gd name="T14" fmla="*/ 0 w 326"/>
                  <a:gd name="T15" fmla="*/ 160 h 472"/>
                  <a:gd name="T16" fmla="*/ 0 w 326"/>
                  <a:gd name="T17" fmla="*/ 160 h 472"/>
                  <a:gd name="T18" fmla="*/ 99 w 326"/>
                  <a:gd name="T19" fmla="*/ 401 h 472"/>
                  <a:gd name="T20" fmla="*/ 99 w 326"/>
                  <a:gd name="T21" fmla="*/ 401 h 472"/>
                  <a:gd name="T22" fmla="*/ 145 w 326"/>
                  <a:gd name="T23" fmla="*/ 393 h 472"/>
                  <a:gd name="T24" fmla="*/ 194 w 326"/>
                  <a:gd name="T25" fmla="*/ 409 h 472"/>
                  <a:gd name="T26" fmla="*/ 181 w 326"/>
                  <a:gd name="T27" fmla="*/ 443 h 472"/>
                  <a:gd name="T28" fmla="*/ 213 w 326"/>
                  <a:gd name="T29" fmla="*/ 472 h 472"/>
                  <a:gd name="T30" fmla="*/ 243 w 326"/>
                  <a:gd name="T31" fmla="*/ 443 h 472"/>
                  <a:gd name="T32" fmla="*/ 231 w 326"/>
                  <a:gd name="T33" fmla="*/ 409 h 472"/>
                  <a:gd name="T34" fmla="*/ 265 w 326"/>
                  <a:gd name="T35" fmla="*/ 394 h 472"/>
                  <a:gd name="T36" fmla="*/ 326 w 326"/>
                  <a:gd name="T37" fmla="*/ 401 h 472"/>
                  <a:gd name="T38" fmla="*/ 326 w 326"/>
                  <a:gd name="T39" fmla="*/ 401 h 472"/>
                  <a:gd name="T40" fmla="*/ 160 w 326"/>
                  <a:gd name="T41" fmla="*/ 0 h 472"/>
                  <a:gd name="T42" fmla="*/ 160 w 326"/>
                  <a:gd name="T43" fmla="*/ 0 h 472"/>
                  <a:gd name="T44" fmla="*/ 112 w 326"/>
                  <a:gd name="T45" fmla="*/ 38 h 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6" h="472">
                    <a:moveTo>
                      <a:pt x="112" y="38"/>
                    </a:moveTo>
                    <a:cubicBezTo>
                      <a:pt x="101" y="52"/>
                      <a:pt x="91" y="65"/>
                      <a:pt x="99" y="73"/>
                    </a:cubicBezTo>
                    <a:cubicBezTo>
                      <a:pt x="107" y="81"/>
                      <a:pt x="117" y="75"/>
                      <a:pt x="130" y="88"/>
                    </a:cubicBezTo>
                    <a:cubicBezTo>
                      <a:pt x="144" y="102"/>
                      <a:pt x="141" y="120"/>
                      <a:pt x="130" y="131"/>
                    </a:cubicBezTo>
                    <a:cubicBezTo>
                      <a:pt x="120" y="141"/>
                      <a:pt x="99" y="144"/>
                      <a:pt x="87" y="132"/>
                    </a:cubicBezTo>
                    <a:cubicBezTo>
                      <a:pt x="74" y="119"/>
                      <a:pt x="78" y="105"/>
                      <a:pt x="72" y="99"/>
                    </a:cubicBezTo>
                    <a:cubicBezTo>
                      <a:pt x="66" y="93"/>
                      <a:pt x="39" y="108"/>
                      <a:pt x="27" y="123"/>
                    </a:cubicBezTo>
                    <a:cubicBezTo>
                      <a:pt x="15" y="137"/>
                      <a:pt x="0" y="160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61" y="222"/>
                      <a:pt x="99" y="307"/>
                      <a:pt x="99" y="401"/>
                    </a:cubicBezTo>
                    <a:cubicBezTo>
                      <a:pt x="99" y="401"/>
                      <a:pt x="99" y="401"/>
                      <a:pt x="99" y="401"/>
                    </a:cubicBezTo>
                    <a:cubicBezTo>
                      <a:pt x="99" y="401"/>
                      <a:pt x="126" y="395"/>
                      <a:pt x="145" y="393"/>
                    </a:cubicBezTo>
                    <a:cubicBezTo>
                      <a:pt x="164" y="392"/>
                      <a:pt x="194" y="400"/>
                      <a:pt x="194" y="409"/>
                    </a:cubicBezTo>
                    <a:cubicBezTo>
                      <a:pt x="194" y="417"/>
                      <a:pt x="181" y="424"/>
                      <a:pt x="181" y="443"/>
                    </a:cubicBezTo>
                    <a:cubicBezTo>
                      <a:pt x="181" y="459"/>
                      <a:pt x="198" y="472"/>
                      <a:pt x="213" y="472"/>
                    </a:cubicBezTo>
                    <a:cubicBezTo>
                      <a:pt x="228" y="472"/>
                      <a:pt x="243" y="462"/>
                      <a:pt x="243" y="443"/>
                    </a:cubicBezTo>
                    <a:cubicBezTo>
                      <a:pt x="243" y="423"/>
                      <a:pt x="231" y="420"/>
                      <a:pt x="231" y="409"/>
                    </a:cubicBezTo>
                    <a:cubicBezTo>
                      <a:pt x="231" y="397"/>
                      <a:pt x="248" y="396"/>
                      <a:pt x="265" y="394"/>
                    </a:cubicBezTo>
                    <a:cubicBezTo>
                      <a:pt x="281" y="392"/>
                      <a:pt x="301" y="396"/>
                      <a:pt x="326" y="401"/>
                    </a:cubicBezTo>
                    <a:cubicBezTo>
                      <a:pt x="326" y="401"/>
                      <a:pt x="326" y="401"/>
                      <a:pt x="326" y="401"/>
                    </a:cubicBezTo>
                    <a:cubicBezTo>
                      <a:pt x="326" y="244"/>
                      <a:pt x="263" y="103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39" y="15"/>
                      <a:pt x="122" y="26"/>
                      <a:pt x="112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291E49FF-3D85-4498-90F1-02CC93C1F7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1920875"/>
                <a:ext cx="1227138" cy="1536700"/>
              </a:xfrm>
              <a:custGeom>
                <a:avLst/>
                <a:gdLst>
                  <a:gd name="T0" fmla="*/ 61 w 327"/>
                  <a:gd name="T1" fmla="*/ 408 h 410"/>
                  <a:gd name="T2" fmla="*/ 95 w 327"/>
                  <a:gd name="T3" fmla="*/ 393 h 410"/>
                  <a:gd name="T4" fmla="*/ 84 w 327"/>
                  <a:gd name="T5" fmla="*/ 359 h 410"/>
                  <a:gd name="T6" fmla="*/ 114 w 327"/>
                  <a:gd name="T7" fmla="*/ 329 h 410"/>
                  <a:gd name="T8" fmla="*/ 145 w 327"/>
                  <a:gd name="T9" fmla="*/ 359 h 410"/>
                  <a:gd name="T10" fmla="*/ 132 w 327"/>
                  <a:gd name="T11" fmla="*/ 393 h 410"/>
                  <a:gd name="T12" fmla="*/ 181 w 327"/>
                  <a:gd name="T13" fmla="*/ 408 h 410"/>
                  <a:gd name="T14" fmla="*/ 227 w 327"/>
                  <a:gd name="T15" fmla="*/ 401 h 410"/>
                  <a:gd name="T16" fmla="*/ 227 w 327"/>
                  <a:gd name="T17" fmla="*/ 401 h 410"/>
                  <a:gd name="T18" fmla="*/ 327 w 327"/>
                  <a:gd name="T19" fmla="*/ 160 h 410"/>
                  <a:gd name="T20" fmla="*/ 327 w 327"/>
                  <a:gd name="T21" fmla="*/ 160 h 410"/>
                  <a:gd name="T22" fmla="*/ 289 w 327"/>
                  <a:gd name="T23" fmla="*/ 133 h 410"/>
                  <a:gd name="T24" fmla="*/ 265 w 327"/>
                  <a:gd name="T25" fmla="*/ 88 h 410"/>
                  <a:gd name="T26" fmla="*/ 298 w 327"/>
                  <a:gd name="T27" fmla="*/ 73 h 410"/>
                  <a:gd name="T28" fmla="*/ 297 w 327"/>
                  <a:gd name="T29" fmla="*/ 30 h 410"/>
                  <a:gd name="T30" fmla="*/ 255 w 327"/>
                  <a:gd name="T31" fmla="*/ 29 h 410"/>
                  <a:gd name="T32" fmla="*/ 239 w 327"/>
                  <a:gd name="T33" fmla="*/ 61 h 410"/>
                  <a:gd name="T34" fmla="*/ 205 w 327"/>
                  <a:gd name="T35" fmla="*/ 48 h 410"/>
                  <a:gd name="T36" fmla="*/ 166 w 327"/>
                  <a:gd name="T37" fmla="*/ 0 h 410"/>
                  <a:gd name="T38" fmla="*/ 166 w 327"/>
                  <a:gd name="T39" fmla="*/ 0 h 410"/>
                  <a:gd name="T40" fmla="*/ 0 w 327"/>
                  <a:gd name="T41" fmla="*/ 401 h 410"/>
                  <a:gd name="T42" fmla="*/ 0 w 327"/>
                  <a:gd name="T43" fmla="*/ 401 h 410"/>
                  <a:gd name="T44" fmla="*/ 61 w 327"/>
                  <a:gd name="T45" fmla="*/ 408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7" h="410">
                    <a:moveTo>
                      <a:pt x="61" y="408"/>
                    </a:moveTo>
                    <a:cubicBezTo>
                      <a:pt x="78" y="406"/>
                      <a:pt x="95" y="404"/>
                      <a:pt x="95" y="393"/>
                    </a:cubicBezTo>
                    <a:cubicBezTo>
                      <a:pt x="95" y="381"/>
                      <a:pt x="84" y="379"/>
                      <a:pt x="84" y="359"/>
                    </a:cubicBezTo>
                    <a:cubicBezTo>
                      <a:pt x="84" y="340"/>
                      <a:pt x="99" y="329"/>
                      <a:pt x="114" y="329"/>
                    </a:cubicBezTo>
                    <a:cubicBezTo>
                      <a:pt x="129" y="329"/>
                      <a:pt x="145" y="342"/>
                      <a:pt x="145" y="359"/>
                    </a:cubicBezTo>
                    <a:cubicBezTo>
                      <a:pt x="145" y="378"/>
                      <a:pt x="132" y="384"/>
                      <a:pt x="132" y="393"/>
                    </a:cubicBezTo>
                    <a:cubicBezTo>
                      <a:pt x="132" y="401"/>
                      <a:pt x="162" y="410"/>
                      <a:pt x="181" y="408"/>
                    </a:cubicBezTo>
                    <a:cubicBezTo>
                      <a:pt x="200" y="407"/>
                      <a:pt x="227" y="401"/>
                      <a:pt x="227" y="401"/>
                    </a:cubicBezTo>
                    <a:cubicBezTo>
                      <a:pt x="227" y="401"/>
                      <a:pt x="227" y="401"/>
                      <a:pt x="227" y="401"/>
                    </a:cubicBezTo>
                    <a:cubicBezTo>
                      <a:pt x="227" y="307"/>
                      <a:pt x="265" y="222"/>
                      <a:pt x="327" y="160"/>
                    </a:cubicBezTo>
                    <a:cubicBezTo>
                      <a:pt x="327" y="160"/>
                      <a:pt x="327" y="160"/>
                      <a:pt x="327" y="160"/>
                    </a:cubicBezTo>
                    <a:cubicBezTo>
                      <a:pt x="327" y="160"/>
                      <a:pt x="303" y="145"/>
                      <a:pt x="289" y="133"/>
                    </a:cubicBezTo>
                    <a:cubicBezTo>
                      <a:pt x="275" y="121"/>
                      <a:pt x="259" y="94"/>
                      <a:pt x="265" y="88"/>
                    </a:cubicBezTo>
                    <a:cubicBezTo>
                      <a:pt x="271" y="82"/>
                      <a:pt x="285" y="86"/>
                      <a:pt x="298" y="73"/>
                    </a:cubicBezTo>
                    <a:cubicBezTo>
                      <a:pt x="310" y="61"/>
                      <a:pt x="308" y="40"/>
                      <a:pt x="297" y="30"/>
                    </a:cubicBezTo>
                    <a:cubicBezTo>
                      <a:pt x="286" y="19"/>
                      <a:pt x="269" y="16"/>
                      <a:pt x="255" y="29"/>
                    </a:cubicBezTo>
                    <a:cubicBezTo>
                      <a:pt x="241" y="43"/>
                      <a:pt x="247" y="53"/>
                      <a:pt x="239" y="61"/>
                    </a:cubicBezTo>
                    <a:cubicBezTo>
                      <a:pt x="231" y="69"/>
                      <a:pt x="218" y="59"/>
                      <a:pt x="205" y="48"/>
                    </a:cubicBezTo>
                    <a:cubicBezTo>
                      <a:pt x="192" y="38"/>
                      <a:pt x="181" y="21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64" y="103"/>
                      <a:pt x="0" y="244"/>
                      <a:pt x="0" y="401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26" y="406"/>
                      <a:pt x="45" y="410"/>
                      <a:pt x="61" y="40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7BB3FDB2-B793-4733-93B7-377FA55AEF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1813" y="4324350"/>
                <a:ext cx="1536700" cy="1227138"/>
              </a:xfrm>
              <a:custGeom>
                <a:avLst/>
                <a:gdLst>
                  <a:gd name="T0" fmla="*/ 408 w 410"/>
                  <a:gd name="T1" fmla="*/ 266 h 327"/>
                  <a:gd name="T2" fmla="*/ 393 w 410"/>
                  <a:gd name="T3" fmla="*/ 232 h 327"/>
                  <a:gd name="T4" fmla="*/ 359 w 410"/>
                  <a:gd name="T5" fmla="*/ 243 h 327"/>
                  <a:gd name="T6" fmla="*/ 330 w 410"/>
                  <a:gd name="T7" fmla="*/ 213 h 327"/>
                  <a:gd name="T8" fmla="*/ 359 w 410"/>
                  <a:gd name="T9" fmla="*/ 182 h 327"/>
                  <a:gd name="T10" fmla="*/ 393 w 410"/>
                  <a:gd name="T11" fmla="*/ 195 h 327"/>
                  <a:gd name="T12" fmla="*/ 408 w 410"/>
                  <a:gd name="T13" fmla="*/ 146 h 327"/>
                  <a:gd name="T14" fmla="*/ 401 w 410"/>
                  <a:gd name="T15" fmla="*/ 100 h 327"/>
                  <a:gd name="T16" fmla="*/ 401 w 410"/>
                  <a:gd name="T17" fmla="*/ 100 h 327"/>
                  <a:gd name="T18" fmla="*/ 161 w 410"/>
                  <a:gd name="T19" fmla="*/ 0 h 327"/>
                  <a:gd name="T20" fmla="*/ 161 w 410"/>
                  <a:gd name="T21" fmla="*/ 0 h 327"/>
                  <a:gd name="T22" fmla="*/ 133 w 410"/>
                  <a:gd name="T23" fmla="*/ 38 h 327"/>
                  <a:gd name="T24" fmla="*/ 88 w 410"/>
                  <a:gd name="T25" fmla="*/ 62 h 327"/>
                  <a:gd name="T26" fmla="*/ 73 w 410"/>
                  <a:gd name="T27" fmla="*/ 29 h 327"/>
                  <a:gd name="T28" fmla="*/ 30 w 410"/>
                  <a:gd name="T29" fmla="*/ 30 h 327"/>
                  <a:gd name="T30" fmla="*/ 30 w 410"/>
                  <a:gd name="T31" fmla="*/ 72 h 327"/>
                  <a:gd name="T32" fmla="*/ 61 w 410"/>
                  <a:gd name="T33" fmla="*/ 88 h 327"/>
                  <a:gd name="T34" fmla="*/ 48 w 410"/>
                  <a:gd name="T35" fmla="*/ 122 h 327"/>
                  <a:gd name="T36" fmla="*/ 0 w 410"/>
                  <a:gd name="T37" fmla="*/ 161 h 327"/>
                  <a:gd name="T38" fmla="*/ 0 w 410"/>
                  <a:gd name="T39" fmla="*/ 161 h 327"/>
                  <a:gd name="T40" fmla="*/ 401 w 410"/>
                  <a:gd name="T41" fmla="*/ 327 h 327"/>
                  <a:gd name="T42" fmla="*/ 401 w 410"/>
                  <a:gd name="T43" fmla="*/ 327 h 327"/>
                  <a:gd name="T44" fmla="*/ 408 w 410"/>
                  <a:gd name="T45" fmla="*/ 26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0" h="327">
                    <a:moveTo>
                      <a:pt x="408" y="266"/>
                    </a:moveTo>
                    <a:cubicBezTo>
                      <a:pt x="406" y="249"/>
                      <a:pt x="404" y="232"/>
                      <a:pt x="393" y="232"/>
                    </a:cubicBezTo>
                    <a:cubicBezTo>
                      <a:pt x="382" y="232"/>
                      <a:pt x="379" y="243"/>
                      <a:pt x="359" y="243"/>
                    </a:cubicBezTo>
                    <a:cubicBezTo>
                      <a:pt x="340" y="243"/>
                      <a:pt x="330" y="228"/>
                      <a:pt x="330" y="213"/>
                    </a:cubicBezTo>
                    <a:cubicBezTo>
                      <a:pt x="330" y="198"/>
                      <a:pt x="343" y="182"/>
                      <a:pt x="359" y="182"/>
                    </a:cubicBezTo>
                    <a:cubicBezTo>
                      <a:pt x="378" y="182"/>
                      <a:pt x="385" y="195"/>
                      <a:pt x="393" y="195"/>
                    </a:cubicBezTo>
                    <a:cubicBezTo>
                      <a:pt x="402" y="195"/>
                      <a:pt x="410" y="165"/>
                      <a:pt x="408" y="146"/>
                    </a:cubicBezTo>
                    <a:cubicBezTo>
                      <a:pt x="407" y="127"/>
                      <a:pt x="401" y="100"/>
                      <a:pt x="401" y="100"/>
                    </a:cubicBezTo>
                    <a:cubicBezTo>
                      <a:pt x="401" y="100"/>
                      <a:pt x="401" y="100"/>
                      <a:pt x="401" y="100"/>
                    </a:cubicBezTo>
                    <a:cubicBezTo>
                      <a:pt x="307" y="100"/>
                      <a:pt x="222" y="62"/>
                      <a:pt x="161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1" y="0"/>
                      <a:pt x="146" y="24"/>
                      <a:pt x="133" y="38"/>
                    </a:cubicBezTo>
                    <a:cubicBezTo>
                      <a:pt x="121" y="52"/>
                      <a:pt x="94" y="68"/>
                      <a:pt x="88" y="62"/>
                    </a:cubicBezTo>
                    <a:cubicBezTo>
                      <a:pt x="82" y="56"/>
                      <a:pt x="87" y="42"/>
                      <a:pt x="73" y="29"/>
                    </a:cubicBezTo>
                    <a:cubicBezTo>
                      <a:pt x="62" y="17"/>
                      <a:pt x="40" y="19"/>
                      <a:pt x="30" y="30"/>
                    </a:cubicBezTo>
                    <a:cubicBezTo>
                      <a:pt x="19" y="41"/>
                      <a:pt x="16" y="58"/>
                      <a:pt x="30" y="72"/>
                    </a:cubicBezTo>
                    <a:cubicBezTo>
                      <a:pt x="44" y="86"/>
                      <a:pt x="53" y="80"/>
                      <a:pt x="61" y="88"/>
                    </a:cubicBezTo>
                    <a:cubicBezTo>
                      <a:pt x="70" y="96"/>
                      <a:pt x="59" y="109"/>
                      <a:pt x="48" y="122"/>
                    </a:cubicBezTo>
                    <a:cubicBezTo>
                      <a:pt x="38" y="135"/>
                      <a:pt x="22" y="146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103" y="263"/>
                      <a:pt x="245" y="327"/>
                      <a:pt x="401" y="327"/>
                    </a:cubicBezTo>
                    <a:cubicBezTo>
                      <a:pt x="401" y="327"/>
                      <a:pt x="401" y="327"/>
                      <a:pt x="401" y="327"/>
                    </a:cubicBezTo>
                    <a:cubicBezTo>
                      <a:pt x="406" y="301"/>
                      <a:pt x="410" y="281"/>
                      <a:pt x="408" y="266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DD48DF26-63C1-4B84-8A55-E3C3BA9EC5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8463" y="3390900"/>
                <a:ext cx="1222375" cy="1536700"/>
              </a:xfrm>
              <a:custGeom>
                <a:avLst/>
                <a:gdLst>
                  <a:gd name="T0" fmla="*/ 326 w 326"/>
                  <a:gd name="T1" fmla="*/ 9 h 410"/>
                  <a:gd name="T2" fmla="*/ 326 w 326"/>
                  <a:gd name="T3" fmla="*/ 9 h 410"/>
                  <a:gd name="T4" fmla="*/ 265 w 326"/>
                  <a:gd name="T5" fmla="*/ 2 h 410"/>
                  <a:gd name="T6" fmla="*/ 231 w 326"/>
                  <a:gd name="T7" fmla="*/ 17 h 410"/>
                  <a:gd name="T8" fmla="*/ 243 w 326"/>
                  <a:gd name="T9" fmla="*/ 51 h 410"/>
                  <a:gd name="T10" fmla="*/ 213 w 326"/>
                  <a:gd name="T11" fmla="*/ 80 h 410"/>
                  <a:gd name="T12" fmla="*/ 181 w 326"/>
                  <a:gd name="T13" fmla="*/ 51 h 410"/>
                  <a:gd name="T14" fmla="*/ 194 w 326"/>
                  <a:gd name="T15" fmla="*/ 17 h 410"/>
                  <a:gd name="T16" fmla="*/ 145 w 326"/>
                  <a:gd name="T17" fmla="*/ 1 h 410"/>
                  <a:gd name="T18" fmla="*/ 99 w 326"/>
                  <a:gd name="T19" fmla="*/ 9 h 410"/>
                  <a:gd name="T20" fmla="*/ 99 w 326"/>
                  <a:gd name="T21" fmla="*/ 9 h 410"/>
                  <a:gd name="T22" fmla="*/ 99 w 326"/>
                  <a:gd name="T23" fmla="*/ 9 h 410"/>
                  <a:gd name="T24" fmla="*/ 0 w 326"/>
                  <a:gd name="T25" fmla="*/ 249 h 410"/>
                  <a:gd name="T26" fmla="*/ 0 w 326"/>
                  <a:gd name="T27" fmla="*/ 249 h 410"/>
                  <a:gd name="T28" fmla="*/ 37 w 326"/>
                  <a:gd name="T29" fmla="*/ 277 h 410"/>
                  <a:gd name="T30" fmla="*/ 61 w 326"/>
                  <a:gd name="T31" fmla="*/ 322 h 410"/>
                  <a:gd name="T32" fmla="*/ 28 w 326"/>
                  <a:gd name="T33" fmla="*/ 337 h 410"/>
                  <a:gd name="T34" fmla="*/ 29 w 326"/>
                  <a:gd name="T35" fmla="*/ 380 h 410"/>
                  <a:gd name="T36" fmla="*/ 72 w 326"/>
                  <a:gd name="T37" fmla="*/ 380 h 410"/>
                  <a:gd name="T38" fmla="*/ 87 w 326"/>
                  <a:gd name="T39" fmla="*/ 348 h 410"/>
                  <a:gd name="T40" fmla="*/ 122 w 326"/>
                  <a:gd name="T41" fmla="*/ 362 h 410"/>
                  <a:gd name="T42" fmla="*/ 160 w 326"/>
                  <a:gd name="T43" fmla="*/ 410 h 410"/>
                  <a:gd name="T44" fmla="*/ 160 w 326"/>
                  <a:gd name="T45" fmla="*/ 410 h 410"/>
                  <a:gd name="T46" fmla="*/ 326 w 326"/>
                  <a:gd name="T47" fmla="*/ 9 h 410"/>
                  <a:gd name="T48" fmla="*/ 326 w 326"/>
                  <a:gd name="T49" fmla="*/ 9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6" h="410">
                    <a:moveTo>
                      <a:pt x="326" y="9"/>
                    </a:moveTo>
                    <a:cubicBezTo>
                      <a:pt x="326" y="9"/>
                      <a:pt x="326" y="9"/>
                      <a:pt x="326" y="9"/>
                    </a:cubicBezTo>
                    <a:cubicBezTo>
                      <a:pt x="301" y="4"/>
                      <a:pt x="281" y="0"/>
                      <a:pt x="265" y="2"/>
                    </a:cubicBezTo>
                    <a:cubicBezTo>
                      <a:pt x="248" y="4"/>
                      <a:pt x="231" y="5"/>
                      <a:pt x="231" y="17"/>
                    </a:cubicBezTo>
                    <a:cubicBezTo>
                      <a:pt x="231" y="28"/>
                      <a:pt x="243" y="31"/>
                      <a:pt x="243" y="51"/>
                    </a:cubicBezTo>
                    <a:cubicBezTo>
                      <a:pt x="243" y="70"/>
                      <a:pt x="228" y="80"/>
                      <a:pt x="213" y="80"/>
                    </a:cubicBezTo>
                    <a:cubicBezTo>
                      <a:pt x="198" y="80"/>
                      <a:pt x="181" y="67"/>
                      <a:pt x="181" y="51"/>
                    </a:cubicBezTo>
                    <a:cubicBezTo>
                      <a:pt x="181" y="32"/>
                      <a:pt x="194" y="25"/>
                      <a:pt x="194" y="17"/>
                    </a:cubicBezTo>
                    <a:cubicBezTo>
                      <a:pt x="194" y="8"/>
                      <a:pt x="164" y="0"/>
                      <a:pt x="145" y="1"/>
                    </a:cubicBezTo>
                    <a:cubicBezTo>
                      <a:pt x="126" y="3"/>
                      <a:pt x="99" y="9"/>
                      <a:pt x="99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9" y="103"/>
                      <a:pt x="61" y="188"/>
                      <a:pt x="0" y="249"/>
                    </a:cubicBezTo>
                    <a:cubicBezTo>
                      <a:pt x="0" y="249"/>
                      <a:pt x="0" y="249"/>
                      <a:pt x="0" y="249"/>
                    </a:cubicBezTo>
                    <a:cubicBezTo>
                      <a:pt x="0" y="249"/>
                      <a:pt x="23" y="264"/>
                      <a:pt x="37" y="277"/>
                    </a:cubicBezTo>
                    <a:cubicBezTo>
                      <a:pt x="51" y="289"/>
                      <a:pt x="67" y="316"/>
                      <a:pt x="61" y="322"/>
                    </a:cubicBezTo>
                    <a:cubicBezTo>
                      <a:pt x="55" y="328"/>
                      <a:pt x="41" y="323"/>
                      <a:pt x="28" y="337"/>
                    </a:cubicBezTo>
                    <a:cubicBezTo>
                      <a:pt x="16" y="348"/>
                      <a:pt x="19" y="370"/>
                      <a:pt x="29" y="380"/>
                    </a:cubicBezTo>
                    <a:cubicBezTo>
                      <a:pt x="40" y="391"/>
                      <a:pt x="58" y="394"/>
                      <a:pt x="72" y="380"/>
                    </a:cubicBezTo>
                    <a:cubicBezTo>
                      <a:pt x="85" y="366"/>
                      <a:pt x="79" y="357"/>
                      <a:pt x="87" y="348"/>
                    </a:cubicBezTo>
                    <a:cubicBezTo>
                      <a:pt x="95" y="340"/>
                      <a:pt x="108" y="351"/>
                      <a:pt x="122" y="362"/>
                    </a:cubicBezTo>
                    <a:cubicBezTo>
                      <a:pt x="134" y="372"/>
                      <a:pt x="145" y="388"/>
                      <a:pt x="160" y="410"/>
                    </a:cubicBezTo>
                    <a:cubicBezTo>
                      <a:pt x="160" y="410"/>
                      <a:pt x="160" y="410"/>
                      <a:pt x="160" y="410"/>
                    </a:cubicBezTo>
                    <a:cubicBezTo>
                      <a:pt x="263" y="307"/>
                      <a:pt x="326" y="165"/>
                      <a:pt x="326" y="9"/>
                    </a:cubicBezTo>
                    <a:cubicBezTo>
                      <a:pt x="326" y="9"/>
                      <a:pt x="326" y="9"/>
                      <a:pt x="326" y="9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E0819CA0-0986-475A-B155-C7E78E3829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1536700" cy="1222375"/>
              </a:xfrm>
              <a:custGeom>
                <a:avLst/>
                <a:gdLst>
                  <a:gd name="T0" fmla="*/ 2 w 410"/>
                  <a:gd name="T1" fmla="*/ 61 h 326"/>
                  <a:gd name="T2" fmla="*/ 17 w 410"/>
                  <a:gd name="T3" fmla="*/ 95 h 326"/>
                  <a:gd name="T4" fmla="*/ 51 w 410"/>
                  <a:gd name="T5" fmla="*/ 83 h 326"/>
                  <a:gd name="T6" fmla="*/ 81 w 410"/>
                  <a:gd name="T7" fmla="*/ 113 h 326"/>
                  <a:gd name="T8" fmla="*/ 51 w 410"/>
                  <a:gd name="T9" fmla="*/ 145 h 326"/>
                  <a:gd name="T10" fmla="*/ 17 w 410"/>
                  <a:gd name="T11" fmla="*/ 132 h 326"/>
                  <a:gd name="T12" fmla="*/ 2 w 410"/>
                  <a:gd name="T13" fmla="*/ 181 h 326"/>
                  <a:gd name="T14" fmla="*/ 9 w 410"/>
                  <a:gd name="T15" fmla="*/ 227 h 326"/>
                  <a:gd name="T16" fmla="*/ 9 w 410"/>
                  <a:gd name="T17" fmla="*/ 227 h 326"/>
                  <a:gd name="T18" fmla="*/ 250 w 410"/>
                  <a:gd name="T19" fmla="*/ 326 h 326"/>
                  <a:gd name="T20" fmla="*/ 250 w 410"/>
                  <a:gd name="T21" fmla="*/ 326 h 326"/>
                  <a:gd name="T22" fmla="*/ 277 w 410"/>
                  <a:gd name="T23" fmla="*/ 289 h 326"/>
                  <a:gd name="T24" fmla="*/ 322 w 410"/>
                  <a:gd name="T25" fmla="*/ 265 h 326"/>
                  <a:gd name="T26" fmla="*/ 337 w 410"/>
                  <a:gd name="T27" fmla="*/ 298 h 326"/>
                  <a:gd name="T28" fmla="*/ 380 w 410"/>
                  <a:gd name="T29" fmla="*/ 297 h 326"/>
                  <a:gd name="T30" fmla="*/ 380 w 410"/>
                  <a:gd name="T31" fmla="*/ 254 h 326"/>
                  <a:gd name="T32" fmla="*/ 349 w 410"/>
                  <a:gd name="T33" fmla="*/ 239 h 326"/>
                  <a:gd name="T34" fmla="*/ 362 w 410"/>
                  <a:gd name="T35" fmla="*/ 204 h 326"/>
                  <a:gd name="T36" fmla="*/ 410 w 410"/>
                  <a:gd name="T37" fmla="*/ 166 h 326"/>
                  <a:gd name="T38" fmla="*/ 410 w 410"/>
                  <a:gd name="T39" fmla="*/ 166 h 326"/>
                  <a:gd name="T40" fmla="*/ 9 w 410"/>
                  <a:gd name="T41" fmla="*/ 0 h 326"/>
                  <a:gd name="T42" fmla="*/ 2 w 410"/>
                  <a:gd name="T43" fmla="*/ 61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0" h="326">
                    <a:moveTo>
                      <a:pt x="2" y="61"/>
                    </a:move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03" y="227"/>
                      <a:pt x="188" y="265"/>
                      <a:pt x="250" y="326"/>
                    </a:cubicBezTo>
                    <a:cubicBezTo>
                      <a:pt x="250" y="326"/>
                      <a:pt x="250" y="326"/>
                      <a:pt x="250" y="326"/>
                    </a:cubicBezTo>
                    <a:cubicBezTo>
                      <a:pt x="250" y="326"/>
                      <a:pt x="265" y="303"/>
                      <a:pt x="277" y="289"/>
                    </a:cubicBezTo>
                    <a:cubicBezTo>
                      <a:pt x="289" y="274"/>
                      <a:pt x="316" y="259"/>
                      <a:pt x="322" y="265"/>
                    </a:cubicBezTo>
                    <a:cubicBezTo>
                      <a:pt x="328" y="271"/>
                      <a:pt x="324" y="285"/>
                      <a:pt x="337" y="298"/>
                    </a:cubicBezTo>
                    <a:cubicBezTo>
                      <a:pt x="349" y="310"/>
                      <a:pt x="370" y="307"/>
                      <a:pt x="380" y="297"/>
                    </a:cubicBezTo>
                    <a:cubicBezTo>
                      <a:pt x="391" y="286"/>
                      <a:pt x="394" y="268"/>
                      <a:pt x="380" y="254"/>
                    </a:cubicBezTo>
                    <a:cubicBezTo>
                      <a:pt x="367" y="241"/>
                      <a:pt x="357" y="247"/>
                      <a:pt x="349" y="239"/>
                    </a:cubicBezTo>
                    <a:cubicBezTo>
                      <a:pt x="341" y="231"/>
                      <a:pt x="351" y="218"/>
                      <a:pt x="362" y="204"/>
                    </a:cubicBezTo>
                    <a:cubicBezTo>
                      <a:pt x="372" y="192"/>
                      <a:pt x="389" y="181"/>
                      <a:pt x="410" y="166"/>
                    </a:cubicBezTo>
                    <a:cubicBezTo>
                      <a:pt x="410" y="166"/>
                      <a:pt x="410" y="166"/>
                      <a:pt x="410" y="166"/>
                    </a:cubicBezTo>
                    <a:cubicBezTo>
                      <a:pt x="307" y="63"/>
                      <a:pt x="166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101">
              <a:extLst>
                <a:ext uri="{FF2B5EF4-FFF2-40B4-BE49-F238E27FC236}">
                  <a16:creationId xmlns:a16="http://schemas.microsoft.com/office/drawing/2014/main" id="{AB2FA36B-70D5-4C2F-8201-A81B62280BC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noFill/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262626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sp>
          <p:nvSpPr>
            <p:cNvPr id="5" name="Text Box 13" descr="PresentationLoad.com">
              <a:extLst>
                <a:ext uri="{FF2B5EF4-FFF2-40B4-BE49-F238E27FC236}">
                  <a16:creationId xmlns:a16="http://schemas.microsoft.com/office/drawing/2014/main" id="{0B65EEF6-2814-48A5-B1A7-E5C709CEFC9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1838999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8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6" name="Text Box 13" descr="PresentationLoad.com">
              <a:extLst>
                <a:ext uri="{FF2B5EF4-FFF2-40B4-BE49-F238E27FC236}">
                  <a16:creationId xmlns:a16="http://schemas.microsoft.com/office/drawing/2014/main" id="{BE5E676C-4B07-4C4D-A3EE-93882B45BC7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4623925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6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7" name="Text Box 13" descr="PresentationLoad.com">
              <a:extLst>
                <a:ext uri="{FF2B5EF4-FFF2-40B4-BE49-F238E27FC236}">
                  <a16:creationId xmlns:a16="http://schemas.microsoft.com/office/drawing/2014/main" id="{37DA1366-51E3-413C-89EA-CA382071468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1838999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2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8" name="Text Box 13" descr="PresentationLoad.com">
              <a:extLst>
                <a:ext uri="{FF2B5EF4-FFF2-40B4-BE49-F238E27FC236}">
                  <a16:creationId xmlns:a16="http://schemas.microsoft.com/office/drawing/2014/main" id="{B649BC57-A4E7-4A5C-90CF-F1545C70E15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4623925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4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9" name="Gerade Verbindung 47">
              <a:extLst>
                <a:ext uri="{FF2B5EF4-FFF2-40B4-BE49-F238E27FC236}">
                  <a16:creationId xmlns:a16="http://schemas.microsoft.com/office/drawing/2014/main" id="{733EBA59-6A64-45E8-BF70-C36F9712CB6A}"/>
                </a:ext>
              </a:extLst>
            </p:cNvPr>
            <p:cNvCxnSpPr/>
            <p:nvPr/>
          </p:nvCxnSpPr>
          <p:spPr bwMode="gray">
            <a:xfrm>
              <a:off x="529116" y="4530892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cxnSp>
          <p:nvCxnSpPr>
            <p:cNvPr id="10" name="Gerade Verbindung 48">
              <a:extLst>
                <a:ext uri="{FF2B5EF4-FFF2-40B4-BE49-F238E27FC236}">
                  <a16:creationId xmlns:a16="http://schemas.microsoft.com/office/drawing/2014/main" id="{F650FDD3-9B83-4852-ACB7-9E7DAAFCD823}"/>
                </a:ext>
              </a:extLst>
            </p:cNvPr>
            <p:cNvCxnSpPr/>
            <p:nvPr/>
          </p:nvCxnSpPr>
          <p:spPr bwMode="gray">
            <a:xfrm>
              <a:off x="8194840" y="4530892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1" name="Text Box 13" descr="PresentationLoad.com">
              <a:extLst>
                <a:ext uri="{FF2B5EF4-FFF2-40B4-BE49-F238E27FC236}">
                  <a16:creationId xmlns:a16="http://schemas.microsoft.com/office/drawing/2014/main" id="{67706A51-08A7-442F-85CF-99A6BA6BB7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71680" y="567984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ct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5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ct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12" name="Text Box 13" descr="PresentationLoad.com">
              <a:extLst>
                <a:ext uri="{FF2B5EF4-FFF2-40B4-BE49-F238E27FC236}">
                  <a16:creationId xmlns:a16="http://schemas.microsoft.com/office/drawing/2014/main" id="{79D03874-DD0B-43AA-8589-3DCB4033678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319452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3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13" name="Gerade Verbindung 51">
              <a:extLst>
                <a:ext uri="{FF2B5EF4-FFF2-40B4-BE49-F238E27FC236}">
                  <a16:creationId xmlns:a16="http://schemas.microsoft.com/office/drawing/2014/main" id="{7FCE630C-7C51-40FD-9ED1-B03CD0B9EFF1}"/>
                </a:ext>
              </a:extLst>
            </p:cNvPr>
            <p:cNvCxnSpPr/>
            <p:nvPr/>
          </p:nvCxnSpPr>
          <p:spPr bwMode="gray">
            <a:xfrm>
              <a:off x="8194840" y="3101488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4" name="Text Box 13" descr="PresentationLoad.com">
              <a:extLst>
                <a:ext uri="{FF2B5EF4-FFF2-40B4-BE49-F238E27FC236}">
                  <a16:creationId xmlns:a16="http://schemas.microsoft.com/office/drawing/2014/main" id="{5DD739CA-0C54-4638-B18F-92AD4C99731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319452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7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15" name="Gerade Verbindung 53" descr="PresentationLoad.com">
              <a:extLst>
                <a:ext uri="{FF2B5EF4-FFF2-40B4-BE49-F238E27FC236}">
                  <a16:creationId xmlns:a16="http://schemas.microsoft.com/office/drawing/2014/main" id="{AC36C1B7-B891-4B50-8895-73056277F01F}"/>
                </a:ext>
              </a:extLst>
            </p:cNvPr>
            <p:cNvCxnSpPr/>
            <p:nvPr/>
          </p:nvCxnSpPr>
          <p:spPr bwMode="gray">
            <a:xfrm>
              <a:off x="529116" y="3101488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6" name="Text Box 13" descr="PresentationLoad.com">
              <a:extLst>
                <a:ext uri="{FF2B5EF4-FFF2-40B4-BE49-F238E27FC236}">
                  <a16:creationId xmlns:a16="http://schemas.microsoft.com/office/drawing/2014/main" id="{EB7C4F87-DD91-4065-84A6-3A466F7FE8E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71680" y="860982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ct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1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ct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1939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A8809B-675E-4A11-A014-FC3B112DB443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PLAN GANTT</a:t>
            </a:r>
            <a:endParaRPr lang="en-US" dirty="0"/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E82568F0-D2F4-47D2-9CDE-09DFFF5C3AB1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 Months view – January-February 2019</a:t>
            </a:r>
          </a:p>
        </p:txBody>
      </p:sp>
      <p:graphicFrame>
        <p:nvGraphicFramePr>
          <p:cNvPr id="4" name="Inhaltsplatzhalter 7">
            <a:extLst>
              <a:ext uri="{FF2B5EF4-FFF2-40B4-BE49-F238E27FC236}">
                <a16:creationId xmlns:a16="http://schemas.microsoft.com/office/drawing/2014/main" id="{CD89D7E1-78BE-4DC2-89FE-3A24D18ED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2525211"/>
              </p:ext>
            </p:extLst>
          </p:nvPr>
        </p:nvGraphicFramePr>
        <p:xfrm>
          <a:off x="539750" y="1511300"/>
          <a:ext cx="2170035" cy="447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2349655509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2037913856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185559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640779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85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56004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307010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372848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298907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7717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749752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208890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361785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180732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015503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819941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641165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37054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363666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287748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332274"/>
                  </a:ext>
                </a:extLst>
              </a:tr>
            </a:tbl>
          </a:graphicData>
        </a:graphic>
      </p:graphicFrame>
      <p:graphicFrame>
        <p:nvGraphicFramePr>
          <p:cNvPr id="5" name="Inhaltsplatzhalter 8">
            <a:extLst>
              <a:ext uri="{FF2B5EF4-FFF2-40B4-BE49-F238E27FC236}">
                <a16:creationId xmlns:a16="http://schemas.microsoft.com/office/drawing/2014/main" id="{0E9CF867-7712-4167-83B1-52270E4F13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3776615"/>
              </p:ext>
            </p:extLst>
          </p:nvPr>
        </p:nvGraphicFramePr>
        <p:xfrm>
          <a:off x="2790825" y="1511300"/>
          <a:ext cx="8857965" cy="4508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135">
                  <a:extLst>
                    <a:ext uri="{9D8B030D-6E8A-4147-A177-3AD203B41FA5}">
                      <a16:colId xmlns:a16="http://schemas.microsoft.com/office/drawing/2014/main" val="218654867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1341931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9077643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281900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1738419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3597014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99835273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1030943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8984544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19450308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83368436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3823692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8900547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08271557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96913656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37220669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6584295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10469829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0214348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1686192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7552879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5404994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1815592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22634819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33812992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79796460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1247755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4531937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99995359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0677555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3337251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29139869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08322363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54099312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23297901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10019475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96493470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0394575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6932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9402069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88227089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2236709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34011036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3614744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4453585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764096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4395336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3503100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67916672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097253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35884973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64851984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79999535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1856094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13295411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81164653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10910436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7567551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27887634"/>
                    </a:ext>
                  </a:extLst>
                </a:gridCol>
              </a:tblGrid>
              <a:tr h="237600">
                <a:tc gridSpan="31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uary</a:t>
                      </a:r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20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8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bruary</a:t>
                      </a:r>
                      <a:r>
                        <a:rPr lang="de-DE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84153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49167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1583118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7933238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028353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351357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0153871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18964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475596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584333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128365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06314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233215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342431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7731254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718256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843443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9898276"/>
                  </a:ext>
                </a:extLst>
              </a:tr>
            </a:tbl>
          </a:graphicData>
        </a:graphic>
      </p:graphicFrame>
      <p:cxnSp>
        <p:nvCxnSpPr>
          <p:cNvPr id="6" name="Gerader Verbinder 60">
            <a:extLst>
              <a:ext uri="{FF2B5EF4-FFF2-40B4-BE49-F238E27FC236}">
                <a16:creationId xmlns:a16="http://schemas.microsoft.com/office/drawing/2014/main" id="{D0772495-623B-46AE-904A-FECFFC35B932}"/>
              </a:ext>
            </a:extLst>
          </p:cNvPr>
          <p:cNvCxnSpPr>
            <a:cxnSpLocks/>
          </p:cNvCxnSpPr>
          <p:nvPr/>
        </p:nvCxnSpPr>
        <p:spPr>
          <a:xfrm>
            <a:off x="2926080" y="2127123"/>
            <a:ext cx="2977474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71DBE89E-C01D-4713-8C79-0BBDF4F0E070}"/>
              </a:ext>
            </a:extLst>
          </p:cNvPr>
          <p:cNvGrpSpPr/>
          <p:nvPr/>
        </p:nvGrpSpPr>
        <p:grpSpPr>
          <a:xfrm>
            <a:off x="2925004" y="2290502"/>
            <a:ext cx="8479492" cy="2865367"/>
            <a:chOff x="2925004" y="2290502"/>
            <a:chExt cx="8158614" cy="2865367"/>
          </a:xfrm>
        </p:grpSpPr>
        <p:sp>
          <p:nvSpPr>
            <p:cNvPr id="8" name="Rechteck: abgerundete Ecken 54">
              <a:extLst>
                <a:ext uri="{FF2B5EF4-FFF2-40B4-BE49-F238E27FC236}">
                  <a16:creationId xmlns:a16="http://schemas.microsoft.com/office/drawing/2014/main" id="{5FDD9A8D-121C-457F-8909-3153B3702385}"/>
                </a:ext>
              </a:extLst>
            </p:cNvPr>
            <p:cNvSpPr/>
            <p:nvPr/>
          </p:nvSpPr>
          <p:spPr bwMode="gray">
            <a:xfrm>
              <a:off x="2925004" y="2290502"/>
              <a:ext cx="1809754" cy="148084"/>
            </a:xfrm>
            <a:prstGeom prst="roundRect">
              <a:avLst/>
            </a:prstGeom>
            <a:gradFill>
              <a:gsLst>
                <a:gs pos="10000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100%)</a:t>
              </a:r>
            </a:p>
          </p:txBody>
        </p:sp>
        <p:sp>
          <p:nvSpPr>
            <p:cNvPr id="9" name="Rechteck: abgerundete Ecken 55">
              <a:extLst>
                <a:ext uri="{FF2B5EF4-FFF2-40B4-BE49-F238E27FC236}">
                  <a16:creationId xmlns:a16="http://schemas.microsoft.com/office/drawing/2014/main" id="{96D51D9B-336E-48CF-BA33-C0944BA27028}"/>
                </a:ext>
              </a:extLst>
            </p:cNvPr>
            <p:cNvSpPr/>
            <p:nvPr/>
          </p:nvSpPr>
          <p:spPr bwMode="gray">
            <a:xfrm>
              <a:off x="2925004" y="2530861"/>
              <a:ext cx="1809754" cy="148084"/>
            </a:xfrm>
            <a:prstGeom prst="roundRect">
              <a:avLst/>
            </a:prstGeom>
            <a:gradFill>
              <a:gsLst>
                <a:gs pos="90000">
                  <a:schemeClr val="accent1">
                    <a:lumMod val="50000"/>
                  </a:schemeClr>
                </a:gs>
                <a:gs pos="9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90%)</a:t>
              </a:r>
            </a:p>
          </p:txBody>
        </p:sp>
        <p:sp>
          <p:nvSpPr>
            <p:cNvPr id="10" name="Rechteck: abgerundete Ecken 56">
              <a:extLst>
                <a:ext uri="{FF2B5EF4-FFF2-40B4-BE49-F238E27FC236}">
                  <a16:creationId xmlns:a16="http://schemas.microsoft.com/office/drawing/2014/main" id="{C03AFB64-469C-4038-8A70-228115285D46}"/>
                </a:ext>
              </a:extLst>
            </p:cNvPr>
            <p:cNvSpPr/>
            <p:nvPr/>
          </p:nvSpPr>
          <p:spPr bwMode="gray">
            <a:xfrm>
              <a:off x="3981086" y="2771220"/>
              <a:ext cx="1809754" cy="148084"/>
            </a:xfrm>
            <a:prstGeom prst="roundRect">
              <a:avLst/>
            </a:prstGeom>
            <a:gradFill>
              <a:gsLst>
                <a:gs pos="80000">
                  <a:schemeClr val="accent1">
                    <a:lumMod val="50000"/>
                  </a:schemeClr>
                </a:gs>
                <a:gs pos="8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80%)</a:t>
              </a:r>
            </a:p>
          </p:txBody>
        </p:sp>
        <p:sp>
          <p:nvSpPr>
            <p:cNvPr id="11" name="Rechteck: abgerundete Ecken 57">
              <a:extLst>
                <a:ext uri="{FF2B5EF4-FFF2-40B4-BE49-F238E27FC236}">
                  <a16:creationId xmlns:a16="http://schemas.microsoft.com/office/drawing/2014/main" id="{CE78A57A-6752-42F8-B0D6-53ED86C34BD9}"/>
                </a:ext>
              </a:extLst>
            </p:cNvPr>
            <p:cNvSpPr/>
            <p:nvPr/>
          </p:nvSpPr>
          <p:spPr bwMode="gray">
            <a:xfrm>
              <a:off x="3981086" y="3011579"/>
              <a:ext cx="1809754" cy="148084"/>
            </a:xfrm>
            <a:prstGeom prst="roundRect">
              <a:avLst/>
            </a:prstGeom>
            <a:gradFill>
              <a:gsLst>
                <a:gs pos="70000">
                  <a:schemeClr val="accent1">
                    <a:lumMod val="50000"/>
                  </a:schemeClr>
                </a:gs>
                <a:gs pos="7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70%)</a:t>
              </a:r>
            </a:p>
          </p:txBody>
        </p:sp>
        <p:sp>
          <p:nvSpPr>
            <p:cNvPr id="12" name="Rechteck: abgerundete Ecken 58">
              <a:extLst>
                <a:ext uri="{FF2B5EF4-FFF2-40B4-BE49-F238E27FC236}">
                  <a16:creationId xmlns:a16="http://schemas.microsoft.com/office/drawing/2014/main" id="{C5DDC58E-6076-4B38-81D3-A14074591C37}"/>
                </a:ext>
              </a:extLst>
            </p:cNvPr>
            <p:cNvSpPr/>
            <p:nvPr/>
          </p:nvSpPr>
          <p:spPr bwMode="gray">
            <a:xfrm>
              <a:off x="6094962" y="3496382"/>
              <a:ext cx="1809754" cy="148084"/>
            </a:xfrm>
            <a:prstGeom prst="roundRect">
              <a:avLst/>
            </a:prstGeom>
            <a:gradFill>
              <a:gsLst>
                <a:gs pos="60000">
                  <a:schemeClr val="accent1">
                    <a:lumMod val="50000"/>
                  </a:schemeClr>
                </a:gs>
                <a:gs pos="6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60%)</a:t>
              </a:r>
            </a:p>
          </p:txBody>
        </p:sp>
        <p:sp>
          <p:nvSpPr>
            <p:cNvPr id="13" name="Rechteck: abgerundete Ecken 59">
              <a:extLst>
                <a:ext uri="{FF2B5EF4-FFF2-40B4-BE49-F238E27FC236}">
                  <a16:creationId xmlns:a16="http://schemas.microsoft.com/office/drawing/2014/main" id="{047006AE-5C34-44EA-B89C-7ACC67670EF6}"/>
                </a:ext>
              </a:extLst>
            </p:cNvPr>
            <p:cNvSpPr/>
            <p:nvPr/>
          </p:nvSpPr>
          <p:spPr bwMode="gray">
            <a:xfrm>
              <a:off x="6094962" y="3736740"/>
              <a:ext cx="1809754" cy="148084"/>
            </a:xfrm>
            <a:prstGeom prst="roundRect">
              <a:avLst/>
            </a:prstGeom>
            <a:gradFill>
              <a:gsLst>
                <a:gs pos="50000">
                  <a:schemeClr val="accent1">
                    <a:lumMod val="50000"/>
                  </a:schemeClr>
                </a:gs>
                <a:gs pos="5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50%)</a:t>
              </a:r>
            </a:p>
          </p:txBody>
        </p:sp>
        <p:sp>
          <p:nvSpPr>
            <p:cNvPr id="14" name="Rechteck: abgerundete Ecken 61">
              <a:extLst>
                <a:ext uri="{FF2B5EF4-FFF2-40B4-BE49-F238E27FC236}">
                  <a16:creationId xmlns:a16="http://schemas.microsoft.com/office/drawing/2014/main" id="{57450FC8-FE33-4588-8C09-6C4936CE0A6A}"/>
                </a:ext>
              </a:extLst>
            </p:cNvPr>
            <p:cNvSpPr/>
            <p:nvPr/>
          </p:nvSpPr>
          <p:spPr bwMode="gray">
            <a:xfrm>
              <a:off x="8218755" y="3978892"/>
              <a:ext cx="1809754" cy="148084"/>
            </a:xfrm>
            <a:prstGeom prst="roundRect">
              <a:avLst/>
            </a:prstGeom>
            <a:gradFill>
              <a:gsLst>
                <a:gs pos="40000">
                  <a:schemeClr val="accent1">
                    <a:lumMod val="50000"/>
                  </a:schemeClr>
                </a:gs>
                <a:gs pos="4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40%)</a:t>
              </a:r>
            </a:p>
          </p:txBody>
        </p:sp>
        <p:sp>
          <p:nvSpPr>
            <p:cNvPr id="15" name="Rechteck: abgerundete Ecken 62">
              <a:extLst>
                <a:ext uri="{FF2B5EF4-FFF2-40B4-BE49-F238E27FC236}">
                  <a16:creationId xmlns:a16="http://schemas.microsoft.com/office/drawing/2014/main" id="{E0C962DF-EF84-40C3-BF2C-0E8C5DA17E94}"/>
                </a:ext>
              </a:extLst>
            </p:cNvPr>
            <p:cNvSpPr/>
            <p:nvPr/>
          </p:nvSpPr>
          <p:spPr bwMode="gray">
            <a:xfrm>
              <a:off x="8218755" y="4219251"/>
              <a:ext cx="1809754" cy="148084"/>
            </a:xfrm>
            <a:prstGeom prst="roundRect">
              <a:avLst/>
            </a:prstGeom>
            <a:gradFill>
              <a:gsLst>
                <a:gs pos="30000">
                  <a:schemeClr val="accent1">
                    <a:lumMod val="50000"/>
                  </a:schemeClr>
                </a:gs>
                <a:gs pos="3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30%)</a:t>
              </a:r>
            </a:p>
          </p:txBody>
        </p:sp>
        <p:sp>
          <p:nvSpPr>
            <p:cNvPr id="16" name="Rechteck: abgerundete Ecken 63">
              <a:extLst>
                <a:ext uri="{FF2B5EF4-FFF2-40B4-BE49-F238E27FC236}">
                  <a16:creationId xmlns:a16="http://schemas.microsoft.com/office/drawing/2014/main" id="{DC01EE9A-959D-41B2-A239-B21CDA1FDA5E}"/>
                </a:ext>
              </a:extLst>
            </p:cNvPr>
            <p:cNvSpPr/>
            <p:nvPr/>
          </p:nvSpPr>
          <p:spPr bwMode="gray">
            <a:xfrm>
              <a:off x="9273863" y="4767427"/>
              <a:ext cx="1809754" cy="148084"/>
            </a:xfrm>
            <a:prstGeom prst="roundRect">
              <a:avLst/>
            </a:prstGeom>
            <a:gradFill>
              <a:gsLst>
                <a:gs pos="20000">
                  <a:schemeClr val="accent1">
                    <a:lumMod val="50000"/>
                  </a:schemeClr>
                </a:gs>
                <a:gs pos="2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20%)</a:t>
              </a:r>
            </a:p>
          </p:txBody>
        </p:sp>
        <p:sp>
          <p:nvSpPr>
            <p:cNvPr id="17" name="Rechteck: abgerundete Ecken 64">
              <a:extLst>
                <a:ext uri="{FF2B5EF4-FFF2-40B4-BE49-F238E27FC236}">
                  <a16:creationId xmlns:a16="http://schemas.microsoft.com/office/drawing/2014/main" id="{6E2FBF13-2E4F-4DE8-9CF0-5C59BEBD224A}"/>
                </a:ext>
              </a:extLst>
            </p:cNvPr>
            <p:cNvSpPr/>
            <p:nvPr/>
          </p:nvSpPr>
          <p:spPr bwMode="gray">
            <a:xfrm>
              <a:off x="9273864" y="5007785"/>
              <a:ext cx="1809754" cy="148084"/>
            </a:xfrm>
            <a:prstGeom prst="roundRect">
              <a:avLst/>
            </a:prstGeom>
            <a:gradFill>
              <a:gsLst>
                <a:gs pos="10000">
                  <a:schemeClr val="accent1">
                    <a:lumMod val="50000"/>
                  </a:schemeClr>
                </a:gs>
                <a:gs pos="1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10%)</a:t>
              </a:r>
            </a:p>
          </p:txBody>
        </p:sp>
      </p:grpSp>
      <p:cxnSp>
        <p:nvCxnSpPr>
          <p:cNvPr id="18" name="Gerader Verbinder 69">
            <a:extLst>
              <a:ext uri="{FF2B5EF4-FFF2-40B4-BE49-F238E27FC236}">
                <a16:creationId xmlns:a16="http://schemas.microsoft.com/office/drawing/2014/main" id="{DF917254-0FF4-4FD0-B61D-A9EB2E2436A4}"/>
              </a:ext>
            </a:extLst>
          </p:cNvPr>
          <p:cNvCxnSpPr>
            <a:cxnSpLocks/>
          </p:cNvCxnSpPr>
          <p:nvPr/>
        </p:nvCxnSpPr>
        <p:spPr>
          <a:xfrm>
            <a:off x="6225894" y="3340285"/>
            <a:ext cx="4081996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70">
            <a:extLst>
              <a:ext uri="{FF2B5EF4-FFF2-40B4-BE49-F238E27FC236}">
                <a16:creationId xmlns:a16="http://schemas.microsoft.com/office/drawing/2014/main" id="{E9AF7E7E-A96D-4AA3-92F2-9D7CB98198B8}"/>
              </a:ext>
            </a:extLst>
          </p:cNvPr>
          <p:cNvCxnSpPr>
            <a:cxnSpLocks/>
          </p:cNvCxnSpPr>
          <p:nvPr/>
        </p:nvCxnSpPr>
        <p:spPr>
          <a:xfrm>
            <a:off x="9523563" y="4589662"/>
            <a:ext cx="1880932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4">
            <a:extLst>
              <a:ext uri="{FF2B5EF4-FFF2-40B4-BE49-F238E27FC236}">
                <a16:creationId xmlns:a16="http://schemas.microsoft.com/office/drawing/2014/main" id="{08568FD8-841C-4A21-9E90-4EF4FFE2C923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5903554" y="3085621"/>
            <a:ext cx="316082" cy="484803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6">
            <a:extLst>
              <a:ext uri="{FF2B5EF4-FFF2-40B4-BE49-F238E27FC236}">
                <a16:creationId xmlns:a16="http://schemas.microsoft.com/office/drawing/2014/main" id="{F8C2917F-1798-4F3B-A261-153044FC256A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>
            <a:off x="8100568" y="3810782"/>
            <a:ext cx="326390" cy="242152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Verbinder: gewinkelt 10">
            <a:extLst>
              <a:ext uri="{FF2B5EF4-FFF2-40B4-BE49-F238E27FC236}">
                <a16:creationId xmlns:a16="http://schemas.microsoft.com/office/drawing/2014/main" id="{AF8BBD6D-6D4C-43AA-A89B-D20762011E9D}"/>
              </a:ext>
            </a:extLst>
          </p:cNvPr>
          <p:cNvCxnSpPr>
            <a:stCxn id="12" idx="3"/>
            <a:endCxn id="14" idx="1"/>
          </p:cNvCxnSpPr>
          <p:nvPr/>
        </p:nvCxnSpPr>
        <p:spPr>
          <a:xfrm>
            <a:off x="8100568" y="3570424"/>
            <a:ext cx="326390" cy="482510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638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E3238-3049-4EC0-89E6-F35C6DEBEF72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PLAN GANTT</a:t>
            </a:r>
            <a:endParaRPr lang="en-US" dirty="0"/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0BA78923-54F1-4FFF-ADE4-1C60A3F345AD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ull year view</a:t>
            </a:r>
            <a:endParaRPr lang="en-US" dirty="0"/>
          </a:p>
        </p:txBody>
      </p:sp>
      <p:graphicFrame>
        <p:nvGraphicFramePr>
          <p:cNvPr id="4" name="Inhaltsplatzhalter 4">
            <a:extLst>
              <a:ext uri="{FF2B5EF4-FFF2-40B4-BE49-F238E27FC236}">
                <a16:creationId xmlns:a16="http://schemas.microsoft.com/office/drawing/2014/main" id="{4EDA51DA-56AD-4739-A6ED-5EF61C52C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7369708"/>
              </p:ext>
            </p:extLst>
          </p:nvPr>
        </p:nvGraphicFramePr>
        <p:xfrm>
          <a:off x="539750" y="1511300"/>
          <a:ext cx="2170035" cy="456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3435801445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2932761103"/>
                    </a:ext>
                  </a:extLst>
                </a:gridCol>
              </a:tblGrid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5564215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423170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457546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78111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201431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24852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1339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040476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641147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959664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09146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82442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50575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83926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9828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416048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4568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726727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3414893"/>
                  </a:ext>
                </a:extLst>
              </a:tr>
            </a:tbl>
          </a:graphicData>
        </a:graphic>
      </p:graphicFrame>
      <p:graphicFrame>
        <p:nvGraphicFramePr>
          <p:cNvPr id="5" name="Inhaltsplatzhalter 5">
            <a:extLst>
              <a:ext uri="{FF2B5EF4-FFF2-40B4-BE49-F238E27FC236}">
                <a16:creationId xmlns:a16="http://schemas.microsoft.com/office/drawing/2014/main" id="{212794B1-A9DD-40A5-A0FD-7CBACEB26B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72967"/>
              </p:ext>
            </p:extLst>
          </p:nvPr>
        </p:nvGraphicFramePr>
        <p:xfrm>
          <a:off x="2790825" y="1511300"/>
          <a:ext cx="8858460" cy="4537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205">
                  <a:extLst>
                    <a:ext uri="{9D8B030D-6E8A-4147-A177-3AD203B41FA5}">
                      <a16:colId xmlns:a16="http://schemas.microsoft.com/office/drawing/2014/main" val="173608602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021820736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18705633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54293807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33546292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61168873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4112249660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04541759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90176962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588994007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41518423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938991648"/>
                    </a:ext>
                  </a:extLst>
                </a:gridCol>
              </a:tblGrid>
              <a:tr h="238831"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28610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43858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402571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758017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04386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42285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00972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157281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73242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262935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137355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00419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892618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74297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717811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53129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75291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06554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357372"/>
                  </a:ext>
                </a:extLst>
              </a:tr>
            </a:tbl>
          </a:graphicData>
        </a:graphic>
      </p:graphicFrame>
      <p:sp>
        <p:nvSpPr>
          <p:cNvPr id="6" name="Rechteck: abgerundete Ecken 10">
            <a:extLst>
              <a:ext uri="{FF2B5EF4-FFF2-40B4-BE49-F238E27FC236}">
                <a16:creationId xmlns:a16="http://schemas.microsoft.com/office/drawing/2014/main" id="{52464437-9320-4F4A-BD56-D0ACE0DBBED2}"/>
              </a:ext>
            </a:extLst>
          </p:cNvPr>
          <p:cNvSpPr/>
          <p:nvPr/>
        </p:nvSpPr>
        <p:spPr bwMode="gray">
          <a:xfrm>
            <a:off x="9839846" y="229924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7" name="Rechteck: abgerundete Ecken 11">
            <a:extLst>
              <a:ext uri="{FF2B5EF4-FFF2-40B4-BE49-F238E27FC236}">
                <a16:creationId xmlns:a16="http://schemas.microsoft.com/office/drawing/2014/main" id="{4F7E1B68-D48E-420E-A67C-79DDD059B44F}"/>
              </a:ext>
            </a:extLst>
          </p:cNvPr>
          <p:cNvSpPr/>
          <p:nvPr/>
        </p:nvSpPr>
        <p:spPr bwMode="gray">
          <a:xfrm>
            <a:off x="9839846" y="253895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8" name="Rechteck: abgerundete Ecken 12">
            <a:extLst>
              <a:ext uri="{FF2B5EF4-FFF2-40B4-BE49-F238E27FC236}">
                <a16:creationId xmlns:a16="http://schemas.microsoft.com/office/drawing/2014/main" id="{0135192B-9739-4053-8968-3FF7C9B3B526}"/>
              </a:ext>
            </a:extLst>
          </p:cNvPr>
          <p:cNvSpPr/>
          <p:nvPr/>
        </p:nvSpPr>
        <p:spPr bwMode="gray">
          <a:xfrm>
            <a:off x="9839846" y="277866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9" name="Rechteck: abgerundete Ecken 13">
            <a:extLst>
              <a:ext uri="{FF2B5EF4-FFF2-40B4-BE49-F238E27FC236}">
                <a16:creationId xmlns:a16="http://schemas.microsoft.com/office/drawing/2014/main" id="{58A6F48E-CC5A-4556-84D5-1C8B63324BB9}"/>
              </a:ext>
            </a:extLst>
          </p:cNvPr>
          <p:cNvSpPr/>
          <p:nvPr/>
        </p:nvSpPr>
        <p:spPr bwMode="gray">
          <a:xfrm>
            <a:off x="9839846" y="301837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0" name="Rechteck: abgerundete Ecken 14">
            <a:extLst>
              <a:ext uri="{FF2B5EF4-FFF2-40B4-BE49-F238E27FC236}">
                <a16:creationId xmlns:a16="http://schemas.microsoft.com/office/drawing/2014/main" id="{3AE6CA57-16C8-4398-ADD7-8DCA3A137F8E}"/>
              </a:ext>
            </a:extLst>
          </p:cNvPr>
          <p:cNvSpPr/>
          <p:nvPr/>
        </p:nvSpPr>
        <p:spPr bwMode="gray">
          <a:xfrm>
            <a:off x="9839846" y="349779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1" name="Rechteck: abgerundete Ecken 15">
            <a:extLst>
              <a:ext uri="{FF2B5EF4-FFF2-40B4-BE49-F238E27FC236}">
                <a16:creationId xmlns:a16="http://schemas.microsoft.com/office/drawing/2014/main" id="{D019B608-6CA5-40D5-8888-A9728E37C647}"/>
              </a:ext>
            </a:extLst>
          </p:cNvPr>
          <p:cNvSpPr/>
          <p:nvPr/>
        </p:nvSpPr>
        <p:spPr bwMode="gray">
          <a:xfrm>
            <a:off x="9839846" y="373750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2" name="Rechteck: abgerundete Ecken 16">
            <a:extLst>
              <a:ext uri="{FF2B5EF4-FFF2-40B4-BE49-F238E27FC236}">
                <a16:creationId xmlns:a16="http://schemas.microsoft.com/office/drawing/2014/main" id="{553B6CDF-C37D-48C6-A7C3-2F72B32F274C}"/>
              </a:ext>
            </a:extLst>
          </p:cNvPr>
          <p:cNvSpPr/>
          <p:nvPr/>
        </p:nvSpPr>
        <p:spPr bwMode="gray">
          <a:xfrm>
            <a:off x="9839846" y="397721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3" name="Rechteck: abgerundete Ecken 17">
            <a:extLst>
              <a:ext uri="{FF2B5EF4-FFF2-40B4-BE49-F238E27FC236}">
                <a16:creationId xmlns:a16="http://schemas.microsoft.com/office/drawing/2014/main" id="{8CD37596-20AC-438E-862B-5EA2AEA117BC}"/>
              </a:ext>
            </a:extLst>
          </p:cNvPr>
          <p:cNvSpPr/>
          <p:nvPr/>
        </p:nvSpPr>
        <p:spPr bwMode="gray">
          <a:xfrm>
            <a:off x="9839846" y="421692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Rechteck: abgerundete Ecken 19">
            <a:extLst>
              <a:ext uri="{FF2B5EF4-FFF2-40B4-BE49-F238E27FC236}">
                <a16:creationId xmlns:a16="http://schemas.microsoft.com/office/drawing/2014/main" id="{DA939DC0-DC43-4206-96B6-BFE1E3CBBBF8}"/>
              </a:ext>
            </a:extLst>
          </p:cNvPr>
          <p:cNvSpPr/>
          <p:nvPr/>
        </p:nvSpPr>
        <p:spPr bwMode="gray">
          <a:xfrm>
            <a:off x="9839846" y="4696349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5" name="Rechteck: abgerundete Ecken 20">
            <a:extLst>
              <a:ext uri="{FF2B5EF4-FFF2-40B4-BE49-F238E27FC236}">
                <a16:creationId xmlns:a16="http://schemas.microsoft.com/office/drawing/2014/main" id="{5B1EF967-90BB-449C-8B55-4EB24BF3DEDB}"/>
              </a:ext>
            </a:extLst>
          </p:cNvPr>
          <p:cNvSpPr/>
          <p:nvPr/>
        </p:nvSpPr>
        <p:spPr bwMode="gray">
          <a:xfrm>
            <a:off x="9839846" y="4938786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6" name="Rechteck: abgerundete Ecken 21">
            <a:extLst>
              <a:ext uri="{FF2B5EF4-FFF2-40B4-BE49-F238E27FC236}">
                <a16:creationId xmlns:a16="http://schemas.microsoft.com/office/drawing/2014/main" id="{527E362F-47E6-4705-88F3-C9A4DBBE690C}"/>
              </a:ext>
            </a:extLst>
          </p:cNvPr>
          <p:cNvSpPr/>
          <p:nvPr/>
        </p:nvSpPr>
        <p:spPr bwMode="gray">
          <a:xfrm>
            <a:off x="9839846" y="5181224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7" name="Rechteck: abgerundete Ecken 22">
            <a:extLst>
              <a:ext uri="{FF2B5EF4-FFF2-40B4-BE49-F238E27FC236}">
                <a16:creationId xmlns:a16="http://schemas.microsoft.com/office/drawing/2014/main" id="{6F45B97F-39DE-4F88-8792-C79877ECCEBA}"/>
              </a:ext>
            </a:extLst>
          </p:cNvPr>
          <p:cNvSpPr/>
          <p:nvPr/>
        </p:nvSpPr>
        <p:spPr bwMode="gray">
          <a:xfrm>
            <a:off x="9839846" y="5423661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8" name="Rechteck: abgerundete Ecken 23">
            <a:extLst>
              <a:ext uri="{FF2B5EF4-FFF2-40B4-BE49-F238E27FC236}">
                <a16:creationId xmlns:a16="http://schemas.microsoft.com/office/drawing/2014/main" id="{67EB6B15-8C18-4AEB-8620-93498459DC14}"/>
              </a:ext>
            </a:extLst>
          </p:cNvPr>
          <p:cNvSpPr/>
          <p:nvPr/>
        </p:nvSpPr>
        <p:spPr bwMode="gray">
          <a:xfrm>
            <a:off x="9839846" y="5666099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9" name="Rechteck: abgerundete Ecken 24">
            <a:extLst>
              <a:ext uri="{FF2B5EF4-FFF2-40B4-BE49-F238E27FC236}">
                <a16:creationId xmlns:a16="http://schemas.microsoft.com/office/drawing/2014/main" id="{AC4EF25D-C410-4065-B538-53F65583BD0C}"/>
              </a:ext>
            </a:extLst>
          </p:cNvPr>
          <p:cNvSpPr/>
          <p:nvPr/>
        </p:nvSpPr>
        <p:spPr bwMode="gray">
          <a:xfrm>
            <a:off x="9839846" y="5908535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346768A4-479B-4C1C-8BD1-7944068D9F62}"/>
              </a:ext>
            </a:extLst>
          </p:cNvPr>
          <p:cNvCxnSpPr/>
          <p:nvPr/>
        </p:nvCxnSpPr>
        <p:spPr>
          <a:xfrm>
            <a:off x="9848096" y="2164810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6">
            <a:extLst>
              <a:ext uri="{FF2B5EF4-FFF2-40B4-BE49-F238E27FC236}">
                <a16:creationId xmlns:a16="http://schemas.microsoft.com/office/drawing/2014/main" id="{55033175-60D0-4FC8-AA61-7A3EC3002D04}"/>
              </a:ext>
            </a:extLst>
          </p:cNvPr>
          <p:cNvCxnSpPr/>
          <p:nvPr/>
        </p:nvCxnSpPr>
        <p:spPr>
          <a:xfrm>
            <a:off x="9848096" y="3349949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7">
            <a:extLst>
              <a:ext uri="{FF2B5EF4-FFF2-40B4-BE49-F238E27FC236}">
                <a16:creationId xmlns:a16="http://schemas.microsoft.com/office/drawing/2014/main" id="{154F2B82-A905-4BD3-B9BD-DC6BB2F984A4}"/>
              </a:ext>
            </a:extLst>
          </p:cNvPr>
          <p:cNvCxnSpPr/>
          <p:nvPr/>
        </p:nvCxnSpPr>
        <p:spPr>
          <a:xfrm>
            <a:off x="9848096" y="4558951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: abgerundete Ecken 28">
            <a:extLst>
              <a:ext uri="{FF2B5EF4-FFF2-40B4-BE49-F238E27FC236}">
                <a16:creationId xmlns:a16="http://schemas.microsoft.com/office/drawing/2014/main" id="{CF93312D-1A49-4E58-B8C1-60907D1436BB}"/>
              </a:ext>
            </a:extLst>
          </p:cNvPr>
          <p:cNvSpPr/>
          <p:nvPr/>
        </p:nvSpPr>
        <p:spPr bwMode="gray">
          <a:xfrm>
            <a:off x="3148101" y="229924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24" name="Rechteck: abgerundete Ecken 29">
            <a:extLst>
              <a:ext uri="{FF2B5EF4-FFF2-40B4-BE49-F238E27FC236}">
                <a16:creationId xmlns:a16="http://schemas.microsoft.com/office/drawing/2014/main" id="{7E975E65-DA64-4326-AD5B-FC153ABE2BFC}"/>
              </a:ext>
            </a:extLst>
          </p:cNvPr>
          <p:cNvSpPr/>
          <p:nvPr/>
        </p:nvSpPr>
        <p:spPr bwMode="gray">
          <a:xfrm>
            <a:off x="4197582" y="253895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5" name="Rechteck: abgerundete Ecken 30">
            <a:extLst>
              <a:ext uri="{FF2B5EF4-FFF2-40B4-BE49-F238E27FC236}">
                <a16:creationId xmlns:a16="http://schemas.microsoft.com/office/drawing/2014/main" id="{877E7462-C8EA-4708-9AAD-3F2C08172901}"/>
              </a:ext>
            </a:extLst>
          </p:cNvPr>
          <p:cNvSpPr/>
          <p:nvPr/>
        </p:nvSpPr>
        <p:spPr bwMode="gray">
          <a:xfrm>
            <a:off x="5102459" y="277866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6" name="Rechteck: abgerundete Ecken 31">
            <a:extLst>
              <a:ext uri="{FF2B5EF4-FFF2-40B4-BE49-F238E27FC236}">
                <a16:creationId xmlns:a16="http://schemas.microsoft.com/office/drawing/2014/main" id="{4D017827-5B51-428A-BB5D-B3AEE74AB158}"/>
              </a:ext>
            </a:extLst>
          </p:cNvPr>
          <p:cNvSpPr/>
          <p:nvPr/>
        </p:nvSpPr>
        <p:spPr bwMode="gray">
          <a:xfrm>
            <a:off x="5839347" y="3018376"/>
            <a:ext cx="1072866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7" name="Gerader Verbinder 32">
            <a:extLst>
              <a:ext uri="{FF2B5EF4-FFF2-40B4-BE49-F238E27FC236}">
                <a16:creationId xmlns:a16="http://schemas.microsoft.com/office/drawing/2014/main" id="{F6133BC6-1062-4F85-977C-BADCB68358D7}"/>
              </a:ext>
            </a:extLst>
          </p:cNvPr>
          <p:cNvCxnSpPr>
            <a:cxnSpLocks/>
          </p:cNvCxnSpPr>
          <p:nvPr/>
        </p:nvCxnSpPr>
        <p:spPr>
          <a:xfrm>
            <a:off x="3189112" y="2164810"/>
            <a:ext cx="3723101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3">
            <a:extLst>
              <a:ext uri="{FF2B5EF4-FFF2-40B4-BE49-F238E27FC236}">
                <a16:creationId xmlns:a16="http://schemas.microsoft.com/office/drawing/2014/main" id="{A500E96B-0C0B-45DC-8821-A6CA2CADC86A}"/>
              </a:ext>
            </a:extLst>
          </p:cNvPr>
          <p:cNvCxnSpPr/>
          <p:nvPr/>
        </p:nvCxnSpPr>
        <p:spPr>
          <a:xfrm>
            <a:off x="6911259" y="3349949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: abgerundete Ecken 34">
            <a:extLst>
              <a:ext uri="{FF2B5EF4-FFF2-40B4-BE49-F238E27FC236}">
                <a16:creationId xmlns:a16="http://schemas.microsoft.com/office/drawing/2014/main" id="{860B6829-7FCE-4C4E-82F4-E5BE4F508DB9}"/>
              </a:ext>
            </a:extLst>
          </p:cNvPr>
          <p:cNvSpPr/>
          <p:nvPr/>
        </p:nvSpPr>
        <p:spPr bwMode="gray">
          <a:xfrm>
            <a:off x="6881493" y="3497797"/>
            <a:ext cx="88924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30" name="Rechteck: abgerundete Ecken 35">
            <a:extLst>
              <a:ext uri="{FF2B5EF4-FFF2-40B4-BE49-F238E27FC236}">
                <a16:creationId xmlns:a16="http://schemas.microsoft.com/office/drawing/2014/main" id="{9BD9B49D-5121-4FB7-884E-989D76DBE6E7}"/>
              </a:ext>
            </a:extLst>
          </p:cNvPr>
          <p:cNvSpPr/>
          <p:nvPr/>
        </p:nvSpPr>
        <p:spPr bwMode="gray">
          <a:xfrm>
            <a:off x="7288598" y="3737507"/>
            <a:ext cx="1459715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733374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8A8AB578-43DE-452A-8202-948919BF9A33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D261FE1C-1388-4E46-92F1-1BC814495FCE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 years view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24" name="Inhaltsplatzhalter 21">
            <a:extLst>
              <a:ext uri="{FF2B5EF4-FFF2-40B4-BE49-F238E27FC236}">
                <a16:creationId xmlns:a16="http://schemas.microsoft.com/office/drawing/2014/main" id="{D5ACFADA-9D93-43DF-86C5-2BE87DF601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9494745"/>
              </p:ext>
            </p:extLst>
          </p:nvPr>
        </p:nvGraphicFramePr>
        <p:xfrm>
          <a:off x="539750" y="1511300"/>
          <a:ext cx="2170035" cy="4565795"/>
        </p:xfrm>
        <a:graphic>
          <a:graphicData uri="http://schemas.openxmlformats.org/drawingml/2006/table">
            <a:tbl>
              <a:tblPr firstRow="1" bandRow="1"/>
              <a:tblGrid>
                <a:gridCol w="1543130">
                  <a:extLst>
                    <a:ext uri="{9D8B030D-6E8A-4147-A177-3AD203B41FA5}">
                      <a16:colId xmlns:a16="http://schemas.microsoft.com/office/drawing/2014/main" val="2999624672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99646318"/>
                    </a:ext>
                  </a:extLst>
                </a:gridCol>
              </a:tblGrid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9782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13964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3873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57043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05370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20946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580116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67796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03794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92936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076096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3782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24256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7999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719892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22003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58649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13378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081386"/>
                  </a:ext>
                </a:extLst>
              </a:tr>
            </a:tbl>
          </a:graphicData>
        </a:graphic>
      </p:graphicFrame>
      <p:graphicFrame>
        <p:nvGraphicFramePr>
          <p:cNvPr id="25" name="Inhaltsplatzhalter 23">
            <a:extLst>
              <a:ext uri="{FF2B5EF4-FFF2-40B4-BE49-F238E27FC236}">
                <a16:creationId xmlns:a16="http://schemas.microsoft.com/office/drawing/2014/main" id="{8B106028-6D35-4C5B-8F24-14C675466C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0139896"/>
              </p:ext>
            </p:extLst>
          </p:nvPr>
        </p:nvGraphicFramePr>
        <p:xfrm>
          <a:off x="2790825" y="1511300"/>
          <a:ext cx="8858592" cy="4537789"/>
        </p:xfrm>
        <a:graphic>
          <a:graphicData uri="http://schemas.openxmlformats.org/drawingml/2006/table">
            <a:tbl>
              <a:tblPr firstRow="1" bandRow="1"/>
              <a:tblGrid>
                <a:gridCol w="246072">
                  <a:extLst>
                    <a:ext uri="{9D8B030D-6E8A-4147-A177-3AD203B41FA5}">
                      <a16:colId xmlns:a16="http://schemas.microsoft.com/office/drawing/2014/main" val="225306142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72562927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7028433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90236431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9528459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62222491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53424860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30524912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3755969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6135113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49572383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40376250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77233209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50710638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318043707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60120793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07510825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2435135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59572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61851303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15439291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68731959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98568844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1361138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6686876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45274969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69797995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5873475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452196387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51636781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09585005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05145070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12891928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3610485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3152441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21574810"/>
                    </a:ext>
                  </a:extLst>
                </a:gridCol>
              </a:tblGrid>
              <a:tr h="238831"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1000" b="0" i="0" u="none" strike="noStrike" kern="1200" noProof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91717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198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65939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29561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952975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43409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96246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8490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462025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21119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74040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9779939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017388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85316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848958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932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3131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22103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2946044"/>
                  </a:ext>
                </a:extLst>
              </a:tr>
            </a:tbl>
          </a:graphicData>
        </a:graphic>
      </p:graphicFrame>
      <p:cxnSp>
        <p:nvCxnSpPr>
          <p:cNvPr id="26" name="Gerader Verbinder 5">
            <a:extLst>
              <a:ext uri="{FF2B5EF4-FFF2-40B4-BE49-F238E27FC236}">
                <a16:creationId xmlns:a16="http://schemas.microsoft.com/office/drawing/2014/main" id="{E02162DA-132A-4E72-AD1F-478BECABF790}"/>
              </a:ext>
            </a:extLst>
          </p:cNvPr>
          <p:cNvCxnSpPr>
            <a:cxnSpLocks/>
          </p:cNvCxnSpPr>
          <p:nvPr/>
        </p:nvCxnSpPr>
        <p:spPr>
          <a:xfrm>
            <a:off x="2926080" y="2127123"/>
            <a:ext cx="2977474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27" name="Rechteck: abgerundete Ecken 7">
            <a:extLst>
              <a:ext uri="{FF2B5EF4-FFF2-40B4-BE49-F238E27FC236}">
                <a16:creationId xmlns:a16="http://schemas.microsoft.com/office/drawing/2014/main" id="{0C199DF2-2C7D-4FC3-8D70-7751782BB996}"/>
              </a:ext>
            </a:extLst>
          </p:cNvPr>
          <p:cNvSpPr/>
          <p:nvPr/>
        </p:nvSpPr>
        <p:spPr bwMode="gray">
          <a:xfrm>
            <a:off x="2925004" y="2290502"/>
            <a:ext cx="1880932" cy="148084"/>
          </a:xfrm>
          <a:prstGeom prst="roundRect">
            <a:avLst/>
          </a:prstGeom>
          <a:gradFill>
            <a:gsLst>
              <a:gs pos="100000">
                <a:srgbClr val="45B1CB">
                  <a:lumMod val="50000"/>
                </a:srgbClr>
              </a:gs>
              <a:gs pos="10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100%)</a:t>
            </a:r>
          </a:p>
        </p:txBody>
      </p:sp>
      <p:sp>
        <p:nvSpPr>
          <p:cNvPr id="28" name="Rechteck: abgerundete Ecken 9">
            <a:extLst>
              <a:ext uri="{FF2B5EF4-FFF2-40B4-BE49-F238E27FC236}">
                <a16:creationId xmlns:a16="http://schemas.microsoft.com/office/drawing/2014/main" id="{7A7AEDC7-F903-4C51-B86E-A4C2EDDD0F61}"/>
              </a:ext>
            </a:extLst>
          </p:cNvPr>
          <p:cNvSpPr/>
          <p:nvPr/>
        </p:nvSpPr>
        <p:spPr bwMode="gray">
          <a:xfrm>
            <a:off x="2925004" y="2530861"/>
            <a:ext cx="1880932" cy="148084"/>
          </a:xfrm>
          <a:prstGeom prst="roundRect">
            <a:avLst/>
          </a:prstGeom>
          <a:gradFill>
            <a:gsLst>
              <a:gs pos="90000">
                <a:srgbClr val="45B1CB">
                  <a:lumMod val="50000"/>
                </a:srgbClr>
              </a:gs>
              <a:gs pos="9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90%)</a:t>
            </a:r>
          </a:p>
        </p:txBody>
      </p:sp>
      <p:sp>
        <p:nvSpPr>
          <p:cNvPr id="29" name="Rechteck: abgerundete Ecken 10">
            <a:extLst>
              <a:ext uri="{FF2B5EF4-FFF2-40B4-BE49-F238E27FC236}">
                <a16:creationId xmlns:a16="http://schemas.microsoft.com/office/drawing/2014/main" id="{E3728B44-D22B-43C4-AF7F-54BAFFAFC38A}"/>
              </a:ext>
            </a:extLst>
          </p:cNvPr>
          <p:cNvSpPr/>
          <p:nvPr/>
        </p:nvSpPr>
        <p:spPr bwMode="gray">
          <a:xfrm>
            <a:off x="4022622" y="2771220"/>
            <a:ext cx="1880932" cy="148084"/>
          </a:xfrm>
          <a:prstGeom prst="roundRect">
            <a:avLst/>
          </a:prstGeom>
          <a:gradFill>
            <a:gsLst>
              <a:gs pos="80000">
                <a:srgbClr val="45B1CB">
                  <a:lumMod val="50000"/>
                </a:srgbClr>
              </a:gs>
              <a:gs pos="8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80%)</a:t>
            </a:r>
          </a:p>
        </p:txBody>
      </p:sp>
      <p:sp>
        <p:nvSpPr>
          <p:cNvPr id="30" name="Rechteck: abgerundete Ecken 11">
            <a:extLst>
              <a:ext uri="{FF2B5EF4-FFF2-40B4-BE49-F238E27FC236}">
                <a16:creationId xmlns:a16="http://schemas.microsoft.com/office/drawing/2014/main" id="{91ED10EA-E0C6-4249-8361-4052206A3232}"/>
              </a:ext>
            </a:extLst>
          </p:cNvPr>
          <p:cNvSpPr/>
          <p:nvPr/>
        </p:nvSpPr>
        <p:spPr bwMode="gray">
          <a:xfrm>
            <a:off x="4022622" y="3011579"/>
            <a:ext cx="1880932" cy="148084"/>
          </a:xfrm>
          <a:prstGeom prst="roundRect">
            <a:avLst/>
          </a:prstGeom>
          <a:gradFill>
            <a:gsLst>
              <a:gs pos="70000">
                <a:srgbClr val="45B1CB">
                  <a:lumMod val="50000"/>
                </a:srgbClr>
              </a:gs>
              <a:gs pos="7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70%)</a:t>
            </a:r>
          </a:p>
        </p:txBody>
      </p:sp>
      <p:sp>
        <p:nvSpPr>
          <p:cNvPr id="31" name="Rechteck: abgerundete Ecken 12">
            <a:extLst>
              <a:ext uri="{FF2B5EF4-FFF2-40B4-BE49-F238E27FC236}">
                <a16:creationId xmlns:a16="http://schemas.microsoft.com/office/drawing/2014/main" id="{4308EDA3-AD24-44EE-8837-2DAAF2E90DE7}"/>
              </a:ext>
            </a:extLst>
          </p:cNvPr>
          <p:cNvSpPr/>
          <p:nvPr/>
        </p:nvSpPr>
        <p:spPr bwMode="gray">
          <a:xfrm>
            <a:off x="6219636" y="3496382"/>
            <a:ext cx="1880932" cy="148084"/>
          </a:xfrm>
          <a:prstGeom prst="roundRect">
            <a:avLst/>
          </a:prstGeom>
          <a:gradFill>
            <a:gsLst>
              <a:gs pos="60000">
                <a:srgbClr val="45B1CB">
                  <a:lumMod val="50000"/>
                </a:srgbClr>
              </a:gs>
              <a:gs pos="6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60%)</a:t>
            </a:r>
          </a:p>
        </p:txBody>
      </p:sp>
      <p:sp>
        <p:nvSpPr>
          <p:cNvPr id="32" name="Rechteck: abgerundete Ecken 13">
            <a:extLst>
              <a:ext uri="{FF2B5EF4-FFF2-40B4-BE49-F238E27FC236}">
                <a16:creationId xmlns:a16="http://schemas.microsoft.com/office/drawing/2014/main" id="{7A407063-61B8-4811-8C17-7691369799D6}"/>
              </a:ext>
            </a:extLst>
          </p:cNvPr>
          <p:cNvSpPr/>
          <p:nvPr/>
        </p:nvSpPr>
        <p:spPr bwMode="gray">
          <a:xfrm>
            <a:off x="6219636" y="3736740"/>
            <a:ext cx="1880932" cy="148084"/>
          </a:xfrm>
          <a:prstGeom prst="roundRect">
            <a:avLst/>
          </a:prstGeom>
          <a:gradFill>
            <a:gsLst>
              <a:gs pos="50000">
                <a:srgbClr val="45B1CB">
                  <a:lumMod val="50000"/>
                </a:srgbClr>
              </a:gs>
              <a:gs pos="5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50%)</a:t>
            </a:r>
          </a:p>
        </p:txBody>
      </p:sp>
      <p:sp>
        <p:nvSpPr>
          <p:cNvPr id="33" name="Rechteck: abgerundete Ecken 14">
            <a:extLst>
              <a:ext uri="{FF2B5EF4-FFF2-40B4-BE49-F238E27FC236}">
                <a16:creationId xmlns:a16="http://schemas.microsoft.com/office/drawing/2014/main" id="{6C682B70-B625-4A4B-8423-BBAD70DF41D4}"/>
              </a:ext>
            </a:extLst>
          </p:cNvPr>
          <p:cNvSpPr/>
          <p:nvPr/>
        </p:nvSpPr>
        <p:spPr bwMode="gray">
          <a:xfrm>
            <a:off x="8426958" y="3978892"/>
            <a:ext cx="1880932" cy="148084"/>
          </a:xfrm>
          <a:prstGeom prst="roundRect">
            <a:avLst/>
          </a:prstGeom>
          <a:gradFill>
            <a:gsLst>
              <a:gs pos="40000">
                <a:srgbClr val="45B1CB">
                  <a:lumMod val="50000"/>
                </a:srgbClr>
              </a:gs>
              <a:gs pos="4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40%)</a:t>
            </a:r>
          </a:p>
        </p:txBody>
      </p:sp>
      <p:sp>
        <p:nvSpPr>
          <p:cNvPr id="34" name="Rechteck: abgerundete Ecken 15">
            <a:extLst>
              <a:ext uri="{FF2B5EF4-FFF2-40B4-BE49-F238E27FC236}">
                <a16:creationId xmlns:a16="http://schemas.microsoft.com/office/drawing/2014/main" id="{ED6AB066-B703-4B23-96CA-CFBC4A5CAD36}"/>
              </a:ext>
            </a:extLst>
          </p:cNvPr>
          <p:cNvSpPr/>
          <p:nvPr/>
        </p:nvSpPr>
        <p:spPr bwMode="gray">
          <a:xfrm>
            <a:off x="8426958" y="4219251"/>
            <a:ext cx="1880932" cy="148084"/>
          </a:xfrm>
          <a:prstGeom prst="roundRect">
            <a:avLst/>
          </a:prstGeom>
          <a:gradFill>
            <a:gsLst>
              <a:gs pos="30000">
                <a:srgbClr val="45B1CB">
                  <a:lumMod val="50000"/>
                </a:srgbClr>
              </a:gs>
              <a:gs pos="3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30%)</a:t>
            </a:r>
          </a:p>
        </p:txBody>
      </p:sp>
      <p:sp>
        <p:nvSpPr>
          <p:cNvPr id="35" name="Rechteck: abgerundete Ecken 16">
            <a:extLst>
              <a:ext uri="{FF2B5EF4-FFF2-40B4-BE49-F238E27FC236}">
                <a16:creationId xmlns:a16="http://schemas.microsoft.com/office/drawing/2014/main" id="{1AC886EF-D0F3-493F-9C2A-ACA878AF1A3F}"/>
              </a:ext>
            </a:extLst>
          </p:cNvPr>
          <p:cNvSpPr/>
          <p:nvPr/>
        </p:nvSpPr>
        <p:spPr bwMode="gray">
          <a:xfrm>
            <a:off x="9523563" y="4767427"/>
            <a:ext cx="1880932" cy="148084"/>
          </a:xfrm>
          <a:prstGeom prst="roundRect">
            <a:avLst/>
          </a:prstGeom>
          <a:gradFill>
            <a:gsLst>
              <a:gs pos="20000">
                <a:srgbClr val="45B1CB">
                  <a:lumMod val="50000"/>
                </a:srgbClr>
              </a:gs>
              <a:gs pos="2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20%)</a:t>
            </a:r>
          </a:p>
        </p:txBody>
      </p:sp>
      <p:sp>
        <p:nvSpPr>
          <p:cNvPr id="36" name="Rechteck: abgerundete Ecken 17">
            <a:extLst>
              <a:ext uri="{FF2B5EF4-FFF2-40B4-BE49-F238E27FC236}">
                <a16:creationId xmlns:a16="http://schemas.microsoft.com/office/drawing/2014/main" id="{72CA138A-AC80-4DE6-B06C-A7B6B2315A5B}"/>
              </a:ext>
            </a:extLst>
          </p:cNvPr>
          <p:cNvSpPr/>
          <p:nvPr/>
        </p:nvSpPr>
        <p:spPr bwMode="gray">
          <a:xfrm>
            <a:off x="9523564" y="5007785"/>
            <a:ext cx="1880932" cy="148084"/>
          </a:xfrm>
          <a:prstGeom prst="roundRect">
            <a:avLst/>
          </a:prstGeom>
          <a:gradFill>
            <a:gsLst>
              <a:gs pos="10000">
                <a:srgbClr val="45B1CB">
                  <a:lumMod val="50000"/>
                </a:srgbClr>
              </a:gs>
              <a:gs pos="1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10%)</a:t>
            </a:r>
          </a:p>
        </p:txBody>
      </p:sp>
      <p:cxnSp>
        <p:nvCxnSpPr>
          <p:cNvPr id="37" name="Gerader Verbinder 19">
            <a:extLst>
              <a:ext uri="{FF2B5EF4-FFF2-40B4-BE49-F238E27FC236}">
                <a16:creationId xmlns:a16="http://schemas.microsoft.com/office/drawing/2014/main" id="{FEE5EB80-B747-468B-BFF7-AC82FEA57EFA}"/>
              </a:ext>
            </a:extLst>
          </p:cNvPr>
          <p:cNvCxnSpPr>
            <a:cxnSpLocks/>
          </p:cNvCxnSpPr>
          <p:nvPr/>
        </p:nvCxnSpPr>
        <p:spPr>
          <a:xfrm>
            <a:off x="6225894" y="3340285"/>
            <a:ext cx="4081996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cxnSp>
        <p:nvCxnSpPr>
          <p:cNvPr id="38" name="Gerader Verbinder 20">
            <a:extLst>
              <a:ext uri="{FF2B5EF4-FFF2-40B4-BE49-F238E27FC236}">
                <a16:creationId xmlns:a16="http://schemas.microsoft.com/office/drawing/2014/main" id="{C98F3ACD-DC75-4F4B-AACD-945FBABB8238}"/>
              </a:ext>
            </a:extLst>
          </p:cNvPr>
          <p:cNvCxnSpPr>
            <a:cxnSpLocks/>
          </p:cNvCxnSpPr>
          <p:nvPr/>
        </p:nvCxnSpPr>
        <p:spPr>
          <a:xfrm>
            <a:off x="9523563" y="4589662"/>
            <a:ext cx="1880932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cxnSp>
        <p:nvCxnSpPr>
          <p:cNvPr id="39" name="Verbinder: gewinkelt 3">
            <a:extLst>
              <a:ext uri="{FF2B5EF4-FFF2-40B4-BE49-F238E27FC236}">
                <a16:creationId xmlns:a16="http://schemas.microsoft.com/office/drawing/2014/main" id="{45D92FA6-6077-4BEF-8D7A-9705D21BBF7F}"/>
              </a:ext>
            </a:extLst>
          </p:cNvPr>
          <p:cNvCxnSpPr>
            <a:cxnSpLocks/>
            <a:stCxn id="31" idx="3"/>
            <a:endCxn id="34" idx="1"/>
          </p:cNvCxnSpPr>
          <p:nvPr/>
        </p:nvCxnSpPr>
        <p:spPr>
          <a:xfrm>
            <a:off x="8100568" y="3570424"/>
            <a:ext cx="326390" cy="722869"/>
          </a:xfrm>
          <a:prstGeom prst="bentConnector3">
            <a:avLst>
              <a:gd name="adj1" fmla="val 30340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  <p:cxnSp>
        <p:nvCxnSpPr>
          <p:cNvPr id="40" name="Verbinder: gewinkelt 22">
            <a:extLst>
              <a:ext uri="{FF2B5EF4-FFF2-40B4-BE49-F238E27FC236}">
                <a16:creationId xmlns:a16="http://schemas.microsoft.com/office/drawing/2014/main" id="{59CD6C58-4571-431D-8D95-FC93176A6EF2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H="1">
            <a:off x="9523563" y="4293293"/>
            <a:ext cx="784327" cy="548176"/>
          </a:xfrm>
          <a:prstGeom prst="bentConnector5">
            <a:avLst>
              <a:gd name="adj1" fmla="val -10738"/>
              <a:gd name="adj2" fmla="val 30490"/>
              <a:gd name="adj3" fmla="val 112101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  <p:cxnSp>
        <p:nvCxnSpPr>
          <p:cNvPr id="41" name="Verbinder: gewinkelt 30">
            <a:extLst>
              <a:ext uri="{FF2B5EF4-FFF2-40B4-BE49-F238E27FC236}">
                <a16:creationId xmlns:a16="http://schemas.microsoft.com/office/drawing/2014/main" id="{893FDF07-B839-4895-BA45-C54D62D06017}"/>
              </a:ext>
            </a:extLst>
          </p:cNvPr>
          <p:cNvCxnSpPr>
            <a:stCxn id="29" idx="3"/>
            <a:endCxn id="31" idx="1"/>
          </p:cNvCxnSpPr>
          <p:nvPr/>
        </p:nvCxnSpPr>
        <p:spPr>
          <a:xfrm>
            <a:off x="5903554" y="2845262"/>
            <a:ext cx="316082" cy="725162"/>
          </a:xfrm>
          <a:prstGeom prst="bentConnector3">
            <a:avLst>
              <a:gd name="adj1" fmla="val 34774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4213034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3">
            <a:extLst>
              <a:ext uri="{FF2B5EF4-FFF2-40B4-BE49-F238E27FC236}">
                <a16:creationId xmlns:a16="http://schemas.microsoft.com/office/drawing/2014/main" id="{14B863D5-12A1-4B67-B354-B3D0B6A76C5E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 &amp;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AC763E7E-AF54-4384-903C-1D061A321DE7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50" name="Inhaltsplatzhalter 8">
            <a:extLst>
              <a:ext uri="{FF2B5EF4-FFF2-40B4-BE49-F238E27FC236}">
                <a16:creationId xmlns:a16="http://schemas.microsoft.com/office/drawing/2014/main" id="{985A67B3-F465-4AE9-955A-1D513877AEB5}"/>
              </a:ext>
            </a:extLst>
          </p:cNvPr>
          <p:cNvGraphicFramePr>
            <a:graphicFrameLocks/>
          </p:cNvGraphicFramePr>
          <p:nvPr/>
        </p:nvGraphicFramePr>
        <p:xfrm>
          <a:off x="539750" y="1511300"/>
          <a:ext cx="11109528" cy="4612354"/>
        </p:xfrm>
        <a:graphic>
          <a:graphicData uri="http://schemas.openxmlformats.org/drawingml/2006/table">
            <a:tbl>
              <a:tblPr firstRow="1" bandRow="1"/>
              <a:tblGrid>
                <a:gridCol w="925794">
                  <a:extLst>
                    <a:ext uri="{9D8B030D-6E8A-4147-A177-3AD203B41FA5}">
                      <a16:colId xmlns:a16="http://schemas.microsoft.com/office/drawing/2014/main" val="225127080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46882887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805621897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4857618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382626491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211016290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01528230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233539131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2233229983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412892776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86652367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615573497"/>
                    </a:ext>
                  </a:extLst>
                </a:gridCol>
              </a:tblGrid>
              <a:tr h="43076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447477"/>
                  </a:ext>
                </a:extLst>
              </a:tr>
              <a:tr h="3047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578" marR="7344" marT="7315" marB="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92515"/>
                  </a:ext>
                </a:extLst>
              </a:tr>
            </a:tbl>
          </a:graphicData>
        </a:graphic>
      </p:graphicFrame>
      <p:sp>
        <p:nvSpPr>
          <p:cNvPr id="51" name="Gleichschenkliges Dreieck 77">
            <a:extLst>
              <a:ext uri="{FF2B5EF4-FFF2-40B4-BE49-F238E27FC236}">
                <a16:creationId xmlns:a16="http://schemas.microsoft.com/office/drawing/2014/main" id="{D1E64DCC-C43E-4445-ADEC-E9974312AB28}"/>
              </a:ext>
            </a:extLst>
          </p:cNvPr>
          <p:cNvSpPr/>
          <p:nvPr/>
        </p:nvSpPr>
        <p:spPr bwMode="gray">
          <a:xfrm rot="10800000">
            <a:off x="1309861" y="5557348"/>
            <a:ext cx="312561" cy="220133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grpSp>
        <p:nvGrpSpPr>
          <p:cNvPr id="52" name="Gruppieren 6">
            <a:extLst>
              <a:ext uri="{FF2B5EF4-FFF2-40B4-BE49-F238E27FC236}">
                <a16:creationId xmlns:a16="http://schemas.microsoft.com/office/drawing/2014/main" id="{761DBC1A-8CFA-4B34-B1DF-55249BE2F2EB}"/>
              </a:ext>
            </a:extLst>
          </p:cNvPr>
          <p:cNvGrpSpPr/>
          <p:nvPr/>
        </p:nvGrpSpPr>
        <p:grpSpPr>
          <a:xfrm>
            <a:off x="2622164" y="6042710"/>
            <a:ext cx="1553303" cy="598645"/>
            <a:chOff x="2611406" y="6042710"/>
            <a:chExt cx="1553303" cy="598645"/>
          </a:xfrm>
        </p:grpSpPr>
        <p:sp>
          <p:nvSpPr>
            <p:cNvPr id="53" name="Text Box 57">
              <a:extLst>
                <a:ext uri="{FF2B5EF4-FFF2-40B4-BE49-F238E27FC236}">
                  <a16:creationId xmlns:a16="http://schemas.microsoft.com/office/drawing/2014/main" id="{F516009A-905E-4F63-B1CA-D3B7BEAE29E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611406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APRIL, 1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54" name="Raute 78">
              <a:extLst>
                <a:ext uri="{FF2B5EF4-FFF2-40B4-BE49-F238E27FC236}">
                  <a16:creationId xmlns:a16="http://schemas.microsoft.com/office/drawing/2014/main" id="{00C2EA67-80F5-4DE0-A031-81BFFEDCF9F2}"/>
                </a:ext>
              </a:extLst>
            </p:cNvPr>
            <p:cNvSpPr/>
            <p:nvPr/>
          </p:nvSpPr>
          <p:spPr bwMode="gray">
            <a:xfrm>
              <a:off x="3251201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grpSp>
        <p:nvGrpSpPr>
          <p:cNvPr id="55" name="Gruppieren 2">
            <a:extLst>
              <a:ext uri="{FF2B5EF4-FFF2-40B4-BE49-F238E27FC236}">
                <a16:creationId xmlns:a16="http://schemas.microsoft.com/office/drawing/2014/main" id="{663ADCE5-DF17-4EDE-ADFA-7FFE37C78D7F}"/>
              </a:ext>
            </a:extLst>
          </p:cNvPr>
          <p:cNvGrpSpPr/>
          <p:nvPr/>
        </p:nvGrpSpPr>
        <p:grpSpPr>
          <a:xfrm>
            <a:off x="6090995" y="6042710"/>
            <a:ext cx="1553303" cy="598645"/>
            <a:chOff x="6090995" y="6042710"/>
            <a:chExt cx="1553303" cy="598645"/>
          </a:xfrm>
        </p:grpSpPr>
        <p:sp>
          <p:nvSpPr>
            <p:cNvPr id="56" name="Text Box 57">
              <a:extLst>
                <a:ext uri="{FF2B5EF4-FFF2-40B4-BE49-F238E27FC236}">
                  <a16:creationId xmlns:a16="http://schemas.microsoft.com/office/drawing/2014/main" id="{F81FDC69-5BFC-4D09-BF10-56FF83D3816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090995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3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JULY, 24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57" name="Raute 79">
              <a:extLst>
                <a:ext uri="{FF2B5EF4-FFF2-40B4-BE49-F238E27FC236}">
                  <a16:creationId xmlns:a16="http://schemas.microsoft.com/office/drawing/2014/main" id="{2718A9B4-7889-4FD5-AEAA-192E024AEB58}"/>
                </a:ext>
              </a:extLst>
            </p:cNvPr>
            <p:cNvSpPr/>
            <p:nvPr/>
          </p:nvSpPr>
          <p:spPr bwMode="gray">
            <a:xfrm>
              <a:off x="6771988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sp>
        <p:nvSpPr>
          <p:cNvPr id="58" name="Gleichschenkliges Dreieck 80">
            <a:extLst>
              <a:ext uri="{FF2B5EF4-FFF2-40B4-BE49-F238E27FC236}">
                <a16:creationId xmlns:a16="http://schemas.microsoft.com/office/drawing/2014/main" id="{789BC600-5BE1-43FB-8AB9-AB2747519DA5}"/>
              </a:ext>
            </a:extLst>
          </p:cNvPr>
          <p:cNvSpPr/>
          <p:nvPr/>
        </p:nvSpPr>
        <p:spPr bwMode="gray">
          <a:xfrm rot="10800000">
            <a:off x="7342047" y="5618049"/>
            <a:ext cx="233691" cy="164586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Gleichschenkliges Dreieck 81">
            <a:extLst>
              <a:ext uri="{FF2B5EF4-FFF2-40B4-BE49-F238E27FC236}">
                <a16:creationId xmlns:a16="http://schemas.microsoft.com/office/drawing/2014/main" id="{06EF2DE0-C3F5-4746-BDBD-CBA0FB13ACD6}"/>
              </a:ext>
            </a:extLst>
          </p:cNvPr>
          <p:cNvSpPr/>
          <p:nvPr/>
        </p:nvSpPr>
        <p:spPr bwMode="gray">
          <a:xfrm rot="10800000">
            <a:off x="10294471" y="5618049"/>
            <a:ext cx="312561" cy="220133"/>
          </a:xfrm>
          <a:prstGeom prst="triangle">
            <a:avLst/>
          </a:prstGeom>
          <a:solidFill>
            <a:srgbClr val="9BBB59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0" name="Text Box 57">
            <a:extLst>
              <a:ext uri="{FF2B5EF4-FFF2-40B4-BE49-F238E27FC236}">
                <a16:creationId xmlns:a16="http://schemas.microsoft.com/office/drawing/2014/main" id="{57762C9E-2271-4DCF-B143-E67D30DF411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95762" y="5023973"/>
            <a:ext cx="1592852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PROJECT START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FEB, 1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sp>
        <p:nvSpPr>
          <p:cNvPr id="61" name="Text Box 57">
            <a:extLst>
              <a:ext uri="{FF2B5EF4-FFF2-40B4-BE49-F238E27FC236}">
                <a16:creationId xmlns:a16="http://schemas.microsoft.com/office/drawing/2014/main" id="{7194F287-D632-4EC5-A779-7C7946CD4F2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642961" y="5055870"/>
            <a:ext cx="1592852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PROJECT END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NOV, 20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grpSp>
        <p:nvGrpSpPr>
          <p:cNvPr id="62" name="Gruppieren 1">
            <a:extLst>
              <a:ext uri="{FF2B5EF4-FFF2-40B4-BE49-F238E27FC236}">
                <a16:creationId xmlns:a16="http://schemas.microsoft.com/office/drawing/2014/main" id="{F4FB7B33-4255-4310-AF94-427DF899D5D9}"/>
              </a:ext>
            </a:extLst>
          </p:cNvPr>
          <p:cNvGrpSpPr/>
          <p:nvPr/>
        </p:nvGrpSpPr>
        <p:grpSpPr>
          <a:xfrm>
            <a:off x="8134194" y="6042710"/>
            <a:ext cx="1553303" cy="598645"/>
            <a:chOff x="8037373" y="6042710"/>
            <a:chExt cx="1553303" cy="598645"/>
          </a:xfrm>
        </p:grpSpPr>
        <p:sp>
          <p:nvSpPr>
            <p:cNvPr id="63" name="Text Box 57">
              <a:extLst>
                <a:ext uri="{FF2B5EF4-FFF2-40B4-BE49-F238E27FC236}">
                  <a16:creationId xmlns:a16="http://schemas.microsoft.com/office/drawing/2014/main" id="{D448658B-0D23-4975-9B20-037C3A66FE1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037373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4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SEPT, 28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64" name="Raute 85">
              <a:extLst>
                <a:ext uri="{FF2B5EF4-FFF2-40B4-BE49-F238E27FC236}">
                  <a16:creationId xmlns:a16="http://schemas.microsoft.com/office/drawing/2014/main" id="{5A9B06D8-BC56-46CA-A33A-012977E36BA2}"/>
                </a:ext>
              </a:extLst>
            </p:cNvPr>
            <p:cNvSpPr/>
            <p:nvPr/>
          </p:nvSpPr>
          <p:spPr bwMode="gray">
            <a:xfrm>
              <a:off x="8691865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sp>
        <p:nvSpPr>
          <p:cNvPr id="65" name="Rechteck 155">
            <a:extLst>
              <a:ext uri="{FF2B5EF4-FFF2-40B4-BE49-F238E27FC236}">
                <a16:creationId xmlns:a16="http://schemas.microsoft.com/office/drawing/2014/main" id="{F93CB42B-E706-4294-B1E1-2533ECBBB787}"/>
              </a:ext>
            </a:extLst>
          </p:cNvPr>
          <p:cNvSpPr/>
          <p:nvPr/>
        </p:nvSpPr>
        <p:spPr bwMode="gray">
          <a:xfrm>
            <a:off x="2153179" y="2045564"/>
            <a:ext cx="756718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 DAYS</a:t>
            </a:r>
          </a:p>
        </p:txBody>
      </p:sp>
      <p:sp>
        <p:nvSpPr>
          <p:cNvPr id="66" name="Abgerundetes Rechteck 116">
            <a:extLst>
              <a:ext uri="{FF2B5EF4-FFF2-40B4-BE49-F238E27FC236}">
                <a16:creationId xmlns:a16="http://schemas.microsoft.com/office/drawing/2014/main" id="{9C20BA43-7D30-4B39-8C94-3E16CA2B41FB}"/>
              </a:ext>
            </a:extLst>
          </p:cNvPr>
          <p:cNvSpPr/>
          <p:nvPr/>
        </p:nvSpPr>
        <p:spPr bwMode="gray">
          <a:xfrm>
            <a:off x="3059995" y="2010819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67" name="Rechteck 158">
            <a:extLst>
              <a:ext uri="{FF2B5EF4-FFF2-40B4-BE49-F238E27FC236}">
                <a16:creationId xmlns:a16="http://schemas.microsoft.com/office/drawing/2014/main" id="{97800C03-792A-4A23-9CD2-F7FB25A9F534}"/>
              </a:ext>
            </a:extLst>
          </p:cNvPr>
          <p:cNvSpPr/>
          <p:nvPr/>
        </p:nvSpPr>
        <p:spPr bwMode="gray">
          <a:xfrm>
            <a:off x="2998497" y="2411007"/>
            <a:ext cx="1073923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40 DAYS</a:t>
            </a:r>
          </a:p>
        </p:txBody>
      </p:sp>
      <p:sp>
        <p:nvSpPr>
          <p:cNvPr id="68" name="Abgerundetes Rechteck 119">
            <a:extLst>
              <a:ext uri="{FF2B5EF4-FFF2-40B4-BE49-F238E27FC236}">
                <a16:creationId xmlns:a16="http://schemas.microsoft.com/office/drawing/2014/main" id="{C7189085-A7A4-4F1D-9368-B6948E47AC2A}"/>
              </a:ext>
            </a:extLst>
          </p:cNvPr>
          <p:cNvSpPr/>
          <p:nvPr/>
        </p:nvSpPr>
        <p:spPr bwMode="gray">
          <a:xfrm>
            <a:off x="4438351" y="2377895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69" name="Rechteck 161">
            <a:extLst>
              <a:ext uri="{FF2B5EF4-FFF2-40B4-BE49-F238E27FC236}">
                <a16:creationId xmlns:a16="http://schemas.microsoft.com/office/drawing/2014/main" id="{C75EC321-FCB4-4219-8573-42438385E359}"/>
              </a:ext>
            </a:extLst>
          </p:cNvPr>
          <p:cNvSpPr/>
          <p:nvPr/>
        </p:nvSpPr>
        <p:spPr bwMode="gray">
          <a:xfrm>
            <a:off x="3636129" y="2776451"/>
            <a:ext cx="1795800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60 DAYS</a:t>
            </a:r>
          </a:p>
        </p:txBody>
      </p:sp>
      <p:sp>
        <p:nvSpPr>
          <p:cNvPr id="70" name="Abgerundetes Rechteck 122">
            <a:extLst>
              <a:ext uri="{FF2B5EF4-FFF2-40B4-BE49-F238E27FC236}">
                <a16:creationId xmlns:a16="http://schemas.microsoft.com/office/drawing/2014/main" id="{7B07EA8D-3528-4C6B-831D-43808667E949}"/>
              </a:ext>
            </a:extLst>
          </p:cNvPr>
          <p:cNvSpPr/>
          <p:nvPr/>
        </p:nvSpPr>
        <p:spPr bwMode="gray">
          <a:xfrm>
            <a:off x="5615532" y="2741706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1" name="Rechteck 164">
            <a:extLst>
              <a:ext uri="{FF2B5EF4-FFF2-40B4-BE49-F238E27FC236}">
                <a16:creationId xmlns:a16="http://schemas.microsoft.com/office/drawing/2014/main" id="{F8E06479-6F20-49FD-96F6-007655E03D26}"/>
              </a:ext>
            </a:extLst>
          </p:cNvPr>
          <p:cNvSpPr/>
          <p:nvPr/>
        </p:nvSpPr>
        <p:spPr bwMode="gray">
          <a:xfrm>
            <a:off x="5550065" y="3141894"/>
            <a:ext cx="659065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5 DAYS</a:t>
            </a:r>
          </a:p>
        </p:txBody>
      </p:sp>
      <p:sp>
        <p:nvSpPr>
          <p:cNvPr id="72" name="Abgerundetes Rechteck 125">
            <a:extLst>
              <a:ext uri="{FF2B5EF4-FFF2-40B4-BE49-F238E27FC236}">
                <a16:creationId xmlns:a16="http://schemas.microsoft.com/office/drawing/2014/main" id="{73E15B52-3FBB-4E32-B53C-E42F210AE545}"/>
              </a:ext>
            </a:extLst>
          </p:cNvPr>
          <p:cNvSpPr/>
          <p:nvPr/>
        </p:nvSpPr>
        <p:spPr bwMode="gray">
          <a:xfrm>
            <a:off x="6339299" y="3104010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3" name="Rechteck 167">
            <a:extLst>
              <a:ext uri="{FF2B5EF4-FFF2-40B4-BE49-F238E27FC236}">
                <a16:creationId xmlns:a16="http://schemas.microsoft.com/office/drawing/2014/main" id="{48D113D2-474A-479C-818C-BD0CE9EAF7A3}"/>
              </a:ext>
            </a:extLst>
          </p:cNvPr>
          <p:cNvSpPr/>
          <p:nvPr/>
        </p:nvSpPr>
        <p:spPr bwMode="gray">
          <a:xfrm>
            <a:off x="5894451" y="3507338"/>
            <a:ext cx="2284603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70 DAYS</a:t>
            </a:r>
          </a:p>
        </p:txBody>
      </p:sp>
      <p:sp>
        <p:nvSpPr>
          <p:cNvPr id="74" name="Abgerundetes Rechteck 128">
            <a:extLst>
              <a:ext uri="{FF2B5EF4-FFF2-40B4-BE49-F238E27FC236}">
                <a16:creationId xmlns:a16="http://schemas.microsoft.com/office/drawing/2014/main" id="{7A7F9107-6410-4634-B3B1-2CDE54DD8EFF}"/>
              </a:ext>
            </a:extLst>
          </p:cNvPr>
          <p:cNvSpPr/>
          <p:nvPr/>
        </p:nvSpPr>
        <p:spPr bwMode="gray">
          <a:xfrm>
            <a:off x="8257477" y="3472593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5" name="Rechteck 170">
            <a:extLst>
              <a:ext uri="{FF2B5EF4-FFF2-40B4-BE49-F238E27FC236}">
                <a16:creationId xmlns:a16="http://schemas.microsoft.com/office/drawing/2014/main" id="{6154912C-4E51-422E-B9A7-CC25044C7B32}"/>
              </a:ext>
            </a:extLst>
          </p:cNvPr>
          <p:cNvSpPr/>
          <p:nvPr/>
        </p:nvSpPr>
        <p:spPr bwMode="gray">
          <a:xfrm>
            <a:off x="8157724" y="3872782"/>
            <a:ext cx="817586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 DAYS</a:t>
            </a:r>
          </a:p>
        </p:txBody>
      </p:sp>
      <p:sp>
        <p:nvSpPr>
          <p:cNvPr id="76" name="Abgerundetes Rechteck 131">
            <a:extLst>
              <a:ext uri="{FF2B5EF4-FFF2-40B4-BE49-F238E27FC236}">
                <a16:creationId xmlns:a16="http://schemas.microsoft.com/office/drawing/2014/main" id="{3E17CF19-239D-43E7-9DDB-B1489C5B91FC}"/>
              </a:ext>
            </a:extLst>
          </p:cNvPr>
          <p:cNvSpPr/>
          <p:nvPr/>
        </p:nvSpPr>
        <p:spPr bwMode="gray">
          <a:xfrm>
            <a:off x="9045140" y="3838037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7" name="Rechteck 173">
            <a:extLst>
              <a:ext uri="{FF2B5EF4-FFF2-40B4-BE49-F238E27FC236}">
                <a16:creationId xmlns:a16="http://schemas.microsoft.com/office/drawing/2014/main" id="{92E7E4E2-E69E-4099-B83D-4BC58C943439}"/>
              </a:ext>
            </a:extLst>
          </p:cNvPr>
          <p:cNvSpPr/>
          <p:nvPr/>
        </p:nvSpPr>
        <p:spPr bwMode="gray">
          <a:xfrm>
            <a:off x="8935098" y="4238227"/>
            <a:ext cx="1515653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50 DAYS</a:t>
            </a:r>
          </a:p>
        </p:txBody>
      </p:sp>
      <p:sp>
        <p:nvSpPr>
          <p:cNvPr id="78" name="Abgerundetes Rechteck 134">
            <a:extLst>
              <a:ext uri="{FF2B5EF4-FFF2-40B4-BE49-F238E27FC236}">
                <a16:creationId xmlns:a16="http://schemas.microsoft.com/office/drawing/2014/main" id="{F7D98EAD-29FB-4AF0-B04C-C547266E05F4}"/>
              </a:ext>
            </a:extLst>
          </p:cNvPr>
          <p:cNvSpPr/>
          <p:nvPr/>
        </p:nvSpPr>
        <p:spPr bwMode="gray">
          <a:xfrm>
            <a:off x="10515995" y="4207898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9" name="Abgerundetes Rechteck 135">
            <a:extLst>
              <a:ext uri="{FF2B5EF4-FFF2-40B4-BE49-F238E27FC236}">
                <a16:creationId xmlns:a16="http://schemas.microsoft.com/office/drawing/2014/main" id="{5A9367BC-A286-4DC6-8000-4F5CA037FB2B}"/>
              </a:ext>
            </a:extLst>
          </p:cNvPr>
          <p:cNvSpPr/>
          <p:nvPr/>
        </p:nvSpPr>
        <p:spPr bwMode="gray">
          <a:xfrm>
            <a:off x="584519" y="1645375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1</a:t>
            </a:r>
          </a:p>
        </p:txBody>
      </p:sp>
      <p:sp>
        <p:nvSpPr>
          <p:cNvPr id="80" name="Abgerundetes Rechteck 136">
            <a:extLst>
              <a:ext uri="{FF2B5EF4-FFF2-40B4-BE49-F238E27FC236}">
                <a16:creationId xmlns:a16="http://schemas.microsoft.com/office/drawing/2014/main" id="{E697AC5B-7319-492D-A12D-F1E0871FAE2A}"/>
              </a:ext>
            </a:extLst>
          </p:cNvPr>
          <p:cNvSpPr/>
          <p:nvPr/>
        </p:nvSpPr>
        <p:spPr bwMode="gray">
          <a:xfrm>
            <a:off x="584519" y="4203482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8</a:t>
            </a:r>
          </a:p>
        </p:txBody>
      </p:sp>
      <p:sp>
        <p:nvSpPr>
          <p:cNvPr id="81" name="Abgerundetes Rechteck 137">
            <a:extLst>
              <a:ext uri="{FF2B5EF4-FFF2-40B4-BE49-F238E27FC236}">
                <a16:creationId xmlns:a16="http://schemas.microsoft.com/office/drawing/2014/main" id="{4F06044C-0928-4C3F-A764-45729D6D08A4}"/>
              </a:ext>
            </a:extLst>
          </p:cNvPr>
          <p:cNvSpPr/>
          <p:nvPr/>
        </p:nvSpPr>
        <p:spPr bwMode="gray">
          <a:xfrm>
            <a:off x="584519" y="3838037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7</a:t>
            </a:r>
          </a:p>
        </p:txBody>
      </p:sp>
      <p:sp>
        <p:nvSpPr>
          <p:cNvPr id="82" name="Abgerundetes Rechteck 138">
            <a:extLst>
              <a:ext uri="{FF2B5EF4-FFF2-40B4-BE49-F238E27FC236}">
                <a16:creationId xmlns:a16="http://schemas.microsoft.com/office/drawing/2014/main" id="{599352F9-A598-4CAD-9C93-5F643D629C8C}"/>
              </a:ext>
            </a:extLst>
          </p:cNvPr>
          <p:cNvSpPr/>
          <p:nvPr/>
        </p:nvSpPr>
        <p:spPr bwMode="gray">
          <a:xfrm>
            <a:off x="584519" y="3472593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6</a:t>
            </a:r>
          </a:p>
        </p:txBody>
      </p:sp>
      <p:sp>
        <p:nvSpPr>
          <p:cNvPr id="83" name="Abgerundetes Rechteck 139">
            <a:extLst>
              <a:ext uri="{FF2B5EF4-FFF2-40B4-BE49-F238E27FC236}">
                <a16:creationId xmlns:a16="http://schemas.microsoft.com/office/drawing/2014/main" id="{BF695589-DEB2-4D02-9660-6CF9F5B02BA3}"/>
              </a:ext>
            </a:extLst>
          </p:cNvPr>
          <p:cNvSpPr/>
          <p:nvPr/>
        </p:nvSpPr>
        <p:spPr bwMode="gray">
          <a:xfrm>
            <a:off x="584519" y="3107149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5</a:t>
            </a:r>
          </a:p>
        </p:txBody>
      </p:sp>
      <p:sp>
        <p:nvSpPr>
          <p:cNvPr id="84" name="Abgerundetes Rechteck 140">
            <a:extLst>
              <a:ext uri="{FF2B5EF4-FFF2-40B4-BE49-F238E27FC236}">
                <a16:creationId xmlns:a16="http://schemas.microsoft.com/office/drawing/2014/main" id="{174E9BA7-E17E-4A8F-9A04-CD38084FEDC0}"/>
              </a:ext>
            </a:extLst>
          </p:cNvPr>
          <p:cNvSpPr/>
          <p:nvPr/>
        </p:nvSpPr>
        <p:spPr bwMode="gray">
          <a:xfrm>
            <a:off x="584519" y="2741706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4</a:t>
            </a:r>
          </a:p>
        </p:txBody>
      </p:sp>
      <p:sp>
        <p:nvSpPr>
          <p:cNvPr id="85" name="Abgerundetes Rechteck 141">
            <a:extLst>
              <a:ext uri="{FF2B5EF4-FFF2-40B4-BE49-F238E27FC236}">
                <a16:creationId xmlns:a16="http://schemas.microsoft.com/office/drawing/2014/main" id="{7A30A4FE-9BA2-4481-B8BB-2A1F5C2A0A13}"/>
              </a:ext>
            </a:extLst>
          </p:cNvPr>
          <p:cNvSpPr/>
          <p:nvPr/>
        </p:nvSpPr>
        <p:spPr bwMode="gray">
          <a:xfrm>
            <a:off x="584519" y="2376262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3</a:t>
            </a:r>
          </a:p>
        </p:txBody>
      </p:sp>
      <p:sp>
        <p:nvSpPr>
          <p:cNvPr id="86" name="Abgerundetes Rechteck 142">
            <a:extLst>
              <a:ext uri="{FF2B5EF4-FFF2-40B4-BE49-F238E27FC236}">
                <a16:creationId xmlns:a16="http://schemas.microsoft.com/office/drawing/2014/main" id="{7DE655B2-9830-4BB6-B907-9A113B58E0D1}"/>
              </a:ext>
            </a:extLst>
          </p:cNvPr>
          <p:cNvSpPr/>
          <p:nvPr/>
        </p:nvSpPr>
        <p:spPr bwMode="gray">
          <a:xfrm>
            <a:off x="584519" y="2010819"/>
            <a:ext cx="726732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2</a:t>
            </a:r>
          </a:p>
        </p:txBody>
      </p:sp>
      <p:sp>
        <p:nvSpPr>
          <p:cNvPr id="87" name="Abgerundetes Rechteck 144">
            <a:extLst>
              <a:ext uri="{FF2B5EF4-FFF2-40B4-BE49-F238E27FC236}">
                <a16:creationId xmlns:a16="http://schemas.microsoft.com/office/drawing/2014/main" id="{3C6F9B31-A981-475E-8FC8-57A012AD3CDF}"/>
              </a:ext>
            </a:extLst>
          </p:cNvPr>
          <p:cNvSpPr/>
          <p:nvPr/>
        </p:nvSpPr>
        <p:spPr bwMode="gray">
          <a:xfrm>
            <a:off x="2645873" y="1645375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88" name="Rechteck 185">
            <a:extLst>
              <a:ext uri="{FF2B5EF4-FFF2-40B4-BE49-F238E27FC236}">
                <a16:creationId xmlns:a16="http://schemas.microsoft.com/office/drawing/2014/main" id="{1662D3F9-0F8A-437D-AD91-4647BB5BEB79}"/>
              </a:ext>
            </a:extLst>
          </p:cNvPr>
          <p:cNvSpPr/>
          <p:nvPr/>
        </p:nvSpPr>
        <p:spPr bwMode="gray">
          <a:xfrm>
            <a:off x="1502205" y="1680120"/>
            <a:ext cx="1060912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30 DAYS</a:t>
            </a:r>
          </a:p>
        </p:txBody>
      </p:sp>
      <p:cxnSp>
        <p:nvCxnSpPr>
          <p:cNvPr id="89" name="Verbinder: gewinkelt 11">
            <a:extLst>
              <a:ext uri="{FF2B5EF4-FFF2-40B4-BE49-F238E27FC236}">
                <a16:creationId xmlns:a16="http://schemas.microsoft.com/office/drawing/2014/main" id="{44154626-6456-4181-9423-C43685CDB2B6}"/>
              </a:ext>
            </a:extLst>
          </p:cNvPr>
          <p:cNvCxnSpPr>
            <a:cxnSpLocks/>
            <a:stCxn id="67" idx="3"/>
            <a:endCxn id="69" idx="1"/>
          </p:cNvCxnSpPr>
          <p:nvPr/>
        </p:nvCxnSpPr>
        <p:spPr>
          <a:xfrm flipH="1">
            <a:off x="3636129" y="2523837"/>
            <a:ext cx="436291" cy="365444"/>
          </a:xfrm>
          <a:prstGeom prst="bentConnector5">
            <a:avLst>
              <a:gd name="adj1" fmla="val -52396"/>
              <a:gd name="adj2" fmla="val 50000"/>
              <a:gd name="adj3" fmla="val 152396"/>
            </a:avLst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90" name="Verbinder: gewinkelt 22">
            <a:extLst>
              <a:ext uri="{FF2B5EF4-FFF2-40B4-BE49-F238E27FC236}">
                <a16:creationId xmlns:a16="http://schemas.microsoft.com/office/drawing/2014/main" id="{7BC41C0E-0927-4552-8C01-17169C6156E3}"/>
              </a:ext>
            </a:extLst>
          </p:cNvPr>
          <p:cNvCxnSpPr>
            <a:cxnSpLocks/>
            <a:stCxn id="65" idx="3"/>
            <a:endCxn id="67" idx="1"/>
          </p:cNvCxnSpPr>
          <p:nvPr/>
        </p:nvCxnSpPr>
        <p:spPr>
          <a:xfrm>
            <a:off x="2909897" y="2158394"/>
            <a:ext cx="88600" cy="36544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91" name="Verbinder: gewinkelt 31">
            <a:extLst>
              <a:ext uri="{FF2B5EF4-FFF2-40B4-BE49-F238E27FC236}">
                <a16:creationId xmlns:a16="http://schemas.microsoft.com/office/drawing/2014/main" id="{A5703EDF-83C5-465D-B822-2B3113E016C5}"/>
              </a:ext>
            </a:extLst>
          </p:cNvPr>
          <p:cNvCxnSpPr>
            <a:cxnSpLocks/>
            <a:stCxn id="69" idx="3"/>
            <a:endCxn id="71" idx="1"/>
          </p:cNvCxnSpPr>
          <p:nvPr/>
        </p:nvCxnSpPr>
        <p:spPr>
          <a:xfrm>
            <a:off x="5431929" y="2889281"/>
            <a:ext cx="118136" cy="365443"/>
          </a:xfrm>
          <a:prstGeom prst="bentConnector3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sp>
        <p:nvSpPr>
          <p:cNvPr id="92" name="Text Box 57">
            <a:extLst>
              <a:ext uri="{FF2B5EF4-FFF2-40B4-BE49-F238E27FC236}">
                <a16:creationId xmlns:a16="http://schemas.microsoft.com/office/drawing/2014/main" id="{A1713931-80FA-4F98-A348-AF37990BB33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36629" y="5055870"/>
            <a:ext cx="2099220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MILESTONE 2 (TODAY)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JULY, 12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cxnSp>
        <p:nvCxnSpPr>
          <p:cNvPr id="93" name="Gerader Verbinder 38">
            <a:extLst>
              <a:ext uri="{FF2B5EF4-FFF2-40B4-BE49-F238E27FC236}">
                <a16:creationId xmlns:a16="http://schemas.microsoft.com/office/drawing/2014/main" id="{FD82C82E-25AF-4B56-9097-E90888BF57F4}"/>
              </a:ext>
            </a:extLst>
          </p:cNvPr>
          <p:cNvCxnSpPr/>
          <p:nvPr/>
        </p:nvCxnSpPr>
        <p:spPr>
          <a:xfrm flipV="1">
            <a:off x="7448152" y="1531860"/>
            <a:ext cx="0" cy="3442868"/>
          </a:xfrm>
          <a:prstGeom prst="line">
            <a:avLst/>
          </a:prstGeom>
          <a:noFill/>
          <a:ln w="28575" cap="flat" cmpd="sng" algn="ctr">
            <a:solidFill>
              <a:srgbClr val="C8303F"/>
            </a:solidFill>
            <a:prstDash val="sysDot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476869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3">
            <a:extLst>
              <a:ext uri="{FF2B5EF4-FFF2-40B4-BE49-F238E27FC236}">
                <a16:creationId xmlns:a16="http://schemas.microsoft.com/office/drawing/2014/main" id="{E63514BB-C835-4C30-8184-6B3304F62E20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 &amp;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1C04D9A4-D4D9-4043-BEAB-5A9D40399792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50" name="Inhaltsplatzhalter 7">
            <a:extLst>
              <a:ext uri="{FF2B5EF4-FFF2-40B4-BE49-F238E27FC236}">
                <a16:creationId xmlns:a16="http://schemas.microsoft.com/office/drawing/2014/main" id="{704845BE-A10C-41B3-B2E5-F2A4D8AC56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0714860"/>
              </p:ext>
            </p:extLst>
          </p:nvPr>
        </p:nvGraphicFramePr>
        <p:xfrm>
          <a:off x="539750" y="1511300"/>
          <a:ext cx="2106537" cy="2903745"/>
        </p:xfrm>
        <a:graphic>
          <a:graphicData uri="http://schemas.openxmlformats.org/drawingml/2006/table">
            <a:tbl>
              <a:tblPr firstRow="1" bandRow="1"/>
              <a:tblGrid>
                <a:gridCol w="1497976">
                  <a:extLst>
                    <a:ext uri="{9D8B030D-6E8A-4147-A177-3AD203B41FA5}">
                      <a16:colId xmlns:a16="http://schemas.microsoft.com/office/drawing/2014/main" val="1700686174"/>
                    </a:ext>
                  </a:extLst>
                </a:gridCol>
                <a:gridCol w="608561">
                  <a:extLst>
                    <a:ext uri="{9D8B030D-6E8A-4147-A177-3AD203B41FA5}">
                      <a16:colId xmlns:a16="http://schemas.microsoft.com/office/drawing/2014/main" val="2768136610"/>
                    </a:ext>
                  </a:extLst>
                </a:gridCol>
              </a:tblGrid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723986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47133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387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16660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050886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073925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902332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690371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76889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72450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074063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526709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24220"/>
                  </a:ext>
                </a:extLst>
              </a:tr>
            </a:tbl>
          </a:graphicData>
        </a:graphic>
      </p:graphicFrame>
      <p:graphicFrame>
        <p:nvGraphicFramePr>
          <p:cNvPr id="51" name="Inhaltsplatzhalter 8">
            <a:extLst>
              <a:ext uri="{FF2B5EF4-FFF2-40B4-BE49-F238E27FC236}">
                <a16:creationId xmlns:a16="http://schemas.microsoft.com/office/drawing/2014/main" id="{1121FC37-F810-45CA-8306-A53CF496445D}"/>
              </a:ext>
            </a:extLst>
          </p:cNvPr>
          <p:cNvGraphicFramePr>
            <a:graphicFrameLocks/>
          </p:cNvGraphicFramePr>
          <p:nvPr/>
        </p:nvGraphicFramePr>
        <p:xfrm>
          <a:off x="2790825" y="1511300"/>
          <a:ext cx="8858460" cy="3226472"/>
        </p:xfrm>
        <a:graphic>
          <a:graphicData uri="http://schemas.openxmlformats.org/drawingml/2006/table">
            <a:tbl>
              <a:tblPr firstRow="1" bandRow="1"/>
              <a:tblGrid>
                <a:gridCol w="738205">
                  <a:extLst>
                    <a:ext uri="{9D8B030D-6E8A-4147-A177-3AD203B41FA5}">
                      <a16:colId xmlns:a16="http://schemas.microsoft.com/office/drawing/2014/main" val="146701744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80067114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890695128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538893111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74916614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413103513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72924683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31540982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03778605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377943476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50016290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515254879"/>
                    </a:ext>
                  </a:extLst>
                </a:gridCol>
              </a:tblGrid>
              <a:tr h="29055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072514"/>
                  </a:ext>
                </a:extLst>
              </a:tr>
              <a:tr h="320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6227" marR="7428" marT="7315" marB="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156811"/>
                  </a:ext>
                </a:extLst>
              </a:tr>
            </a:tbl>
          </a:graphicData>
        </a:graphic>
      </p:graphicFrame>
      <p:sp>
        <p:nvSpPr>
          <p:cNvPr id="52" name="Rechteck: abgerundete Ecken 55">
            <a:extLst>
              <a:ext uri="{FF2B5EF4-FFF2-40B4-BE49-F238E27FC236}">
                <a16:creationId xmlns:a16="http://schemas.microsoft.com/office/drawing/2014/main" id="{C25E1995-8BB5-494F-B747-0F9F67107659}"/>
              </a:ext>
            </a:extLst>
          </p:cNvPr>
          <p:cNvSpPr/>
          <p:nvPr/>
        </p:nvSpPr>
        <p:spPr bwMode="gray">
          <a:xfrm>
            <a:off x="3127797" y="1990318"/>
            <a:ext cx="1963457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</a:t>
            </a:r>
          </a:p>
        </p:txBody>
      </p:sp>
      <p:sp>
        <p:nvSpPr>
          <p:cNvPr id="53" name="Rechteck: abgerundete Ecken 56">
            <a:extLst>
              <a:ext uri="{FF2B5EF4-FFF2-40B4-BE49-F238E27FC236}">
                <a16:creationId xmlns:a16="http://schemas.microsoft.com/office/drawing/2014/main" id="{6CF157D5-966A-4B6D-BD9D-7CA354379ABF}"/>
              </a:ext>
            </a:extLst>
          </p:cNvPr>
          <p:cNvSpPr/>
          <p:nvPr/>
        </p:nvSpPr>
        <p:spPr bwMode="gray">
          <a:xfrm>
            <a:off x="3127796" y="2220910"/>
            <a:ext cx="2394461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54" name="Rechteck: abgerundete Ecken 57">
            <a:extLst>
              <a:ext uri="{FF2B5EF4-FFF2-40B4-BE49-F238E27FC236}">
                <a16:creationId xmlns:a16="http://schemas.microsoft.com/office/drawing/2014/main" id="{30EA23FE-3057-4BCA-8BF4-3E751E35EFC1}"/>
              </a:ext>
            </a:extLst>
          </p:cNvPr>
          <p:cNvSpPr/>
          <p:nvPr/>
        </p:nvSpPr>
        <p:spPr bwMode="gray">
          <a:xfrm>
            <a:off x="5286575" y="2451503"/>
            <a:ext cx="2402669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55" name="Rechteck: abgerundete Ecken 58">
            <a:extLst>
              <a:ext uri="{FF2B5EF4-FFF2-40B4-BE49-F238E27FC236}">
                <a16:creationId xmlns:a16="http://schemas.microsoft.com/office/drawing/2014/main" id="{83070305-9644-4CE8-8E07-B2F0AAC670D3}"/>
              </a:ext>
            </a:extLst>
          </p:cNvPr>
          <p:cNvSpPr/>
          <p:nvPr/>
        </p:nvSpPr>
        <p:spPr bwMode="gray">
          <a:xfrm>
            <a:off x="6480006" y="2682095"/>
            <a:ext cx="1209236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cxnSp>
        <p:nvCxnSpPr>
          <p:cNvPr id="56" name="Gerader Verbinder 67">
            <a:extLst>
              <a:ext uri="{FF2B5EF4-FFF2-40B4-BE49-F238E27FC236}">
                <a16:creationId xmlns:a16="http://schemas.microsoft.com/office/drawing/2014/main" id="{1C35A33F-DD66-419C-B192-8793D467E023}"/>
              </a:ext>
            </a:extLst>
          </p:cNvPr>
          <p:cNvCxnSpPr>
            <a:cxnSpLocks/>
          </p:cNvCxnSpPr>
          <p:nvPr/>
        </p:nvCxnSpPr>
        <p:spPr>
          <a:xfrm>
            <a:off x="3127796" y="1860996"/>
            <a:ext cx="4561445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57" name="Rechteck: abgerundete Ecken 70">
            <a:extLst>
              <a:ext uri="{FF2B5EF4-FFF2-40B4-BE49-F238E27FC236}">
                <a16:creationId xmlns:a16="http://schemas.microsoft.com/office/drawing/2014/main" id="{005551B7-3FEA-412D-B8C8-75943EC10B9A}"/>
              </a:ext>
            </a:extLst>
          </p:cNvPr>
          <p:cNvSpPr/>
          <p:nvPr/>
        </p:nvSpPr>
        <p:spPr bwMode="gray">
          <a:xfrm>
            <a:off x="5199448" y="1990319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58" name="Rechteck: abgerundete Ecken 71">
            <a:extLst>
              <a:ext uri="{FF2B5EF4-FFF2-40B4-BE49-F238E27FC236}">
                <a16:creationId xmlns:a16="http://schemas.microsoft.com/office/drawing/2014/main" id="{E6C38893-B247-4C74-B112-0C0FF56F953B}"/>
              </a:ext>
            </a:extLst>
          </p:cNvPr>
          <p:cNvSpPr/>
          <p:nvPr/>
        </p:nvSpPr>
        <p:spPr bwMode="gray">
          <a:xfrm>
            <a:off x="5627397" y="2230333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59" name="Rechteck: abgerundete Ecken 72">
            <a:extLst>
              <a:ext uri="{FF2B5EF4-FFF2-40B4-BE49-F238E27FC236}">
                <a16:creationId xmlns:a16="http://schemas.microsoft.com/office/drawing/2014/main" id="{64784C41-AB4C-401D-97D6-8898F3F8645D}"/>
              </a:ext>
            </a:extLst>
          </p:cNvPr>
          <p:cNvSpPr/>
          <p:nvPr/>
        </p:nvSpPr>
        <p:spPr bwMode="gray">
          <a:xfrm>
            <a:off x="7798416" y="2466776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60" name="Rechteck: abgerundete Ecken 73">
            <a:extLst>
              <a:ext uri="{FF2B5EF4-FFF2-40B4-BE49-F238E27FC236}">
                <a16:creationId xmlns:a16="http://schemas.microsoft.com/office/drawing/2014/main" id="{CEB1A76D-9E97-4CC9-95F9-82AE605F4B21}"/>
              </a:ext>
            </a:extLst>
          </p:cNvPr>
          <p:cNvSpPr/>
          <p:nvPr/>
        </p:nvSpPr>
        <p:spPr bwMode="gray">
          <a:xfrm>
            <a:off x="7798416" y="2690949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grpSp>
        <p:nvGrpSpPr>
          <p:cNvPr id="61" name="Gruppieren 6">
            <a:extLst>
              <a:ext uri="{FF2B5EF4-FFF2-40B4-BE49-F238E27FC236}">
                <a16:creationId xmlns:a16="http://schemas.microsoft.com/office/drawing/2014/main" id="{5FB2EB00-E2E7-40FA-A63A-D6CE29701949}"/>
              </a:ext>
            </a:extLst>
          </p:cNvPr>
          <p:cNvGrpSpPr/>
          <p:nvPr/>
        </p:nvGrpSpPr>
        <p:grpSpPr>
          <a:xfrm>
            <a:off x="3156663" y="4682444"/>
            <a:ext cx="1986837" cy="1185471"/>
            <a:chOff x="3956763" y="4633458"/>
            <a:chExt cx="1986837" cy="1185471"/>
          </a:xfrm>
        </p:grpSpPr>
        <p:grpSp>
          <p:nvGrpSpPr>
            <p:cNvPr id="62" name="Gruppieren 46">
              <a:extLst>
                <a:ext uri="{FF2B5EF4-FFF2-40B4-BE49-F238E27FC236}">
                  <a16:creationId xmlns:a16="http://schemas.microsoft.com/office/drawing/2014/main" id="{6B2873A5-13DD-4474-A1C1-7010A67BAA41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64" name="Text Box 57">
                <a:extLst>
                  <a:ext uri="{FF2B5EF4-FFF2-40B4-BE49-F238E27FC236}">
                    <a16:creationId xmlns:a16="http://schemas.microsoft.com/office/drawing/2014/main" id="{23062B28-35CA-4FB3-9492-2BD0DD1B5F9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65" name="Raute 48">
                <a:extLst>
                  <a:ext uri="{FF2B5EF4-FFF2-40B4-BE49-F238E27FC236}">
                    <a16:creationId xmlns:a16="http://schemas.microsoft.com/office/drawing/2014/main" id="{A4EB64CF-E801-41BC-BC0C-162F9140F9D7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3" name="Rechteck 2">
              <a:extLst>
                <a:ext uri="{FF2B5EF4-FFF2-40B4-BE49-F238E27FC236}">
                  <a16:creationId xmlns:a16="http://schemas.microsoft.com/office/drawing/2014/main" id="{710C35F0-82C1-4A40-8220-F08EABC9F0F2}"/>
                </a:ext>
              </a:extLst>
            </p:cNvPr>
            <p:cNvSpPr/>
            <p:nvPr/>
          </p:nvSpPr>
          <p:spPr>
            <a:xfrm>
              <a:off x="4022095" y="5117198"/>
              <a:ext cx="1921505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grpSp>
        <p:nvGrpSpPr>
          <p:cNvPr id="66" name="Gruppieren 97">
            <a:extLst>
              <a:ext uri="{FF2B5EF4-FFF2-40B4-BE49-F238E27FC236}">
                <a16:creationId xmlns:a16="http://schemas.microsoft.com/office/drawing/2014/main" id="{7507BEAD-BAF4-499C-93D0-80BC96DE7958}"/>
              </a:ext>
            </a:extLst>
          </p:cNvPr>
          <p:cNvGrpSpPr/>
          <p:nvPr/>
        </p:nvGrpSpPr>
        <p:grpSpPr>
          <a:xfrm>
            <a:off x="6430541" y="4682444"/>
            <a:ext cx="1986837" cy="1033121"/>
            <a:chOff x="3956763" y="4633458"/>
            <a:chExt cx="1986837" cy="1033121"/>
          </a:xfrm>
        </p:grpSpPr>
        <p:grpSp>
          <p:nvGrpSpPr>
            <p:cNvPr id="67" name="Gruppieren 98">
              <a:extLst>
                <a:ext uri="{FF2B5EF4-FFF2-40B4-BE49-F238E27FC236}">
                  <a16:creationId xmlns:a16="http://schemas.microsoft.com/office/drawing/2014/main" id="{0380E055-A5BB-4458-A5F6-0475FDB20BF6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69" name="Text Box 57">
                <a:extLst>
                  <a:ext uri="{FF2B5EF4-FFF2-40B4-BE49-F238E27FC236}">
                    <a16:creationId xmlns:a16="http://schemas.microsoft.com/office/drawing/2014/main" id="{2F96CABD-88ED-4591-988D-124B09A6B0C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70" name="Raute 101">
                <a:extLst>
                  <a:ext uri="{FF2B5EF4-FFF2-40B4-BE49-F238E27FC236}">
                    <a16:creationId xmlns:a16="http://schemas.microsoft.com/office/drawing/2014/main" id="{7F96AC5D-8689-4D64-B3FE-EA4A3C0D017F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8" name="Rechteck 99">
              <a:extLst>
                <a:ext uri="{FF2B5EF4-FFF2-40B4-BE49-F238E27FC236}">
                  <a16:creationId xmlns:a16="http://schemas.microsoft.com/office/drawing/2014/main" id="{17B42C9F-58C8-4B5A-BD21-EDD6C1D11FB4}"/>
                </a:ext>
              </a:extLst>
            </p:cNvPr>
            <p:cNvSpPr/>
            <p:nvPr/>
          </p:nvSpPr>
          <p:spPr>
            <a:xfrm>
              <a:off x="4022095" y="5117198"/>
              <a:ext cx="1921505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1" name="Gruppieren 102">
            <a:extLst>
              <a:ext uri="{FF2B5EF4-FFF2-40B4-BE49-F238E27FC236}">
                <a16:creationId xmlns:a16="http://schemas.microsoft.com/office/drawing/2014/main" id="{7CEB2A20-7A03-4E03-96EC-DECF38C30FDF}"/>
              </a:ext>
            </a:extLst>
          </p:cNvPr>
          <p:cNvGrpSpPr/>
          <p:nvPr/>
        </p:nvGrpSpPr>
        <p:grpSpPr>
          <a:xfrm>
            <a:off x="9998334" y="4682444"/>
            <a:ext cx="1981571" cy="1185471"/>
            <a:chOff x="3956763" y="4633458"/>
            <a:chExt cx="1981571" cy="1185471"/>
          </a:xfrm>
        </p:grpSpPr>
        <p:grpSp>
          <p:nvGrpSpPr>
            <p:cNvPr id="72" name="Gruppieren 103">
              <a:extLst>
                <a:ext uri="{FF2B5EF4-FFF2-40B4-BE49-F238E27FC236}">
                  <a16:creationId xmlns:a16="http://schemas.microsoft.com/office/drawing/2014/main" id="{BFEF0F36-C319-4992-A3AB-20E7A07381C8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74" name="Text Box 57">
                <a:extLst>
                  <a:ext uri="{FF2B5EF4-FFF2-40B4-BE49-F238E27FC236}">
                    <a16:creationId xmlns:a16="http://schemas.microsoft.com/office/drawing/2014/main" id="{2BC2ECF4-FBCB-4BF8-804C-C9C2C89D3DF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75" name="Raute 106">
                <a:extLst>
                  <a:ext uri="{FF2B5EF4-FFF2-40B4-BE49-F238E27FC236}">
                    <a16:creationId xmlns:a16="http://schemas.microsoft.com/office/drawing/2014/main" id="{E9761942-9A43-47C8-9799-6D48B81039A2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3" name="Rechteck 104">
              <a:extLst>
                <a:ext uri="{FF2B5EF4-FFF2-40B4-BE49-F238E27FC236}">
                  <a16:creationId xmlns:a16="http://schemas.microsoft.com/office/drawing/2014/main" id="{DBC185DE-DEF2-46CC-A6F2-5D4756E90FD2}"/>
                </a:ext>
              </a:extLst>
            </p:cNvPr>
            <p:cNvSpPr/>
            <p:nvPr/>
          </p:nvSpPr>
          <p:spPr>
            <a:xfrm>
              <a:off x="4022096" y="5117198"/>
              <a:ext cx="1654500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is a placeholder text. </a:t>
              </a:r>
            </a:p>
          </p:txBody>
        </p:sp>
      </p:grpSp>
      <p:grpSp>
        <p:nvGrpSpPr>
          <p:cNvPr id="76" name="Gruppieren 112">
            <a:extLst>
              <a:ext uri="{FF2B5EF4-FFF2-40B4-BE49-F238E27FC236}">
                <a16:creationId xmlns:a16="http://schemas.microsoft.com/office/drawing/2014/main" id="{7A100155-96FE-47D5-9422-978B371856CC}"/>
              </a:ext>
            </a:extLst>
          </p:cNvPr>
          <p:cNvGrpSpPr/>
          <p:nvPr/>
        </p:nvGrpSpPr>
        <p:grpSpPr>
          <a:xfrm>
            <a:off x="4150081" y="3352340"/>
            <a:ext cx="1986837" cy="1143771"/>
            <a:chOff x="3956763" y="5220561"/>
            <a:chExt cx="1986837" cy="1143771"/>
          </a:xfrm>
        </p:grpSpPr>
        <p:grpSp>
          <p:nvGrpSpPr>
            <p:cNvPr id="77" name="Gruppieren 113">
              <a:extLst>
                <a:ext uri="{FF2B5EF4-FFF2-40B4-BE49-F238E27FC236}">
                  <a16:creationId xmlns:a16="http://schemas.microsoft.com/office/drawing/2014/main" id="{A50C5F30-EC2F-4235-8C8E-F4FBB7021E3B}"/>
                </a:ext>
              </a:extLst>
            </p:cNvPr>
            <p:cNvGrpSpPr/>
            <p:nvPr/>
          </p:nvGrpSpPr>
          <p:grpSpPr>
            <a:xfrm>
              <a:off x="3956763" y="5953324"/>
              <a:ext cx="1981571" cy="411008"/>
              <a:chOff x="2965451" y="7362576"/>
              <a:chExt cx="1981571" cy="411008"/>
            </a:xfrm>
          </p:grpSpPr>
          <p:sp>
            <p:nvSpPr>
              <p:cNvPr id="79" name="Text Box 57">
                <a:extLst>
                  <a:ext uri="{FF2B5EF4-FFF2-40B4-BE49-F238E27FC236}">
                    <a16:creationId xmlns:a16="http://schemas.microsoft.com/office/drawing/2014/main" id="{05D37B34-FF38-44D7-8E0C-0D3ACD12B69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7362576"/>
                <a:ext cx="1921505" cy="258532"/>
              </a:xfrm>
              <a:prstGeom prst="rect">
                <a:avLst/>
              </a:prstGeom>
              <a:solidFill>
                <a:sysClr val="window" lastClr="FFFFFF">
                  <a:alpha val="76000"/>
                </a:sys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2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80" name="Raute 116">
                <a:extLst>
                  <a:ext uri="{FF2B5EF4-FFF2-40B4-BE49-F238E27FC236}">
                    <a16:creationId xmlns:a16="http://schemas.microsoft.com/office/drawing/2014/main" id="{B76FC5DB-1499-4E08-AB60-9A739CC9CF3C}"/>
                  </a:ext>
                </a:extLst>
              </p:cNvPr>
              <p:cNvSpPr/>
              <p:nvPr/>
            </p:nvSpPr>
            <p:spPr bwMode="gray">
              <a:xfrm>
                <a:off x="2965451" y="7593924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8" name="Rechteck 114">
              <a:extLst>
                <a:ext uri="{FF2B5EF4-FFF2-40B4-BE49-F238E27FC236}">
                  <a16:creationId xmlns:a16="http://schemas.microsoft.com/office/drawing/2014/main" id="{2025A7DD-CA9B-4406-B1EE-1EC0C0F12BDD}"/>
                </a:ext>
              </a:extLst>
            </p:cNvPr>
            <p:cNvSpPr/>
            <p:nvPr/>
          </p:nvSpPr>
          <p:spPr>
            <a:xfrm>
              <a:off x="4022095" y="5220561"/>
              <a:ext cx="1921505" cy="701731"/>
            </a:xfrm>
            <a:prstGeom prst="rect">
              <a:avLst/>
            </a:prstGeom>
            <a:solidFill>
              <a:sysClr val="window" lastClr="FFFFFF">
                <a:alpha val="76000"/>
              </a:sysClr>
            </a:solidFill>
          </p:spPr>
          <p:txBody>
            <a:bodyPr wrap="square" lIns="0" anchor="b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grpSp>
        <p:nvGrpSpPr>
          <p:cNvPr id="81" name="Gruppieren 117">
            <a:extLst>
              <a:ext uri="{FF2B5EF4-FFF2-40B4-BE49-F238E27FC236}">
                <a16:creationId xmlns:a16="http://schemas.microsoft.com/office/drawing/2014/main" id="{9029BE27-F8D6-407F-AD55-A18F3AA92D5E}"/>
              </a:ext>
            </a:extLst>
          </p:cNvPr>
          <p:cNvGrpSpPr/>
          <p:nvPr/>
        </p:nvGrpSpPr>
        <p:grpSpPr>
          <a:xfrm>
            <a:off x="555591" y="4957282"/>
            <a:ext cx="1926771" cy="910633"/>
            <a:chOff x="4016829" y="4908296"/>
            <a:chExt cx="1926771" cy="910633"/>
          </a:xfrm>
        </p:grpSpPr>
        <p:sp>
          <p:nvSpPr>
            <p:cNvPr id="82" name="Text Box 57">
              <a:extLst>
                <a:ext uri="{FF2B5EF4-FFF2-40B4-BE49-F238E27FC236}">
                  <a16:creationId xmlns:a16="http://schemas.microsoft.com/office/drawing/2014/main" id="{DA2DECA4-9EE7-41E3-A73F-B1C8B2A0FDD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016829" y="4908296"/>
              <a:ext cx="192150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80000"/>
                </a:lnSpc>
                <a:spcAft>
                  <a:spcPts val="1000"/>
                </a:spcAft>
              </a:pPr>
              <a:r>
                <a:rPr lang="en-US" sz="1400" dirty="0">
                  <a:solidFill>
                    <a:srgbClr val="000000"/>
                  </a:solidFill>
                  <a:latin typeface="Bebas Neue" panose="020B0506020202020201" pitchFamily="34" charset="0"/>
                  <a:cs typeface="Calibri" pitchFamily="34" charset="0"/>
                </a:rPr>
                <a:t>COMMENT</a:t>
              </a:r>
              <a:br>
                <a:rPr lang="en-US" sz="1400" dirty="0">
                  <a:solidFill>
                    <a:srgbClr val="000000"/>
                  </a:solidFill>
                  <a:latin typeface="Bebas Neue" panose="020B0506020202020201" pitchFamily="34" charset="0"/>
                  <a:cs typeface="Calibri" pitchFamily="34" charset="0"/>
                </a:rPr>
              </a:br>
              <a:endParaRPr lang="en-US" sz="7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endParaRPr>
            </a:p>
          </p:txBody>
        </p:sp>
        <p:sp>
          <p:nvSpPr>
            <p:cNvPr id="83" name="Rechteck 119">
              <a:extLst>
                <a:ext uri="{FF2B5EF4-FFF2-40B4-BE49-F238E27FC236}">
                  <a16:creationId xmlns:a16="http://schemas.microsoft.com/office/drawing/2014/main" id="{D61423D8-58D1-4B66-9D59-4D6A1B61C885}"/>
                </a:ext>
              </a:extLst>
            </p:cNvPr>
            <p:cNvSpPr/>
            <p:nvPr/>
          </p:nvSpPr>
          <p:spPr>
            <a:xfrm>
              <a:off x="4022095" y="5117198"/>
              <a:ext cx="1921505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sp>
        <p:nvSpPr>
          <p:cNvPr id="84" name="Rechteck 122">
            <a:extLst>
              <a:ext uri="{FF2B5EF4-FFF2-40B4-BE49-F238E27FC236}">
                <a16:creationId xmlns:a16="http://schemas.microsoft.com/office/drawing/2014/main" id="{3F567C5F-3F93-49A3-AE90-704D949ABFA8}"/>
              </a:ext>
            </a:extLst>
          </p:cNvPr>
          <p:cNvSpPr/>
          <p:nvPr/>
        </p:nvSpPr>
        <p:spPr>
          <a:xfrm>
            <a:off x="6430541" y="3001055"/>
            <a:ext cx="3890855" cy="1181625"/>
          </a:xfrm>
          <a:prstGeom prst="rect">
            <a:avLst/>
          </a:prstGeom>
          <a:solidFill>
            <a:srgbClr val="45B1CB">
              <a:lumMod val="20000"/>
              <a:lumOff val="80000"/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5" name="Rechteck: abgerundete Ecken 123">
            <a:extLst>
              <a:ext uri="{FF2B5EF4-FFF2-40B4-BE49-F238E27FC236}">
                <a16:creationId xmlns:a16="http://schemas.microsoft.com/office/drawing/2014/main" id="{2D7BCFF8-4CC0-48CC-9ADC-68A93CBBABA2}"/>
              </a:ext>
            </a:extLst>
          </p:cNvPr>
          <p:cNvSpPr/>
          <p:nvPr/>
        </p:nvSpPr>
        <p:spPr bwMode="gray">
          <a:xfrm>
            <a:off x="6493532" y="3143280"/>
            <a:ext cx="2181063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6" name="Rechteck: abgerundete Ecken 124">
            <a:extLst>
              <a:ext uri="{FF2B5EF4-FFF2-40B4-BE49-F238E27FC236}">
                <a16:creationId xmlns:a16="http://schemas.microsoft.com/office/drawing/2014/main" id="{AE27291C-525B-4290-89F8-27EAE3CA1A23}"/>
              </a:ext>
            </a:extLst>
          </p:cNvPr>
          <p:cNvSpPr/>
          <p:nvPr/>
        </p:nvSpPr>
        <p:spPr bwMode="gray">
          <a:xfrm>
            <a:off x="7582648" y="3373872"/>
            <a:ext cx="1309056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7" name="Rechteck: abgerundete Ecken 125">
            <a:extLst>
              <a:ext uri="{FF2B5EF4-FFF2-40B4-BE49-F238E27FC236}">
                <a16:creationId xmlns:a16="http://schemas.microsoft.com/office/drawing/2014/main" id="{1AC920DD-919C-4002-B1FB-231144B6C90D}"/>
              </a:ext>
            </a:extLst>
          </p:cNvPr>
          <p:cNvSpPr/>
          <p:nvPr/>
        </p:nvSpPr>
        <p:spPr bwMode="gray">
          <a:xfrm>
            <a:off x="8457272" y="3604464"/>
            <a:ext cx="1190313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8" name="Rechteck: abgerundete Ecken 126">
            <a:extLst>
              <a:ext uri="{FF2B5EF4-FFF2-40B4-BE49-F238E27FC236}">
                <a16:creationId xmlns:a16="http://schemas.microsoft.com/office/drawing/2014/main" id="{EFD07E7C-7F23-4430-BB7E-5871EF04EA58}"/>
              </a:ext>
            </a:extLst>
          </p:cNvPr>
          <p:cNvSpPr/>
          <p:nvPr/>
        </p:nvSpPr>
        <p:spPr bwMode="gray">
          <a:xfrm>
            <a:off x="8457272" y="3835056"/>
            <a:ext cx="1650827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cxnSp>
        <p:nvCxnSpPr>
          <p:cNvPr id="89" name="Gerader Verbinder 127">
            <a:extLst>
              <a:ext uri="{FF2B5EF4-FFF2-40B4-BE49-F238E27FC236}">
                <a16:creationId xmlns:a16="http://schemas.microsoft.com/office/drawing/2014/main" id="{A7E5CAD4-F780-477F-98BA-A491F668E4E3}"/>
              </a:ext>
            </a:extLst>
          </p:cNvPr>
          <p:cNvCxnSpPr>
            <a:cxnSpLocks/>
          </p:cNvCxnSpPr>
          <p:nvPr/>
        </p:nvCxnSpPr>
        <p:spPr>
          <a:xfrm>
            <a:off x="6430541" y="3001055"/>
            <a:ext cx="3890855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90" name="Rechteck: abgerundete Ecken 128">
            <a:extLst>
              <a:ext uri="{FF2B5EF4-FFF2-40B4-BE49-F238E27FC236}">
                <a16:creationId xmlns:a16="http://schemas.microsoft.com/office/drawing/2014/main" id="{B4A4DB91-9EE9-4CAD-8AF3-BE9C8B6B07B9}"/>
              </a:ext>
            </a:extLst>
          </p:cNvPr>
          <p:cNvSpPr/>
          <p:nvPr/>
        </p:nvSpPr>
        <p:spPr bwMode="gray">
          <a:xfrm>
            <a:off x="8768796" y="314328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1" name="Rechteck: abgerundete Ecken 129">
            <a:extLst>
              <a:ext uri="{FF2B5EF4-FFF2-40B4-BE49-F238E27FC236}">
                <a16:creationId xmlns:a16="http://schemas.microsoft.com/office/drawing/2014/main" id="{173FBC6C-9F99-4AB1-AADF-8D6F014EBFE4}"/>
              </a:ext>
            </a:extLst>
          </p:cNvPr>
          <p:cNvSpPr/>
          <p:nvPr/>
        </p:nvSpPr>
        <p:spPr bwMode="gray">
          <a:xfrm>
            <a:off x="9006521" y="337513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2" name="Rechteck: abgerundete Ecken 130">
            <a:extLst>
              <a:ext uri="{FF2B5EF4-FFF2-40B4-BE49-F238E27FC236}">
                <a16:creationId xmlns:a16="http://schemas.microsoft.com/office/drawing/2014/main" id="{E4A3B9C3-4668-499B-8794-7918226B0F39}"/>
              </a:ext>
            </a:extLst>
          </p:cNvPr>
          <p:cNvSpPr/>
          <p:nvPr/>
        </p:nvSpPr>
        <p:spPr bwMode="gray">
          <a:xfrm>
            <a:off x="9754709" y="360698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3" name="Rechteck: abgerundete Ecken 131">
            <a:extLst>
              <a:ext uri="{FF2B5EF4-FFF2-40B4-BE49-F238E27FC236}">
                <a16:creationId xmlns:a16="http://schemas.microsoft.com/office/drawing/2014/main" id="{68E07AB3-58FE-442C-8A11-8E538A480319}"/>
              </a:ext>
            </a:extLst>
          </p:cNvPr>
          <p:cNvSpPr/>
          <p:nvPr/>
        </p:nvSpPr>
        <p:spPr bwMode="gray">
          <a:xfrm>
            <a:off x="10321397" y="3835890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</p:spTree>
    <p:extLst>
      <p:ext uri="{BB962C8B-B14F-4D97-AF65-F5344CB8AC3E}">
        <p14:creationId xmlns:p14="http://schemas.microsoft.com/office/powerpoint/2010/main" val="12844475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el 3">
            <a:extLst>
              <a:ext uri="{FF2B5EF4-FFF2-40B4-BE49-F238E27FC236}">
                <a16:creationId xmlns:a16="http://schemas.microsoft.com/office/drawing/2014/main" id="{10BA1BBC-02DE-43AF-9856-309C7757ECA6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7" name="Textplatzhalter 19">
            <a:extLst>
              <a:ext uri="{FF2B5EF4-FFF2-40B4-BE49-F238E27FC236}">
                <a16:creationId xmlns:a16="http://schemas.microsoft.com/office/drawing/2014/main" id="{E555340A-78F0-4EE8-8BFD-E2A54F79EC9C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48" name="Inhaltsplatzhalter 2">
            <a:extLst>
              <a:ext uri="{FF2B5EF4-FFF2-40B4-BE49-F238E27FC236}">
                <a16:creationId xmlns:a16="http://schemas.microsoft.com/office/drawing/2014/main" id="{DCF8168B-14DA-412F-B2EB-273D1DC98831}"/>
              </a:ext>
            </a:extLst>
          </p:cNvPr>
          <p:cNvGraphicFramePr>
            <a:graphicFrameLocks/>
          </p:cNvGraphicFramePr>
          <p:nvPr/>
        </p:nvGraphicFramePr>
        <p:xfrm>
          <a:off x="539750" y="1511300"/>
          <a:ext cx="11109852" cy="4284494"/>
        </p:xfrm>
        <a:graphic>
          <a:graphicData uri="http://schemas.openxmlformats.org/drawingml/2006/table">
            <a:tbl>
              <a:tblPr firstRow="1" bandRow="1"/>
              <a:tblGrid>
                <a:gridCol w="925821">
                  <a:extLst>
                    <a:ext uri="{9D8B030D-6E8A-4147-A177-3AD203B41FA5}">
                      <a16:colId xmlns:a16="http://schemas.microsoft.com/office/drawing/2014/main" val="906927745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406541847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427376034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4244608719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2993600515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65202905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10245795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220568766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4264218548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59350915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145262948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745130781"/>
                    </a:ext>
                  </a:extLst>
                </a:gridCol>
              </a:tblGrid>
              <a:tr h="1930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902212"/>
                  </a:ext>
                </a:extLst>
              </a:tr>
              <a:tr h="333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000" marR="7315" marT="54000" marB="54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906580"/>
                  </a:ext>
                </a:extLst>
              </a:tr>
              <a:tr h="20208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7184"/>
                  </a:ext>
                </a:extLst>
              </a:tr>
            </a:tbl>
          </a:graphicData>
        </a:graphic>
      </p:graphicFrame>
      <p:sp>
        <p:nvSpPr>
          <p:cNvPr id="49" name="Text Box 57">
            <a:extLst>
              <a:ext uri="{FF2B5EF4-FFF2-40B4-BE49-F238E27FC236}">
                <a16:creationId xmlns:a16="http://schemas.microsoft.com/office/drawing/2014/main" id="{DF656DAC-92A6-45D8-8B82-923DC58681D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7652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</a:t>
            </a:r>
            <a:br>
              <a:rPr lang="en-US" sz="16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0" name="Gleichschenkliges Dreieck 42">
            <a:extLst>
              <a:ext uri="{FF2B5EF4-FFF2-40B4-BE49-F238E27FC236}">
                <a16:creationId xmlns:a16="http://schemas.microsoft.com/office/drawing/2014/main" id="{C10ADF92-1661-4353-8678-50BD4C31D1C4}"/>
              </a:ext>
            </a:extLst>
          </p:cNvPr>
          <p:cNvSpPr/>
          <p:nvPr/>
        </p:nvSpPr>
        <p:spPr bwMode="gray">
          <a:xfrm rot="10800000">
            <a:off x="1080099" y="3282536"/>
            <a:ext cx="304800" cy="232191"/>
          </a:xfrm>
          <a:prstGeom prst="triangle">
            <a:avLst/>
          </a:prstGeom>
          <a:solidFill>
            <a:srgbClr val="3498DB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1" name="Text Box 57">
            <a:extLst>
              <a:ext uri="{FF2B5EF4-FFF2-40B4-BE49-F238E27FC236}">
                <a16:creationId xmlns:a16="http://schemas.microsoft.com/office/drawing/2014/main" id="{DE50229A-D4B7-4BB3-9867-86ECA6B8200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269218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2" name="Gleichschenkliges Dreieck 44">
            <a:extLst>
              <a:ext uri="{FF2B5EF4-FFF2-40B4-BE49-F238E27FC236}">
                <a16:creationId xmlns:a16="http://schemas.microsoft.com/office/drawing/2014/main" id="{6BAAA2C0-47BD-435B-9E26-582D22D40019}"/>
              </a:ext>
            </a:extLst>
          </p:cNvPr>
          <p:cNvSpPr/>
          <p:nvPr/>
        </p:nvSpPr>
        <p:spPr bwMode="gray">
          <a:xfrm rot="10800000">
            <a:off x="3881665" y="3282536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3" name="Text Box 57">
            <a:extLst>
              <a:ext uri="{FF2B5EF4-FFF2-40B4-BE49-F238E27FC236}">
                <a16:creationId xmlns:a16="http://schemas.microsoft.com/office/drawing/2014/main" id="{DCD0D98B-A587-46A5-B3F3-FC8DA4ECE7F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55150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4" name="Gleichschenkliges Dreieck 46">
            <a:extLst>
              <a:ext uri="{FF2B5EF4-FFF2-40B4-BE49-F238E27FC236}">
                <a16:creationId xmlns:a16="http://schemas.microsoft.com/office/drawing/2014/main" id="{CA23D7B0-CFC9-472E-8D6D-DE4BCDC26A3B}"/>
              </a:ext>
            </a:extLst>
          </p:cNvPr>
          <p:cNvSpPr/>
          <p:nvPr/>
        </p:nvSpPr>
        <p:spPr bwMode="gray">
          <a:xfrm rot="10800000">
            <a:off x="6467597" y="3282536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5" name="Text Box 57">
            <a:extLst>
              <a:ext uri="{FF2B5EF4-FFF2-40B4-BE49-F238E27FC236}">
                <a16:creationId xmlns:a16="http://schemas.microsoft.com/office/drawing/2014/main" id="{4E6A918A-16EA-4677-9503-234A13A8F52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70753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6" name="Gleichschenkliges Dreieck 48">
            <a:extLst>
              <a:ext uri="{FF2B5EF4-FFF2-40B4-BE49-F238E27FC236}">
                <a16:creationId xmlns:a16="http://schemas.microsoft.com/office/drawing/2014/main" id="{47D1AB9E-3EBE-4013-8346-6B9555B4BBE3}"/>
              </a:ext>
            </a:extLst>
          </p:cNvPr>
          <p:cNvSpPr/>
          <p:nvPr/>
        </p:nvSpPr>
        <p:spPr bwMode="gray">
          <a:xfrm rot="10800000">
            <a:off x="8583200" y="3282536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7" name="Text Box 57">
            <a:extLst>
              <a:ext uri="{FF2B5EF4-FFF2-40B4-BE49-F238E27FC236}">
                <a16:creationId xmlns:a16="http://schemas.microsoft.com/office/drawing/2014/main" id="{2C6AFE2D-8BBA-491E-86B6-81A6B7F5BA2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019263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8" name="Gleichschenkliges Dreieck 50">
            <a:extLst>
              <a:ext uri="{FF2B5EF4-FFF2-40B4-BE49-F238E27FC236}">
                <a16:creationId xmlns:a16="http://schemas.microsoft.com/office/drawing/2014/main" id="{82E18457-6C36-4CFF-B1CF-AFDA43C0EB60}"/>
              </a:ext>
            </a:extLst>
          </p:cNvPr>
          <p:cNvSpPr/>
          <p:nvPr/>
        </p:nvSpPr>
        <p:spPr bwMode="gray">
          <a:xfrm rot="10800000">
            <a:off x="10631710" y="3282536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Gleichschenkliges Dreieck 51">
            <a:extLst>
              <a:ext uri="{FF2B5EF4-FFF2-40B4-BE49-F238E27FC236}">
                <a16:creationId xmlns:a16="http://schemas.microsoft.com/office/drawing/2014/main" id="{7247736A-069C-4D75-949D-DF5A849A7C0C}"/>
              </a:ext>
            </a:extLst>
          </p:cNvPr>
          <p:cNvSpPr/>
          <p:nvPr/>
        </p:nvSpPr>
        <p:spPr bwMode="gray">
          <a:xfrm rot="10800000" flipV="1">
            <a:off x="1923420" y="3737687"/>
            <a:ext cx="304800" cy="232191"/>
          </a:xfrm>
          <a:prstGeom prst="triangle">
            <a:avLst/>
          </a:prstGeom>
          <a:solidFill>
            <a:srgbClr val="3498DB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0" name="Text Box 57">
            <a:extLst>
              <a:ext uri="{FF2B5EF4-FFF2-40B4-BE49-F238E27FC236}">
                <a16:creationId xmlns:a16="http://schemas.microsoft.com/office/drawing/2014/main" id="{B9ED900E-6E60-4D03-B981-B66025263D9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99168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1" name="Gleichschenkliges Dreieck 53">
            <a:extLst>
              <a:ext uri="{FF2B5EF4-FFF2-40B4-BE49-F238E27FC236}">
                <a16:creationId xmlns:a16="http://schemas.microsoft.com/office/drawing/2014/main" id="{E077C3C7-161F-4930-8151-A9030BA2C799}"/>
              </a:ext>
            </a:extLst>
          </p:cNvPr>
          <p:cNvSpPr/>
          <p:nvPr/>
        </p:nvSpPr>
        <p:spPr bwMode="gray">
          <a:xfrm rot="10800000" flipV="1">
            <a:off x="5567330" y="3737687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2" name="Text Box 57">
            <a:extLst>
              <a:ext uri="{FF2B5EF4-FFF2-40B4-BE49-F238E27FC236}">
                <a16:creationId xmlns:a16="http://schemas.microsoft.com/office/drawing/2014/main" id="{17085258-9FE9-4EAE-ACC7-39ADB60E89C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43078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3" name="Gleichschenkliges Dreieck 55">
            <a:extLst>
              <a:ext uri="{FF2B5EF4-FFF2-40B4-BE49-F238E27FC236}">
                <a16:creationId xmlns:a16="http://schemas.microsoft.com/office/drawing/2014/main" id="{3DB7FF37-F890-4EDF-81D8-C8B8A151F713}"/>
              </a:ext>
            </a:extLst>
          </p:cNvPr>
          <p:cNvSpPr/>
          <p:nvPr/>
        </p:nvSpPr>
        <p:spPr bwMode="gray">
          <a:xfrm rot="10800000" flipV="1">
            <a:off x="9215918" y="3737687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4" name="Text Box 57">
            <a:extLst>
              <a:ext uri="{FF2B5EF4-FFF2-40B4-BE49-F238E27FC236}">
                <a16:creationId xmlns:a16="http://schemas.microsoft.com/office/drawing/2014/main" id="{5CED689E-AECC-48BA-AFEE-D9FF3942EDD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591666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5" name="Gleichschenkliges Dreieck 57">
            <a:extLst>
              <a:ext uri="{FF2B5EF4-FFF2-40B4-BE49-F238E27FC236}">
                <a16:creationId xmlns:a16="http://schemas.microsoft.com/office/drawing/2014/main" id="{6F988195-4F52-48D9-8122-3B444A085A07}"/>
              </a:ext>
            </a:extLst>
          </p:cNvPr>
          <p:cNvSpPr/>
          <p:nvPr/>
        </p:nvSpPr>
        <p:spPr bwMode="gray">
          <a:xfrm rot="10800000" flipV="1">
            <a:off x="10463874" y="3737687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6" name="Text Box 57">
            <a:extLst>
              <a:ext uri="{FF2B5EF4-FFF2-40B4-BE49-F238E27FC236}">
                <a16:creationId xmlns:a16="http://schemas.microsoft.com/office/drawing/2014/main" id="{37D4A71A-8DB6-4F67-9258-8011003B5A0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839622" y="4105400"/>
            <a:ext cx="1553303" cy="517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grpSp>
        <p:nvGrpSpPr>
          <p:cNvPr id="67" name="Gruppieren 89">
            <a:extLst>
              <a:ext uri="{FF2B5EF4-FFF2-40B4-BE49-F238E27FC236}">
                <a16:creationId xmlns:a16="http://schemas.microsoft.com/office/drawing/2014/main" id="{22902BC3-B8D0-4BD7-A83F-2BD22B7D02B8}"/>
              </a:ext>
            </a:extLst>
          </p:cNvPr>
          <p:cNvGrpSpPr/>
          <p:nvPr/>
        </p:nvGrpSpPr>
        <p:grpSpPr>
          <a:xfrm>
            <a:off x="4632870" y="1719664"/>
            <a:ext cx="2117271" cy="1714923"/>
            <a:chOff x="4947734" y="2013497"/>
            <a:chExt cx="2117271" cy="1714923"/>
          </a:xfrm>
        </p:grpSpPr>
        <p:grpSp>
          <p:nvGrpSpPr>
            <p:cNvPr id="68" name="Gruppieren 90">
              <a:extLst>
                <a:ext uri="{FF2B5EF4-FFF2-40B4-BE49-F238E27FC236}">
                  <a16:creationId xmlns:a16="http://schemas.microsoft.com/office/drawing/2014/main" id="{0F389857-D1A9-4C49-94D9-7B43115DC78E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71" name="Gerader Verbinder 93">
                <a:extLst>
                  <a:ext uri="{FF2B5EF4-FFF2-40B4-BE49-F238E27FC236}">
                    <a16:creationId xmlns:a16="http://schemas.microsoft.com/office/drawing/2014/main" id="{24297987-9FC8-43FA-B210-10FA85703E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72" name="Raute 94">
                <a:extLst>
                  <a:ext uri="{FF2B5EF4-FFF2-40B4-BE49-F238E27FC236}">
                    <a16:creationId xmlns:a16="http://schemas.microsoft.com/office/drawing/2014/main" id="{851E0224-962C-4053-B424-01BF0A5BD49A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9" name="Text Box 57">
              <a:extLst>
                <a:ext uri="{FF2B5EF4-FFF2-40B4-BE49-F238E27FC236}">
                  <a16:creationId xmlns:a16="http://schemas.microsoft.com/office/drawing/2014/main" id="{DC0F78F0-3BE3-4650-A668-868592575B2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70" name="Rechteck 92">
              <a:extLst>
                <a:ext uri="{FF2B5EF4-FFF2-40B4-BE49-F238E27FC236}">
                  <a16:creationId xmlns:a16="http://schemas.microsoft.com/office/drawing/2014/main" id="{357A489E-7862-43C3-B6E7-16B384F22EBD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3" name="Gruppieren 95">
            <a:extLst>
              <a:ext uri="{FF2B5EF4-FFF2-40B4-BE49-F238E27FC236}">
                <a16:creationId xmlns:a16="http://schemas.microsoft.com/office/drawing/2014/main" id="{B4BA5402-A8B7-4F42-A266-F478EA1B01D8}"/>
              </a:ext>
            </a:extLst>
          </p:cNvPr>
          <p:cNvGrpSpPr/>
          <p:nvPr/>
        </p:nvGrpSpPr>
        <p:grpSpPr>
          <a:xfrm>
            <a:off x="9255670" y="1719664"/>
            <a:ext cx="2117271" cy="1714923"/>
            <a:chOff x="4947734" y="2013497"/>
            <a:chExt cx="2117271" cy="1714923"/>
          </a:xfrm>
        </p:grpSpPr>
        <p:grpSp>
          <p:nvGrpSpPr>
            <p:cNvPr id="74" name="Gruppieren 96">
              <a:extLst>
                <a:ext uri="{FF2B5EF4-FFF2-40B4-BE49-F238E27FC236}">
                  <a16:creationId xmlns:a16="http://schemas.microsoft.com/office/drawing/2014/main" id="{A8A7E022-6E88-4BDC-9D81-E2F6C31B67B8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77" name="Gerader Verbinder 99">
                <a:extLst>
                  <a:ext uri="{FF2B5EF4-FFF2-40B4-BE49-F238E27FC236}">
                    <a16:creationId xmlns:a16="http://schemas.microsoft.com/office/drawing/2014/main" id="{ABEDF020-3727-494C-8068-D3EBC121E3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78" name="Raute 100">
                <a:extLst>
                  <a:ext uri="{FF2B5EF4-FFF2-40B4-BE49-F238E27FC236}">
                    <a16:creationId xmlns:a16="http://schemas.microsoft.com/office/drawing/2014/main" id="{1E45F0EA-1292-4A8B-B024-AA3292C7D76C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5" name="Text Box 57">
              <a:extLst>
                <a:ext uri="{FF2B5EF4-FFF2-40B4-BE49-F238E27FC236}">
                  <a16:creationId xmlns:a16="http://schemas.microsoft.com/office/drawing/2014/main" id="{213AFDEF-13C4-46C0-BC7F-68D95D15C26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2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76" name="Rechteck 98">
              <a:extLst>
                <a:ext uri="{FF2B5EF4-FFF2-40B4-BE49-F238E27FC236}">
                  <a16:creationId xmlns:a16="http://schemas.microsoft.com/office/drawing/2014/main" id="{6512931D-DF68-437E-AA13-F563297F7B4E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9" name="Gruppieren 101">
            <a:extLst>
              <a:ext uri="{FF2B5EF4-FFF2-40B4-BE49-F238E27FC236}">
                <a16:creationId xmlns:a16="http://schemas.microsoft.com/office/drawing/2014/main" id="{53838294-26B3-4B2C-8484-CAACE9C43B29}"/>
              </a:ext>
            </a:extLst>
          </p:cNvPr>
          <p:cNvGrpSpPr/>
          <p:nvPr/>
        </p:nvGrpSpPr>
        <p:grpSpPr>
          <a:xfrm>
            <a:off x="1452880" y="4696326"/>
            <a:ext cx="10713217" cy="1155834"/>
            <a:chOff x="3127796" y="1990318"/>
            <a:chExt cx="8553660" cy="1056177"/>
          </a:xfrm>
        </p:grpSpPr>
        <p:sp>
          <p:nvSpPr>
            <p:cNvPr id="80" name="Rechteck: abgerundete Ecken 102">
              <a:extLst>
                <a:ext uri="{FF2B5EF4-FFF2-40B4-BE49-F238E27FC236}">
                  <a16:creationId xmlns:a16="http://schemas.microsoft.com/office/drawing/2014/main" id="{05074815-64E0-4337-8252-C110DB5344AC}"/>
                </a:ext>
              </a:extLst>
            </p:cNvPr>
            <p:cNvSpPr/>
            <p:nvPr/>
          </p:nvSpPr>
          <p:spPr bwMode="gray">
            <a:xfrm>
              <a:off x="3127797" y="1990318"/>
              <a:ext cx="1963457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</a:t>
              </a:r>
            </a:p>
          </p:txBody>
        </p:sp>
        <p:sp>
          <p:nvSpPr>
            <p:cNvPr id="81" name="Rechteck: abgerundete Ecken 103">
              <a:extLst>
                <a:ext uri="{FF2B5EF4-FFF2-40B4-BE49-F238E27FC236}">
                  <a16:creationId xmlns:a16="http://schemas.microsoft.com/office/drawing/2014/main" id="{8A5A0D13-42CB-4F0C-A307-2C001453FBAD}"/>
                </a:ext>
              </a:extLst>
            </p:cNvPr>
            <p:cNvSpPr/>
            <p:nvPr/>
          </p:nvSpPr>
          <p:spPr bwMode="gray">
            <a:xfrm>
              <a:off x="3127796" y="2220910"/>
              <a:ext cx="2394461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2" name="Rechteck: abgerundete Ecken 104">
              <a:extLst>
                <a:ext uri="{FF2B5EF4-FFF2-40B4-BE49-F238E27FC236}">
                  <a16:creationId xmlns:a16="http://schemas.microsoft.com/office/drawing/2014/main" id="{ED36B705-4ECA-4E02-BE26-36D46D4521D9}"/>
                </a:ext>
              </a:extLst>
            </p:cNvPr>
            <p:cNvSpPr/>
            <p:nvPr/>
          </p:nvSpPr>
          <p:spPr bwMode="gray">
            <a:xfrm>
              <a:off x="5286575" y="2451503"/>
              <a:ext cx="2402669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3" name="Rechteck: abgerundete Ecken 105">
              <a:extLst>
                <a:ext uri="{FF2B5EF4-FFF2-40B4-BE49-F238E27FC236}">
                  <a16:creationId xmlns:a16="http://schemas.microsoft.com/office/drawing/2014/main" id="{67FF37E8-734E-4D50-BE3A-91780CADD88C}"/>
                </a:ext>
              </a:extLst>
            </p:cNvPr>
            <p:cNvSpPr/>
            <p:nvPr/>
          </p:nvSpPr>
          <p:spPr bwMode="gray">
            <a:xfrm>
              <a:off x="6480006" y="2682095"/>
              <a:ext cx="1209236" cy="143683"/>
            </a:xfrm>
            <a:prstGeom prst="roundRect">
              <a:avLst/>
            </a:prstGeom>
            <a:solidFill>
              <a:srgbClr val="3498DB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4" name="Rechteck: abgerundete Ecken 107">
              <a:extLst>
                <a:ext uri="{FF2B5EF4-FFF2-40B4-BE49-F238E27FC236}">
                  <a16:creationId xmlns:a16="http://schemas.microsoft.com/office/drawing/2014/main" id="{E311C983-E035-476C-9029-AFED3BB6B737}"/>
                </a:ext>
              </a:extLst>
            </p:cNvPr>
            <p:cNvSpPr/>
            <p:nvPr/>
          </p:nvSpPr>
          <p:spPr bwMode="gray">
            <a:xfrm>
              <a:off x="5199448" y="1990319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5" name="Rechteck: abgerundete Ecken 108">
              <a:extLst>
                <a:ext uri="{FF2B5EF4-FFF2-40B4-BE49-F238E27FC236}">
                  <a16:creationId xmlns:a16="http://schemas.microsoft.com/office/drawing/2014/main" id="{0AE60C77-00E0-4D6F-A738-F15E286B9196}"/>
                </a:ext>
              </a:extLst>
            </p:cNvPr>
            <p:cNvSpPr/>
            <p:nvPr/>
          </p:nvSpPr>
          <p:spPr bwMode="gray">
            <a:xfrm>
              <a:off x="5627397" y="2230333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6" name="Rechteck: abgerundete Ecken 109">
              <a:extLst>
                <a:ext uri="{FF2B5EF4-FFF2-40B4-BE49-F238E27FC236}">
                  <a16:creationId xmlns:a16="http://schemas.microsoft.com/office/drawing/2014/main" id="{1D7E1CFC-99E6-4B36-8D46-26EEF04CA9F4}"/>
                </a:ext>
              </a:extLst>
            </p:cNvPr>
            <p:cNvSpPr/>
            <p:nvPr/>
          </p:nvSpPr>
          <p:spPr bwMode="gray">
            <a:xfrm>
              <a:off x="7798416" y="2466776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7" name="Rechteck: abgerundete Ecken 110">
              <a:extLst>
                <a:ext uri="{FF2B5EF4-FFF2-40B4-BE49-F238E27FC236}">
                  <a16:creationId xmlns:a16="http://schemas.microsoft.com/office/drawing/2014/main" id="{61633F12-D462-4D94-9D8B-2A51B1609D76}"/>
                </a:ext>
              </a:extLst>
            </p:cNvPr>
            <p:cNvSpPr/>
            <p:nvPr/>
          </p:nvSpPr>
          <p:spPr bwMode="gray">
            <a:xfrm>
              <a:off x="7798416" y="2690949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8" name="Rechteck: abgerundete Ecken 111">
              <a:extLst>
                <a:ext uri="{FF2B5EF4-FFF2-40B4-BE49-F238E27FC236}">
                  <a16:creationId xmlns:a16="http://schemas.microsoft.com/office/drawing/2014/main" id="{8B329D85-4FF0-4468-A295-6840AF5477A8}"/>
                </a:ext>
              </a:extLst>
            </p:cNvPr>
            <p:cNvSpPr/>
            <p:nvPr/>
          </p:nvSpPr>
          <p:spPr bwMode="gray">
            <a:xfrm>
              <a:off x="7689241" y="2902812"/>
              <a:ext cx="1901996" cy="143683"/>
            </a:xfrm>
            <a:prstGeom prst="roundRect">
              <a:avLst/>
            </a:prstGeom>
            <a:solidFill>
              <a:srgbClr val="3498DB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9" name="Rechteck: abgerundete Ecken 112">
              <a:extLst>
                <a:ext uri="{FF2B5EF4-FFF2-40B4-BE49-F238E27FC236}">
                  <a16:creationId xmlns:a16="http://schemas.microsoft.com/office/drawing/2014/main" id="{FA1DED2B-45CD-4605-9107-6DFAC3D74AF6}"/>
                </a:ext>
              </a:extLst>
            </p:cNvPr>
            <p:cNvSpPr/>
            <p:nvPr/>
          </p:nvSpPr>
          <p:spPr bwMode="gray">
            <a:xfrm>
              <a:off x="9717999" y="2896554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271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itel 1">
            <a:extLst>
              <a:ext uri="{FF2B5EF4-FFF2-40B4-BE49-F238E27FC236}">
                <a16:creationId xmlns:a16="http://schemas.microsoft.com/office/drawing/2014/main" id="{AB30349E-CAF6-44F0-9DF0-3DC4D668E5E2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45" name="Textplatzhalter 18">
            <a:extLst>
              <a:ext uri="{FF2B5EF4-FFF2-40B4-BE49-F238E27FC236}">
                <a16:creationId xmlns:a16="http://schemas.microsoft.com/office/drawing/2014/main" id="{D087C53E-F9DA-455E-962A-D38725868C12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6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46" name="Gruppieren 3">
            <a:extLst>
              <a:ext uri="{FF2B5EF4-FFF2-40B4-BE49-F238E27FC236}">
                <a16:creationId xmlns:a16="http://schemas.microsoft.com/office/drawing/2014/main" id="{BC1E26E6-8134-450F-8642-25E741F141F8}"/>
              </a:ext>
            </a:extLst>
          </p:cNvPr>
          <p:cNvGrpSpPr/>
          <p:nvPr/>
        </p:nvGrpSpPr>
        <p:grpSpPr>
          <a:xfrm>
            <a:off x="540000" y="1512000"/>
            <a:ext cx="11109811" cy="4385880"/>
            <a:chOff x="540000" y="1430720"/>
            <a:chExt cx="11109811" cy="4385880"/>
          </a:xfrm>
        </p:grpSpPr>
        <p:grpSp>
          <p:nvGrpSpPr>
            <p:cNvPr id="147" name="Gruppieren 19">
              <a:extLst>
                <a:ext uri="{FF2B5EF4-FFF2-40B4-BE49-F238E27FC236}">
                  <a16:creationId xmlns:a16="http://schemas.microsoft.com/office/drawing/2014/main" id="{C8F41D10-06ED-4D90-AC1B-7BC80F13B926}"/>
                </a:ext>
              </a:extLst>
            </p:cNvPr>
            <p:cNvGrpSpPr/>
            <p:nvPr/>
          </p:nvGrpSpPr>
          <p:grpSpPr bwMode="gray">
            <a:xfrm>
              <a:off x="540000" y="3232556"/>
              <a:ext cx="11109811" cy="393362"/>
              <a:chOff x="687388" y="3487702"/>
              <a:chExt cx="5532586" cy="233464"/>
            </a:xfrm>
            <a:solidFill>
              <a:srgbClr val="FFFFFF"/>
            </a:solidFill>
            <a:effectLst/>
          </p:grpSpPr>
          <p:sp>
            <p:nvSpPr>
              <p:cNvPr id="268" name="Rechteck 20">
                <a:extLst>
                  <a:ext uri="{FF2B5EF4-FFF2-40B4-BE49-F238E27FC236}">
                    <a16:creationId xmlns:a16="http://schemas.microsoft.com/office/drawing/2014/main" id="{9C8DA85F-F7E0-4EE7-A9CC-F17798F84311}"/>
                  </a:ext>
                </a:extLst>
              </p:cNvPr>
              <p:cNvSpPr/>
              <p:nvPr/>
            </p:nvSpPr>
            <p:spPr bwMode="gray">
              <a:xfrm>
                <a:off x="687388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JAN</a:t>
                </a:r>
              </a:p>
            </p:txBody>
          </p:sp>
          <p:sp>
            <p:nvSpPr>
              <p:cNvPr id="269" name="Rechteck 21">
                <a:extLst>
                  <a:ext uri="{FF2B5EF4-FFF2-40B4-BE49-F238E27FC236}">
                    <a16:creationId xmlns:a16="http://schemas.microsoft.com/office/drawing/2014/main" id="{4C61ED55-6480-4C96-9658-6C739954A809}"/>
                  </a:ext>
                </a:extLst>
              </p:cNvPr>
              <p:cNvSpPr/>
              <p:nvPr/>
            </p:nvSpPr>
            <p:spPr bwMode="gray">
              <a:xfrm>
                <a:off x="1609424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FEB</a:t>
                </a:r>
              </a:p>
            </p:txBody>
          </p:sp>
          <p:sp>
            <p:nvSpPr>
              <p:cNvPr id="270" name="Rechteck 22">
                <a:extLst>
                  <a:ext uri="{FF2B5EF4-FFF2-40B4-BE49-F238E27FC236}">
                    <a16:creationId xmlns:a16="http://schemas.microsoft.com/office/drawing/2014/main" id="{F9F46BC8-4B35-421F-B3CA-AEC74CE949F1}"/>
                  </a:ext>
                </a:extLst>
              </p:cNvPr>
              <p:cNvSpPr/>
              <p:nvPr/>
            </p:nvSpPr>
            <p:spPr bwMode="gray">
              <a:xfrm>
                <a:off x="2531460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MAR</a:t>
                </a:r>
              </a:p>
            </p:txBody>
          </p:sp>
          <p:sp>
            <p:nvSpPr>
              <p:cNvPr id="271" name="Rechteck 23">
                <a:extLst>
                  <a:ext uri="{FF2B5EF4-FFF2-40B4-BE49-F238E27FC236}">
                    <a16:creationId xmlns:a16="http://schemas.microsoft.com/office/drawing/2014/main" id="{F7CFC97E-433E-4928-9ABC-1B373CEE48E6}"/>
                  </a:ext>
                </a:extLst>
              </p:cNvPr>
              <p:cNvSpPr/>
              <p:nvPr/>
            </p:nvSpPr>
            <p:spPr bwMode="gray">
              <a:xfrm>
                <a:off x="3453496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APR</a:t>
                </a:r>
              </a:p>
            </p:txBody>
          </p:sp>
          <p:sp>
            <p:nvSpPr>
              <p:cNvPr id="272" name="Rechteck 24">
                <a:extLst>
                  <a:ext uri="{FF2B5EF4-FFF2-40B4-BE49-F238E27FC236}">
                    <a16:creationId xmlns:a16="http://schemas.microsoft.com/office/drawing/2014/main" id="{732D1BD5-D883-4884-B3BD-4CF7EE6F39DB}"/>
                  </a:ext>
                </a:extLst>
              </p:cNvPr>
              <p:cNvSpPr/>
              <p:nvPr/>
            </p:nvSpPr>
            <p:spPr bwMode="gray">
              <a:xfrm>
                <a:off x="4375532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MAY</a:t>
                </a:r>
              </a:p>
            </p:txBody>
          </p:sp>
          <p:sp>
            <p:nvSpPr>
              <p:cNvPr id="273" name="Rechteck 25">
                <a:extLst>
                  <a:ext uri="{FF2B5EF4-FFF2-40B4-BE49-F238E27FC236}">
                    <a16:creationId xmlns:a16="http://schemas.microsoft.com/office/drawing/2014/main" id="{EC3F8A4D-6DD8-4BE8-B84D-F8B029BF7637}"/>
                  </a:ext>
                </a:extLst>
              </p:cNvPr>
              <p:cNvSpPr/>
              <p:nvPr/>
            </p:nvSpPr>
            <p:spPr bwMode="gray">
              <a:xfrm>
                <a:off x="5297568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JUN</a:t>
                </a:r>
              </a:p>
            </p:txBody>
          </p:sp>
        </p:grpSp>
        <p:cxnSp>
          <p:nvCxnSpPr>
            <p:cNvPr id="148" name="Gerade Verbindung 4">
              <a:extLst>
                <a:ext uri="{FF2B5EF4-FFF2-40B4-BE49-F238E27FC236}">
                  <a16:creationId xmlns:a16="http://schemas.microsoft.com/office/drawing/2014/main" id="{DE5DE84E-7DEC-48F9-ADC0-4FB9E33D102A}"/>
                </a:ext>
              </a:extLst>
            </p:cNvPr>
            <p:cNvCxnSpPr/>
            <p:nvPr/>
          </p:nvCxnSpPr>
          <p:spPr bwMode="gray">
            <a:xfrm flipH="1">
              <a:off x="3269065" y="3625917"/>
              <a:ext cx="1728" cy="361095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49" name="Gerade Verbindung 4">
              <a:extLst>
                <a:ext uri="{FF2B5EF4-FFF2-40B4-BE49-F238E27FC236}">
                  <a16:creationId xmlns:a16="http://schemas.microsoft.com/office/drawing/2014/main" id="{E959E7E8-B8AA-4F3F-8D01-CD84469EB189}"/>
                </a:ext>
              </a:extLst>
            </p:cNvPr>
            <p:cNvCxnSpPr/>
            <p:nvPr/>
          </p:nvCxnSpPr>
          <p:spPr bwMode="gray">
            <a:xfrm>
              <a:off x="4694230" y="3625917"/>
              <a:ext cx="0" cy="695018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0" name="Gerade Verbindung 4">
              <a:extLst>
                <a:ext uri="{FF2B5EF4-FFF2-40B4-BE49-F238E27FC236}">
                  <a16:creationId xmlns:a16="http://schemas.microsoft.com/office/drawing/2014/main" id="{2EF842FD-8AC0-43D8-A6B7-9B3F6F641792}"/>
                </a:ext>
              </a:extLst>
            </p:cNvPr>
            <p:cNvCxnSpPr/>
            <p:nvPr/>
          </p:nvCxnSpPr>
          <p:spPr bwMode="gray">
            <a:xfrm>
              <a:off x="5282735" y="3625917"/>
              <a:ext cx="0" cy="1028942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1" name="Gerade Verbindung 4">
              <a:extLst>
                <a:ext uri="{FF2B5EF4-FFF2-40B4-BE49-F238E27FC236}">
                  <a16:creationId xmlns:a16="http://schemas.microsoft.com/office/drawing/2014/main" id="{980A7952-C1FE-4A80-BA21-68305305056E}"/>
                </a:ext>
              </a:extLst>
            </p:cNvPr>
            <p:cNvCxnSpPr/>
            <p:nvPr/>
          </p:nvCxnSpPr>
          <p:spPr bwMode="gray">
            <a:xfrm flipH="1">
              <a:off x="7875332" y="3625917"/>
              <a:ext cx="0" cy="1367571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2" name="Gerade Verbindung 4">
              <a:extLst>
                <a:ext uri="{FF2B5EF4-FFF2-40B4-BE49-F238E27FC236}">
                  <a16:creationId xmlns:a16="http://schemas.microsoft.com/office/drawing/2014/main" id="{908818A5-6331-4CA0-9392-DC633C513472}"/>
                </a:ext>
              </a:extLst>
            </p:cNvPr>
            <p:cNvCxnSpPr/>
            <p:nvPr/>
          </p:nvCxnSpPr>
          <p:spPr bwMode="gray">
            <a:xfrm>
              <a:off x="9551590" y="3625917"/>
              <a:ext cx="5317" cy="1696788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3" name="Gerade Verbindung 4">
              <a:extLst>
                <a:ext uri="{FF2B5EF4-FFF2-40B4-BE49-F238E27FC236}">
                  <a16:creationId xmlns:a16="http://schemas.microsoft.com/office/drawing/2014/main" id="{6A3A7807-4886-4E9D-93A9-9094D0DBB048}"/>
                </a:ext>
              </a:extLst>
            </p:cNvPr>
            <p:cNvCxnSpPr/>
            <p:nvPr/>
          </p:nvCxnSpPr>
          <p:spPr bwMode="gray">
            <a:xfrm>
              <a:off x="10619613" y="3625917"/>
              <a:ext cx="559" cy="2055837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grpSp>
          <p:nvGrpSpPr>
            <p:cNvPr id="154" name="Gruppieren 32">
              <a:extLst>
                <a:ext uri="{FF2B5EF4-FFF2-40B4-BE49-F238E27FC236}">
                  <a16:creationId xmlns:a16="http://schemas.microsoft.com/office/drawing/2014/main" id="{283D29B9-1757-4270-B029-078D7631AFC3}"/>
                </a:ext>
              </a:extLst>
            </p:cNvPr>
            <p:cNvGrpSpPr/>
            <p:nvPr/>
          </p:nvGrpSpPr>
          <p:grpSpPr bwMode="gray">
            <a:xfrm>
              <a:off x="3258053" y="4186090"/>
              <a:ext cx="2486157" cy="269692"/>
              <a:chOff x="4508186" y="1470496"/>
              <a:chExt cx="2486157" cy="292708"/>
            </a:xfrm>
          </p:grpSpPr>
          <p:sp>
            <p:nvSpPr>
              <p:cNvPr id="266" name="Rechteck 33">
                <a:extLst>
                  <a:ext uri="{FF2B5EF4-FFF2-40B4-BE49-F238E27FC236}">
                    <a16:creationId xmlns:a16="http://schemas.microsoft.com/office/drawing/2014/main" id="{8C1C817C-E84E-49EF-BECC-1B6F7B6A9D03}"/>
                  </a:ext>
                </a:extLst>
              </p:cNvPr>
              <p:cNvSpPr/>
              <p:nvPr/>
            </p:nvSpPr>
            <p:spPr bwMode="gray">
              <a:xfrm>
                <a:off x="4508186" y="1470496"/>
                <a:ext cx="1442527" cy="292708"/>
              </a:xfrm>
              <a:prstGeom prst="rect">
                <a:avLst/>
              </a:prstGeom>
              <a:solidFill>
                <a:srgbClr val="3498D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2</a:t>
                </a:r>
              </a:p>
            </p:txBody>
          </p:sp>
          <p:sp>
            <p:nvSpPr>
              <p:cNvPr id="267" name="Abgerundetes Rechteck 34">
                <a:extLst>
                  <a:ext uri="{FF2B5EF4-FFF2-40B4-BE49-F238E27FC236}">
                    <a16:creationId xmlns:a16="http://schemas.microsoft.com/office/drawing/2014/main" id="{8D02372D-D792-44D5-B80C-828CB829A005}"/>
                  </a:ext>
                </a:extLst>
              </p:cNvPr>
              <p:cNvSpPr/>
              <p:nvPr/>
            </p:nvSpPr>
            <p:spPr bwMode="gray">
              <a:xfrm>
                <a:off x="6060399" y="1470496"/>
                <a:ext cx="933944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5" name="Gruppieren 35">
              <a:extLst>
                <a:ext uri="{FF2B5EF4-FFF2-40B4-BE49-F238E27FC236}">
                  <a16:creationId xmlns:a16="http://schemas.microsoft.com/office/drawing/2014/main" id="{E2B88909-AAF0-4C07-9984-E096C22D09D3}"/>
                </a:ext>
              </a:extLst>
            </p:cNvPr>
            <p:cNvGrpSpPr/>
            <p:nvPr/>
          </p:nvGrpSpPr>
          <p:grpSpPr bwMode="gray">
            <a:xfrm>
              <a:off x="2303780" y="4520013"/>
              <a:ext cx="4202429" cy="271184"/>
              <a:chOff x="3787602" y="1832917"/>
              <a:chExt cx="4202429" cy="294327"/>
            </a:xfrm>
          </p:grpSpPr>
          <p:sp>
            <p:nvSpPr>
              <p:cNvPr id="263" name="Rechteck 36">
                <a:extLst>
                  <a:ext uri="{FF2B5EF4-FFF2-40B4-BE49-F238E27FC236}">
                    <a16:creationId xmlns:a16="http://schemas.microsoft.com/office/drawing/2014/main" id="{BFD92FEC-3830-44C3-837F-2C87C866D4C0}"/>
                  </a:ext>
                </a:extLst>
              </p:cNvPr>
              <p:cNvSpPr/>
              <p:nvPr/>
            </p:nvSpPr>
            <p:spPr bwMode="gray">
              <a:xfrm>
                <a:off x="5876025" y="1832917"/>
                <a:ext cx="896882" cy="292708"/>
              </a:xfrm>
              <a:prstGeom prst="rect">
                <a:avLst/>
              </a:prstGeom>
              <a:solidFill>
                <a:srgbClr val="45B1C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264" name="Abgerundetes Rechteck 37">
                <a:extLst>
                  <a:ext uri="{FF2B5EF4-FFF2-40B4-BE49-F238E27FC236}">
                    <a16:creationId xmlns:a16="http://schemas.microsoft.com/office/drawing/2014/main" id="{BDC1F0AE-D37B-4D2C-B9C2-2225440838A6}"/>
                  </a:ext>
                </a:extLst>
              </p:cNvPr>
              <p:cNvSpPr/>
              <p:nvPr/>
            </p:nvSpPr>
            <p:spPr bwMode="gray">
              <a:xfrm>
                <a:off x="6907316" y="1834536"/>
                <a:ext cx="1082715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265" name="Abgerundetes Rechteck 38">
                <a:extLst>
                  <a:ext uri="{FF2B5EF4-FFF2-40B4-BE49-F238E27FC236}">
                    <a16:creationId xmlns:a16="http://schemas.microsoft.com/office/drawing/2014/main" id="{3551F048-0334-4774-B543-A3F0443B1B50}"/>
                  </a:ext>
                </a:extLst>
              </p:cNvPr>
              <p:cNvSpPr/>
              <p:nvPr/>
            </p:nvSpPr>
            <p:spPr bwMode="gray">
              <a:xfrm>
                <a:off x="3787602" y="1832917"/>
                <a:ext cx="20806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498DB"/>
                    </a:solidFill>
                    <a:effectLst/>
                    <a:uLnTx/>
                    <a:uFillTx/>
                    <a:latin typeface="Calibri Light"/>
                  </a:rPr>
                  <a:t>SAMPLE TASK  DESCRIPTION 3</a:t>
                </a:r>
              </a:p>
            </p:txBody>
          </p:sp>
        </p:grpSp>
        <p:grpSp>
          <p:nvGrpSpPr>
            <p:cNvPr id="156" name="Gruppieren 39">
              <a:extLst>
                <a:ext uri="{FF2B5EF4-FFF2-40B4-BE49-F238E27FC236}">
                  <a16:creationId xmlns:a16="http://schemas.microsoft.com/office/drawing/2014/main" id="{90213318-486F-4013-88E8-68D873C7208A}"/>
                </a:ext>
              </a:extLst>
            </p:cNvPr>
            <p:cNvGrpSpPr/>
            <p:nvPr/>
          </p:nvGrpSpPr>
          <p:grpSpPr bwMode="gray">
            <a:xfrm>
              <a:off x="5290355" y="4853936"/>
              <a:ext cx="4116605" cy="269692"/>
              <a:chOff x="3717926" y="2195338"/>
              <a:chExt cx="4116605" cy="292708"/>
            </a:xfrm>
          </p:grpSpPr>
          <p:sp>
            <p:nvSpPr>
              <p:cNvPr id="261" name="Rechteck 40">
                <a:extLst>
                  <a:ext uri="{FF2B5EF4-FFF2-40B4-BE49-F238E27FC236}">
                    <a16:creationId xmlns:a16="http://schemas.microsoft.com/office/drawing/2014/main" id="{9CCEF0EC-DD8F-4BF3-9A1F-5F5362C48FE0}"/>
                  </a:ext>
                </a:extLst>
              </p:cNvPr>
              <p:cNvSpPr/>
              <p:nvPr/>
            </p:nvSpPr>
            <p:spPr bwMode="gray">
              <a:xfrm>
                <a:off x="3717926" y="2195338"/>
                <a:ext cx="2592597" cy="292708"/>
              </a:xfrm>
              <a:prstGeom prst="rect">
                <a:avLst/>
              </a:prstGeom>
              <a:solidFill>
                <a:srgbClr val="45B1C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 DESCRIPTION 4</a:t>
                </a:r>
              </a:p>
            </p:txBody>
          </p:sp>
          <p:sp>
            <p:nvSpPr>
              <p:cNvPr id="262" name="Abgerundetes Rechteck 41">
                <a:extLst>
                  <a:ext uri="{FF2B5EF4-FFF2-40B4-BE49-F238E27FC236}">
                    <a16:creationId xmlns:a16="http://schemas.microsoft.com/office/drawing/2014/main" id="{EFD51240-C9ED-426D-BC93-6B0ED4C298E1}"/>
                  </a:ext>
                </a:extLst>
              </p:cNvPr>
              <p:cNvSpPr/>
              <p:nvPr/>
            </p:nvSpPr>
            <p:spPr bwMode="gray">
              <a:xfrm>
                <a:off x="6442161" y="2195338"/>
                <a:ext cx="139237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7" name="Gruppieren 42">
              <a:extLst>
                <a:ext uri="{FF2B5EF4-FFF2-40B4-BE49-F238E27FC236}">
                  <a16:creationId xmlns:a16="http://schemas.microsoft.com/office/drawing/2014/main" id="{08A40220-DCD7-4D97-A57F-990A07B7D8DF}"/>
                </a:ext>
              </a:extLst>
            </p:cNvPr>
            <p:cNvGrpSpPr/>
            <p:nvPr/>
          </p:nvGrpSpPr>
          <p:grpSpPr bwMode="gray">
            <a:xfrm>
              <a:off x="7881682" y="5184991"/>
              <a:ext cx="2729137" cy="272560"/>
              <a:chOff x="7924760" y="2554646"/>
              <a:chExt cx="2729137" cy="295821"/>
            </a:xfrm>
          </p:grpSpPr>
          <p:sp>
            <p:nvSpPr>
              <p:cNvPr id="259" name="Rechteck 43">
                <a:extLst>
                  <a:ext uri="{FF2B5EF4-FFF2-40B4-BE49-F238E27FC236}">
                    <a16:creationId xmlns:a16="http://schemas.microsoft.com/office/drawing/2014/main" id="{AECFA934-E4B4-40D7-8562-E488056DD51D}"/>
                  </a:ext>
                </a:extLst>
              </p:cNvPr>
              <p:cNvSpPr/>
              <p:nvPr/>
            </p:nvSpPr>
            <p:spPr bwMode="gray">
              <a:xfrm>
                <a:off x="7924760" y="2557759"/>
                <a:ext cx="1681575" cy="292708"/>
              </a:xfrm>
              <a:prstGeom prst="rect">
                <a:avLst/>
              </a:prstGeom>
              <a:solidFill>
                <a:srgbClr val="9BBB59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5</a:t>
                </a:r>
              </a:p>
            </p:txBody>
          </p:sp>
          <p:sp>
            <p:nvSpPr>
              <p:cNvPr id="260" name="Abgerundetes Rechteck 44">
                <a:extLst>
                  <a:ext uri="{FF2B5EF4-FFF2-40B4-BE49-F238E27FC236}">
                    <a16:creationId xmlns:a16="http://schemas.microsoft.com/office/drawing/2014/main" id="{DCF1B02B-C818-4E78-934E-77093514FD65}"/>
                  </a:ext>
                </a:extLst>
              </p:cNvPr>
              <p:cNvSpPr/>
              <p:nvPr/>
            </p:nvSpPr>
            <p:spPr bwMode="gray">
              <a:xfrm>
                <a:off x="9704917" y="2554646"/>
                <a:ext cx="94898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8" name="Gruppieren 45">
              <a:extLst>
                <a:ext uri="{FF2B5EF4-FFF2-40B4-BE49-F238E27FC236}">
                  <a16:creationId xmlns:a16="http://schemas.microsoft.com/office/drawing/2014/main" id="{F282B394-F823-4183-B47A-4DDBEC9F99AE}"/>
                </a:ext>
              </a:extLst>
            </p:cNvPr>
            <p:cNvGrpSpPr/>
            <p:nvPr/>
          </p:nvGrpSpPr>
          <p:grpSpPr bwMode="gray">
            <a:xfrm>
              <a:off x="9479138" y="5544040"/>
              <a:ext cx="2167375" cy="272560"/>
              <a:chOff x="8231220" y="2554646"/>
              <a:chExt cx="2167375" cy="295821"/>
            </a:xfrm>
          </p:grpSpPr>
          <p:sp>
            <p:nvSpPr>
              <p:cNvPr id="257" name="Rechteck 46">
                <a:extLst>
                  <a:ext uri="{FF2B5EF4-FFF2-40B4-BE49-F238E27FC236}">
                    <a16:creationId xmlns:a16="http://schemas.microsoft.com/office/drawing/2014/main" id="{7FD2FED0-29C5-42AA-9B31-B27AE29ED2BD}"/>
                  </a:ext>
                </a:extLst>
              </p:cNvPr>
              <p:cNvSpPr/>
              <p:nvPr/>
            </p:nvSpPr>
            <p:spPr bwMode="gray">
              <a:xfrm>
                <a:off x="8231220" y="2557759"/>
                <a:ext cx="1144332" cy="292708"/>
              </a:xfrm>
              <a:prstGeom prst="rect">
                <a:avLst/>
              </a:prstGeom>
              <a:solidFill>
                <a:srgbClr val="9BBB59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6</a:t>
                </a:r>
              </a:p>
            </p:txBody>
          </p:sp>
          <p:sp>
            <p:nvSpPr>
              <p:cNvPr id="258" name="Abgerundetes Rechteck 47">
                <a:extLst>
                  <a:ext uri="{FF2B5EF4-FFF2-40B4-BE49-F238E27FC236}">
                    <a16:creationId xmlns:a16="http://schemas.microsoft.com/office/drawing/2014/main" id="{F64DF606-B5C3-480E-B814-3EBA899460C2}"/>
                  </a:ext>
                </a:extLst>
              </p:cNvPr>
              <p:cNvSpPr/>
              <p:nvPr/>
            </p:nvSpPr>
            <p:spPr bwMode="gray">
              <a:xfrm>
                <a:off x="9475766" y="2554646"/>
                <a:ext cx="922829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9" name="Gruppieren 48">
              <a:extLst>
                <a:ext uri="{FF2B5EF4-FFF2-40B4-BE49-F238E27FC236}">
                  <a16:creationId xmlns:a16="http://schemas.microsoft.com/office/drawing/2014/main" id="{AC15968C-CB12-4690-8C11-00E855DA94CD}"/>
                </a:ext>
              </a:extLst>
            </p:cNvPr>
            <p:cNvGrpSpPr/>
            <p:nvPr/>
          </p:nvGrpSpPr>
          <p:grpSpPr bwMode="gray">
            <a:xfrm>
              <a:off x="710121" y="3239611"/>
              <a:ext cx="10796079" cy="122918"/>
              <a:chOff x="710122" y="1800497"/>
              <a:chExt cx="5398040" cy="133408"/>
            </a:xfrm>
          </p:grpSpPr>
          <p:grpSp>
            <p:nvGrpSpPr>
              <p:cNvPr id="173" name="Gruppieren 49">
                <a:extLst>
                  <a:ext uri="{FF2B5EF4-FFF2-40B4-BE49-F238E27FC236}">
                    <a16:creationId xmlns:a16="http://schemas.microsoft.com/office/drawing/2014/main" id="{49292A5B-AFC6-44C6-A71A-D0F9935DC02C}"/>
                  </a:ext>
                </a:extLst>
              </p:cNvPr>
              <p:cNvGrpSpPr/>
              <p:nvPr/>
            </p:nvGrpSpPr>
            <p:grpSpPr bwMode="gray">
              <a:xfrm>
                <a:off x="2509468" y="1800497"/>
                <a:ext cx="899673" cy="133408"/>
                <a:chOff x="4455268" y="-505838"/>
                <a:chExt cx="1400783" cy="272374"/>
              </a:xfrm>
            </p:grpSpPr>
            <p:cxnSp>
              <p:nvCxnSpPr>
                <p:cNvPr id="244" name="Gerader Verbinder 329">
                  <a:extLst>
                    <a:ext uri="{FF2B5EF4-FFF2-40B4-BE49-F238E27FC236}">
                      <a16:creationId xmlns:a16="http://schemas.microsoft.com/office/drawing/2014/main" id="{A644F213-079C-4410-89D3-106885F8ED75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5" name="Gerader Verbinder 330">
                  <a:extLst>
                    <a:ext uri="{FF2B5EF4-FFF2-40B4-BE49-F238E27FC236}">
                      <a16:creationId xmlns:a16="http://schemas.microsoft.com/office/drawing/2014/main" id="{BBAA438C-44ED-40BA-9E96-945543E0B8D2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6" name="Gerader Verbinder 331">
                  <a:extLst>
                    <a:ext uri="{FF2B5EF4-FFF2-40B4-BE49-F238E27FC236}">
                      <a16:creationId xmlns:a16="http://schemas.microsoft.com/office/drawing/2014/main" id="{9762CF80-FE25-41F7-B670-C1CE496E7B9E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7" name="Gerader Verbinder 332">
                  <a:extLst>
                    <a:ext uri="{FF2B5EF4-FFF2-40B4-BE49-F238E27FC236}">
                      <a16:creationId xmlns:a16="http://schemas.microsoft.com/office/drawing/2014/main" id="{33C7A07D-FF65-486F-AD9A-90C447FCE720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8" name="Gerader Verbinder 333">
                  <a:extLst>
                    <a:ext uri="{FF2B5EF4-FFF2-40B4-BE49-F238E27FC236}">
                      <a16:creationId xmlns:a16="http://schemas.microsoft.com/office/drawing/2014/main" id="{B03611C3-BF51-463F-B6DC-45B67EEEC48B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9" name="Gerader Verbinder 334">
                  <a:extLst>
                    <a:ext uri="{FF2B5EF4-FFF2-40B4-BE49-F238E27FC236}">
                      <a16:creationId xmlns:a16="http://schemas.microsoft.com/office/drawing/2014/main" id="{408EACB1-5298-420B-BFB6-76C8CFB7CA32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0" name="Gerader Verbinder 335">
                  <a:extLst>
                    <a:ext uri="{FF2B5EF4-FFF2-40B4-BE49-F238E27FC236}">
                      <a16:creationId xmlns:a16="http://schemas.microsoft.com/office/drawing/2014/main" id="{CF4A0F8E-0AF0-4997-91DF-7D7EE8B57EB8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1" name="Gerader Verbinder 336">
                  <a:extLst>
                    <a:ext uri="{FF2B5EF4-FFF2-40B4-BE49-F238E27FC236}">
                      <a16:creationId xmlns:a16="http://schemas.microsoft.com/office/drawing/2014/main" id="{CBC1D94A-D265-49D7-9FA0-27EB0329764B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2" name="Gerader Verbinder 337">
                  <a:extLst>
                    <a:ext uri="{FF2B5EF4-FFF2-40B4-BE49-F238E27FC236}">
                      <a16:creationId xmlns:a16="http://schemas.microsoft.com/office/drawing/2014/main" id="{540622F0-6910-47A8-ADA0-9BE508E33144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3" name="Gerader Verbinder 338">
                  <a:extLst>
                    <a:ext uri="{FF2B5EF4-FFF2-40B4-BE49-F238E27FC236}">
                      <a16:creationId xmlns:a16="http://schemas.microsoft.com/office/drawing/2014/main" id="{8AC873E4-13AB-41B3-975B-C7C19CC93EB6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4" name="Gerader Verbinder 339">
                  <a:extLst>
                    <a:ext uri="{FF2B5EF4-FFF2-40B4-BE49-F238E27FC236}">
                      <a16:creationId xmlns:a16="http://schemas.microsoft.com/office/drawing/2014/main" id="{997FD2CE-6B6C-48CD-A698-2DB4339B9194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5" name="Gerader Verbinder 340">
                  <a:extLst>
                    <a:ext uri="{FF2B5EF4-FFF2-40B4-BE49-F238E27FC236}">
                      <a16:creationId xmlns:a16="http://schemas.microsoft.com/office/drawing/2014/main" id="{E85CD952-FC31-485B-8595-915EC54C7058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6" name="Gerader Verbinder 341">
                  <a:extLst>
                    <a:ext uri="{FF2B5EF4-FFF2-40B4-BE49-F238E27FC236}">
                      <a16:creationId xmlns:a16="http://schemas.microsoft.com/office/drawing/2014/main" id="{F966907A-C58F-44E3-8070-D1A957EE8C3F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4" name="Gruppieren 50">
                <a:extLst>
                  <a:ext uri="{FF2B5EF4-FFF2-40B4-BE49-F238E27FC236}">
                    <a16:creationId xmlns:a16="http://schemas.microsoft.com/office/drawing/2014/main" id="{FC64FFF2-5C42-4D50-915C-B1DFBE802750}"/>
                  </a:ext>
                </a:extLst>
              </p:cNvPr>
              <p:cNvGrpSpPr/>
              <p:nvPr/>
            </p:nvGrpSpPr>
            <p:grpSpPr bwMode="gray">
              <a:xfrm>
                <a:off x="3409141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31" name="Gerader Verbinder 316">
                  <a:extLst>
                    <a:ext uri="{FF2B5EF4-FFF2-40B4-BE49-F238E27FC236}">
                      <a16:creationId xmlns:a16="http://schemas.microsoft.com/office/drawing/2014/main" id="{42BDCB42-8838-42C8-B493-19EEF29C493A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2" name="Gerader Verbinder 317">
                  <a:extLst>
                    <a:ext uri="{FF2B5EF4-FFF2-40B4-BE49-F238E27FC236}">
                      <a16:creationId xmlns:a16="http://schemas.microsoft.com/office/drawing/2014/main" id="{E7BD859B-BB91-48B5-8862-63F48EBEA7DA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3" name="Gerader Verbinder 318">
                  <a:extLst>
                    <a:ext uri="{FF2B5EF4-FFF2-40B4-BE49-F238E27FC236}">
                      <a16:creationId xmlns:a16="http://schemas.microsoft.com/office/drawing/2014/main" id="{4BBF3D22-1FAE-4C5E-BB2D-A8BDDB7AF18C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4" name="Gerader Verbinder 319">
                  <a:extLst>
                    <a:ext uri="{FF2B5EF4-FFF2-40B4-BE49-F238E27FC236}">
                      <a16:creationId xmlns:a16="http://schemas.microsoft.com/office/drawing/2014/main" id="{C28BECA7-11A1-42EA-A1C5-C6D22E50DAE9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5" name="Gerader Verbinder 320">
                  <a:extLst>
                    <a:ext uri="{FF2B5EF4-FFF2-40B4-BE49-F238E27FC236}">
                      <a16:creationId xmlns:a16="http://schemas.microsoft.com/office/drawing/2014/main" id="{97E50908-2278-42B3-8FDB-AB067A11FA6C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6" name="Gerader Verbinder 321">
                  <a:extLst>
                    <a:ext uri="{FF2B5EF4-FFF2-40B4-BE49-F238E27FC236}">
                      <a16:creationId xmlns:a16="http://schemas.microsoft.com/office/drawing/2014/main" id="{03B06434-3728-48AB-90F5-930C952446DD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7" name="Gerader Verbinder 322">
                  <a:extLst>
                    <a:ext uri="{FF2B5EF4-FFF2-40B4-BE49-F238E27FC236}">
                      <a16:creationId xmlns:a16="http://schemas.microsoft.com/office/drawing/2014/main" id="{64CC3BCB-A07A-4512-B8CE-13B48ED532E6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8" name="Gerader Verbinder 323">
                  <a:extLst>
                    <a:ext uri="{FF2B5EF4-FFF2-40B4-BE49-F238E27FC236}">
                      <a16:creationId xmlns:a16="http://schemas.microsoft.com/office/drawing/2014/main" id="{DD593D42-97E4-4A3B-BC5D-A6C7264B8606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9" name="Gerader Verbinder 324">
                  <a:extLst>
                    <a:ext uri="{FF2B5EF4-FFF2-40B4-BE49-F238E27FC236}">
                      <a16:creationId xmlns:a16="http://schemas.microsoft.com/office/drawing/2014/main" id="{B16626E6-D7C4-42C1-8FFF-F314961422A2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0" name="Gerader Verbinder 325">
                  <a:extLst>
                    <a:ext uri="{FF2B5EF4-FFF2-40B4-BE49-F238E27FC236}">
                      <a16:creationId xmlns:a16="http://schemas.microsoft.com/office/drawing/2014/main" id="{03840D2D-D616-41CA-909F-717D958719D3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1" name="Gerader Verbinder 326">
                  <a:extLst>
                    <a:ext uri="{FF2B5EF4-FFF2-40B4-BE49-F238E27FC236}">
                      <a16:creationId xmlns:a16="http://schemas.microsoft.com/office/drawing/2014/main" id="{033390AD-F09A-43DB-8407-F1A27B044243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2" name="Gerader Verbinder 327">
                  <a:extLst>
                    <a:ext uri="{FF2B5EF4-FFF2-40B4-BE49-F238E27FC236}">
                      <a16:creationId xmlns:a16="http://schemas.microsoft.com/office/drawing/2014/main" id="{6C86C7AB-E19C-450C-B6A7-0A0A9C5D8BEE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3" name="Gerader Verbinder 328">
                  <a:extLst>
                    <a:ext uri="{FF2B5EF4-FFF2-40B4-BE49-F238E27FC236}">
                      <a16:creationId xmlns:a16="http://schemas.microsoft.com/office/drawing/2014/main" id="{6EE222EC-5E9C-46E6-9870-F426833AB38D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5" name="Gruppieren 51">
                <a:extLst>
                  <a:ext uri="{FF2B5EF4-FFF2-40B4-BE49-F238E27FC236}">
                    <a16:creationId xmlns:a16="http://schemas.microsoft.com/office/drawing/2014/main" id="{768141E9-A332-4EB2-B17D-0B30BD331692}"/>
                  </a:ext>
                </a:extLst>
              </p:cNvPr>
              <p:cNvGrpSpPr/>
              <p:nvPr/>
            </p:nvGrpSpPr>
            <p:grpSpPr bwMode="gray">
              <a:xfrm>
                <a:off x="4308813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18" name="Gerader Verbinder 303">
                  <a:extLst>
                    <a:ext uri="{FF2B5EF4-FFF2-40B4-BE49-F238E27FC236}">
                      <a16:creationId xmlns:a16="http://schemas.microsoft.com/office/drawing/2014/main" id="{8A874066-49B7-434E-B100-DA90BE46BAA7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9" name="Gerader Verbinder 304">
                  <a:extLst>
                    <a:ext uri="{FF2B5EF4-FFF2-40B4-BE49-F238E27FC236}">
                      <a16:creationId xmlns:a16="http://schemas.microsoft.com/office/drawing/2014/main" id="{ED3FD74B-C6CE-4A8C-9C34-B4AC3D8A7036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0" name="Gerader Verbinder 305">
                  <a:extLst>
                    <a:ext uri="{FF2B5EF4-FFF2-40B4-BE49-F238E27FC236}">
                      <a16:creationId xmlns:a16="http://schemas.microsoft.com/office/drawing/2014/main" id="{738E9A95-4663-4FAC-B5B8-E79581E478B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1" name="Gerader Verbinder 306">
                  <a:extLst>
                    <a:ext uri="{FF2B5EF4-FFF2-40B4-BE49-F238E27FC236}">
                      <a16:creationId xmlns:a16="http://schemas.microsoft.com/office/drawing/2014/main" id="{41733134-095B-452E-9899-967728B58AC4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2" name="Gerader Verbinder 307">
                  <a:extLst>
                    <a:ext uri="{FF2B5EF4-FFF2-40B4-BE49-F238E27FC236}">
                      <a16:creationId xmlns:a16="http://schemas.microsoft.com/office/drawing/2014/main" id="{40245F0A-7E1A-49A7-9E0F-02F59192CA4C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3" name="Gerader Verbinder 308">
                  <a:extLst>
                    <a:ext uri="{FF2B5EF4-FFF2-40B4-BE49-F238E27FC236}">
                      <a16:creationId xmlns:a16="http://schemas.microsoft.com/office/drawing/2014/main" id="{5E399021-8E5F-4FE8-8F34-D6510A3C3A52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4" name="Gerader Verbinder 309">
                  <a:extLst>
                    <a:ext uri="{FF2B5EF4-FFF2-40B4-BE49-F238E27FC236}">
                      <a16:creationId xmlns:a16="http://schemas.microsoft.com/office/drawing/2014/main" id="{5B90BB64-22D8-495C-B329-6E21C6D764B5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5" name="Gerader Verbinder 310">
                  <a:extLst>
                    <a:ext uri="{FF2B5EF4-FFF2-40B4-BE49-F238E27FC236}">
                      <a16:creationId xmlns:a16="http://schemas.microsoft.com/office/drawing/2014/main" id="{DCF67BB7-479E-41B8-B472-F4AF84F3700A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6" name="Gerader Verbinder 311">
                  <a:extLst>
                    <a:ext uri="{FF2B5EF4-FFF2-40B4-BE49-F238E27FC236}">
                      <a16:creationId xmlns:a16="http://schemas.microsoft.com/office/drawing/2014/main" id="{F87034F9-897C-4759-88FF-6C38336DCFFB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7" name="Gerader Verbinder 312">
                  <a:extLst>
                    <a:ext uri="{FF2B5EF4-FFF2-40B4-BE49-F238E27FC236}">
                      <a16:creationId xmlns:a16="http://schemas.microsoft.com/office/drawing/2014/main" id="{5B41C83E-1C72-41DA-B912-73954FFDB211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8" name="Gerader Verbinder 313">
                  <a:extLst>
                    <a:ext uri="{FF2B5EF4-FFF2-40B4-BE49-F238E27FC236}">
                      <a16:creationId xmlns:a16="http://schemas.microsoft.com/office/drawing/2014/main" id="{26458405-0C38-4E1D-9FEC-7F58A0C8BFE1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9" name="Gerader Verbinder 314">
                  <a:extLst>
                    <a:ext uri="{FF2B5EF4-FFF2-40B4-BE49-F238E27FC236}">
                      <a16:creationId xmlns:a16="http://schemas.microsoft.com/office/drawing/2014/main" id="{66AC9073-D8DD-40BE-B560-7FC885368F16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0" name="Gerader Verbinder 315">
                  <a:extLst>
                    <a:ext uri="{FF2B5EF4-FFF2-40B4-BE49-F238E27FC236}">
                      <a16:creationId xmlns:a16="http://schemas.microsoft.com/office/drawing/2014/main" id="{1CEE65BA-8452-4ABB-9C1D-1B3128277248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6" name="Gruppieren 52">
                <a:extLst>
                  <a:ext uri="{FF2B5EF4-FFF2-40B4-BE49-F238E27FC236}">
                    <a16:creationId xmlns:a16="http://schemas.microsoft.com/office/drawing/2014/main" id="{B57F46D9-55E2-46C9-9427-188CD3B2B111}"/>
                  </a:ext>
                </a:extLst>
              </p:cNvPr>
              <p:cNvGrpSpPr/>
              <p:nvPr/>
            </p:nvGrpSpPr>
            <p:grpSpPr bwMode="gray">
              <a:xfrm>
                <a:off x="5208488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05" name="Gerader Verbinder 290">
                  <a:extLst>
                    <a:ext uri="{FF2B5EF4-FFF2-40B4-BE49-F238E27FC236}">
                      <a16:creationId xmlns:a16="http://schemas.microsoft.com/office/drawing/2014/main" id="{DDCD4559-4A73-4FB6-A372-0FD82C207893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6" name="Gerader Verbinder 291">
                  <a:extLst>
                    <a:ext uri="{FF2B5EF4-FFF2-40B4-BE49-F238E27FC236}">
                      <a16:creationId xmlns:a16="http://schemas.microsoft.com/office/drawing/2014/main" id="{63288385-D0B7-437E-8810-9537F33A6895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7" name="Gerader Verbinder 292">
                  <a:extLst>
                    <a:ext uri="{FF2B5EF4-FFF2-40B4-BE49-F238E27FC236}">
                      <a16:creationId xmlns:a16="http://schemas.microsoft.com/office/drawing/2014/main" id="{AC8032B4-C859-4C91-8DA0-3D9C0BF7794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8" name="Gerader Verbinder 293">
                  <a:extLst>
                    <a:ext uri="{FF2B5EF4-FFF2-40B4-BE49-F238E27FC236}">
                      <a16:creationId xmlns:a16="http://schemas.microsoft.com/office/drawing/2014/main" id="{90F02B0F-C571-4D02-A7BD-48908B107A8F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9" name="Gerader Verbinder 294">
                  <a:extLst>
                    <a:ext uri="{FF2B5EF4-FFF2-40B4-BE49-F238E27FC236}">
                      <a16:creationId xmlns:a16="http://schemas.microsoft.com/office/drawing/2014/main" id="{4862ABDC-3488-4112-8E5D-4F52B8C52BF1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0" name="Gerader Verbinder 295">
                  <a:extLst>
                    <a:ext uri="{FF2B5EF4-FFF2-40B4-BE49-F238E27FC236}">
                      <a16:creationId xmlns:a16="http://schemas.microsoft.com/office/drawing/2014/main" id="{DAE377A3-EC87-4DAD-9458-82034291C650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1" name="Gerader Verbinder 296">
                  <a:extLst>
                    <a:ext uri="{FF2B5EF4-FFF2-40B4-BE49-F238E27FC236}">
                      <a16:creationId xmlns:a16="http://schemas.microsoft.com/office/drawing/2014/main" id="{41EB08BE-D4DD-4EE3-A8DC-BAE9A739B90D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2" name="Gerader Verbinder 297">
                  <a:extLst>
                    <a:ext uri="{FF2B5EF4-FFF2-40B4-BE49-F238E27FC236}">
                      <a16:creationId xmlns:a16="http://schemas.microsoft.com/office/drawing/2014/main" id="{E5CF5F44-37C9-4AB4-A63E-61BC2A75E1C7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3" name="Gerader Verbinder 298">
                  <a:extLst>
                    <a:ext uri="{FF2B5EF4-FFF2-40B4-BE49-F238E27FC236}">
                      <a16:creationId xmlns:a16="http://schemas.microsoft.com/office/drawing/2014/main" id="{17055704-4669-4368-AED7-B053BE63E288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4" name="Gerader Verbinder 299">
                  <a:extLst>
                    <a:ext uri="{FF2B5EF4-FFF2-40B4-BE49-F238E27FC236}">
                      <a16:creationId xmlns:a16="http://schemas.microsoft.com/office/drawing/2014/main" id="{755429FC-0F1D-44FC-806E-10E034B699E7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5" name="Gerader Verbinder 300">
                  <a:extLst>
                    <a:ext uri="{FF2B5EF4-FFF2-40B4-BE49-F238E27FC236}">
                      <a16:creationId xmlns:a16="http://schemas.microsoft.com/office/drawing/2014/main" id="{7AF9E67B-776D-4257-8587-0FB5E78918FC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6" name="Gerader Verbinder 301">
                  <a:extLst>
                    <a:ext uri="{FF2B5EF4-FFF2-40B4-BE49-F238E27FC236}">
                      <a16:creationId xmlns:a16="http://schemas.microsoft.com/office/drawing/2014/main" id="{E666102A-88C1-4A25-911F-DB91A75F6AFC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7" name="Gerader Verbinder 302">
                  <a:extLst>
                    <a:ext uri="{FF2B5EF4-FFF2-40B4-BE49-F238E27FC236}">
                      <a16:creationId xmlns:a16="http://schemas.microsoft.com/office/drawing/2014/main" id="{668408F5-8075-4354-BEBA-3CC9BBF78620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7" name="Gruppieren 53">
                <a:extLst>
                  <a:ext uri="{FF2B5EF4-FFF2-40B4-BE49-F238E27FC236}">
                    <a16:creationId xmlns:a16="http://schemas.microsoft.com/office/drawing/2014/main" id="{7A0E96A9-D044-4397-A9E4-E769B571A6B8}"/>
                  </a:ext>
                </a:extLst>
              </p:cNvPr>
              <p:cNvGrpSpPr/>
              <p:nvPr/>
            </p:nvGrpSpPr>
            <p:grpSpPr bwMode="gray">
              <a:xfrm>
                <a:off x="710122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192" name="Gerader Verbinder 251">
                  <a:extLst>
                    <a:ext uri="{FF2B5EF4-FFF2-40B4-BE49-F238E27FC236}">
                      <a16:creationId xmlns:a16="http://schemas.microsoft.com/office/drawing/2014/main" id="{6188657C-CB42-48A6-B4A3-138DCEECFB86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3" name="Gerader Verbinder 252">
                  <a:extLst>
                    <a:ext uri="{FF2B5EF4-FFF2-40B4-BE49-F238E27FC236}">
                      <a16:creationId xmlns:a16="http://schemas.microsoft.com/office/drawing/2014/main" id="{F0A4185D-7AB2-40A2-B93D-F76457965866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4" name="Gerader Verbinder 253">
                  <a:extLst>
                    <a:ext uri="{FF2B5EF4-FFF2-40B4-BE49-F238E27FC236}">
                      <a16:creationId xmlns:a16="http://schemas.microsoft.com/office/drawing/2014/main" id="{45BBF16F-1C4D-449D-84BF-CA9BF71E2DF5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5" name="Gerader Verbinder 254">
                  <a:extLst>
                    <a:ext uri="{FF2B5EF4-FFF2-40B4-BE49-F238E27FC236}">
                      <a16:creationId xmlns:a16="http://schemas.microsoft.com/office/drawing/2014/main" id="{88FF3065-F283-42A3-BCEF-45E623A869F4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6" name="Gerader Verbinder 255">
                  <a:extLst>
                    <a:ext uri="{FF2B5EF4-FFF2-40B4-BE49-F238E27FC236}">
                      <a16:creationId xmlns:a16="http://schemas.microsoft.com/office/drawing/2014/main" id="{163C8FEA-3552-4E78-926A-6953AA9705F8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7" name="Gerader Verbinder 256">
                  <a:extLst>
                    <a:ext uri="{FF2B5EF4-FFF2-40B4-BE49-F238E27FC236}">
                      <a16:creationId xmlns:a16="http://schemas.microsoft.com/office/drawing/2014/main" id="{AA776082-59ED-4768-9EB8-89AA758879A3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8" name="Gerader Verbinder 257">
                  <a:extLst>
                    <a:ext uri="{FF2B5EF4-FFF2-40B4-BE49-F238E27FC236}">
                      <a16:creationId xmlns:a16="http://schemas.microsoft.com/office/drawing/2014/main" id="{5A406BD4-D66F-4EE3-B494-8221CD6AF348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9" name="Gerader Verbinder 258">
                  <a:extLst>
                    <a:ext uri="{FF2B5EF4-FFF2-40B4-BE49-F238E27FC236}">
                      <a16:creationId xmlns:a16="http://schemas.microsoft.com/office/drawing/2014/main" id="{56E3BC2C-F363-4820-BA03-059DE98E02BB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0" name="Gerader Verbinder 259">
                  <a:extLst>
                    <a:ext uri="{FF2B5EF4-FFF2-40B4-BE49-F238E27FC236}">
                      <a16:creationId xmlns:a16="http://schemas.microsoft.com/office/drawing/2014/main" id="{BF07C3B4-F086-475E-9F92-AA84A9CFF3C7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1" name="Gerader Verbinder 260">
                  <a:extLst>
                    <a:ext uri="{FF2B5EF4-FFF2-40B4-BE49-F238E27FC236}">
                      <a16:creationId xmlns:a16="http://schemas.microsoft.com/office/drawing/2014/main" id="{B254C6FA-9112-4A09-9380-69561009FFA0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2" name="Gerader Verbinder 261">
                  <a:extLst>
                    <a:ext uri="{FF2B5EF4-FFF2-40B4-BE49-F238E27FC236}">
                      <a16:creationId xmlns:a16="http://schemas.microsoft.com/office/drawing/2014/main" id="{73393B22-BE1D-41E1-818E-8D7513A47254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3" name="Gerader Verbinder 262">
                  <a:extLst>
                    <a:ext uri="{FF2B5EF4-FFF2-40B4-BE49-F238E27FC236}">
                      <a16:creationId xmlns:a16="http://schemas.microsoft.com/office/drawing/2014/main" id="{D13D282B-6F3C-434B-8CEE-586A7ABDB268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4" name="Gerader Verbinder 263">
                  <a:extLst>
                    <a:ext uri="{FF2B5EF4-FFF2-40B4-BE49-F238E27FC236}">
                      <a16:creationId xmlns:a16="http://schemas.microsoft.com/office/drawing/2014/main" id="{80D59FC5-9BFE-4976-B02F-56AE38F8FF8D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8" name="Gruppieren 54">
                <a:extLst>
                  <a:ext uri="{FF2B5EF4-FFF2-40B4-BE49-F238E27FC236}">
                    <a16:creationId xmlns:a16="http://schemas.microsoft.com/office/drawing/2014/main" id="{3B30A7B4-043F-4298-9EF4-022DD536115D}"/>
                  </a:ext>
                </a:extLst>
              </p:cNvPr>
              <p:cNvGrpSpPr/>
              <p:nvPr/>
            </p:nvGrpSpPr>
            <p:grpSpPr bwMode="gray">
              <a:xfrm>
                <a:off x="1609794" y="1800497"/>
                <a:ext cx="899673" cy="133408"/>
                <a:chOff x="4455268" y="-505838"/>
                <a:chExt cx="1400783" cy="272374"/>
              </a:xfrm>
            </p:grpSpPr>
            <p:cxnSp>
              <p:nvCxnSpPr>
                <p:cNvPr id="179" name="Gerader Verbinder 238">
                  <a:extLst>
                    <a:ext uri="{FF2B5EF4-FFF2-40B4-BE49-F238E27FC236}">
                      <a16:creationId xmlns:a16="http://schemas.microsoft.com/office/drawing/2014/main" id="{58F0AC89-B3E3-4D03-80D8-0567D69CDCE8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0" name="Gerader Verbinder 239">
                  <a:extLst>
                    <a:ext uri="{FF2B5EF4-FFF2-40B4-BE49-F238E27FC236}">
                      <a16:creationId xmlns:a16="http://schemas.microsoft.com/office/drawing/2014/main" id="{90F541C0-930A-4392-AE69-F795588A63ED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1" name="Gerader Verbinder 240">
                  <a:extLst>
                    <a:ext uri="{FF2B5EF4-FFF2-40B4-BE49-F238E27FC236}">
                      <a16:creationId xmlns:a16="http://schemas.microsoft.com/office/drawing/2014/main" id="{ED9FD8BF-55E6-42CE-9CFE-B68BD52A37F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2" name="Gerader Verbinder 241">
                  <a:extLst>
                    <a:ext uri="{FF2B5EF4-FFF2-40B4-BE49-F238E27FC236}">
                      <a16:creationId xmlns:a16="http://schemas.microsoft.com/office/drawing/2014/main" id="{49E0AE86-1C50-4766-87DB-FB0BFB1791B8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3" name="Gerader Verbinder 242">
                  <a:extLst>
                    <a:ext uri="{FF2B5EF4-FFF2-40B4-BE49-F238E27FC236}">
                      <a16:creationId xmlns:a16="http://schemas.microsoft.com/office/drawing/2014/main" id="{7910D2EA-4023-4A98-B384-B4C064047F9A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4" name="Gerader Verbinder 243">
                  <a:extLst>
                    <a:ext uri="{FF2B5EF4-FFF2-40B4-BE49-F238E27FC236}">
                      <a16:creationId xmlns:a16="http://schemas.microsoft.com/office/drawing/2014/main" id="{561DE8B6-B494-418E-BDD2-D6969189D736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5" name="Gerader Verbinder 244">
                  <a:extLst>
                    <a:ext uri="{FF2B5EF4-FFF2-40B4-BE49-F238E27FC236}">
                      <a16:creationId xmlns:a16="http://schemas.microsoft.com/office/drawing/2014/main" id="{B662BAEB-08DA-4630-B333-A64BEB072346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6" name="Gerader Verbinder 245">
                  <a:extLst>
                    <a:ext uri="{FF2B5EF4-FFF2-40B4-BE49-F238E27FC236}">
                      <a16:creationId xmlns:a16="http://schemas.microsoft.com/office/drawing/2014/main" id="{704FD033-E32E-454E-AB7A-121AE9D48BE5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7" name="Gerader Verbinder 246">
                  <a:extLst>
                    <a:ext uri="{FF2B5EF4-FFF2-40B4-BE49-F238E27FC236}">
                      <a16:creationId xmlns:a16="http://schemas.microsoft.com/office/drawing/2014/main" id="{305AB3CC-ED0D-4AD1-9FBE-E949D26B4EC6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8" name="Gerader Verbinder 247">
                  <a:extLst>
                    <a:ext uri="{FF2B5EF4-FFF2-40B4-BE49-F238E27FC236}">
                      <a16:creationId xmlns:a16="http://schemas.microsoft.com/office/drawing/2014/main" id="{17A986D0-F270-41AF-B089-7CF54563B80E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9" name="Gerader Verbinder 248">
                  <a:extLst>
                    <a:ext uri="{FF2B5EF4-FFF2-40B4-BE49-F238E27FC236}">
                      <a16:creationId xmlns:a16="http://schemas.microsoft.com/office/drawing/2014/main" id="{D1CEB480-34B7-444C-A065-ED250FA0D081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0" name="Gerader Verbinder 249">
                  <a:extLst>
                    <a:ext uri="{FF2B5EF4-FFF2-40B4-BE49-F238E27FC236}">
                      <a16:creationId xmlns:a16="http://schemas.microsoft.com/office/drawing/2014/main" id="{A1F62D6E-DF4E-456F-960B-FDA54FAE827C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1" name="Gerader Verbinder 250">
                  <a:extLst>
                    <a:ext uri="{FF2B5EF4-FFF2-40B4-BE49-F238E27FC236}">
                      <a16:creationId xmlns:a16="http://schemas.microsoft.com/office/drawing/2014/main" id="{A7F72057-BD22-4CC2-988F-43E2DF25F616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60" name="Text Box 57">
              <a:extLst>
                <a:ext uri="{FF2B5EF4-FFF2-40B4-BE49-F238E27FC236}">
                  <a16:creationId xmlns:a16="http://schemas.microsoft.com/office/drawing/2014/main" id="{505661D0-4C1B-4808-B92E-0DBAD2F0F03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88540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DESCRIPTION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1" name="Gleichschenkliges Dreieck 134">
              <a:extLst>
                <a:ext uri="{FF2B5EF4-FFF2-40B4-BE49-F238E27FC236}">
                  <a16:creationId xmlns:a16="http://schemas.microsoft.com/office/drawing/2014/main" id="{E2ADB08C-BF91-414B-A57A-71311D7D774D}"/>
                </a:ext>
              </a:extLst>
            </p:cNvPr>
            <p:cNvSpPr/>
            <p:nvPr/>
          </p:nvSpPr>
          <p:spPr bwMode="gray">
            <a:xfrm rot="10800000">
              <a:off x="5118530" y="3131143"/>
              <a:ext cx="304800" cy="202824"/>
            </a:xfrm>
            <a:prstGeom prst="triangle">
              <a:avLst/>
            </a:prstGeom>
            <a:solidFill>
              <a:srgbClr val="45B1CB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cxnSp>
          <p:nvCxnSpPr>
            <p:cNvPr id="162" name="Gerade Verbindung 95">
              <a:extLst>
                <a:ext uri="{FF2B5EF4-FFF2-40B4-BE49-F238E27FC236}">
                  <a16:creationId xmlns:a16="http://schemas.microsoft.com/office/drawing/2014/main" id="{2633052C-FE2A-4A78-AB69-C82B9452BEF4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243869" y="3481905"/>
              <a:ext cx="0" cy="2244590"/>
            </a:xfrm>
            <a:prstGeom prst="line">
              <a:avLst/>
            </a:prstGeom>
            <a:noFill/>
            <a:ln w="9525" cap="flat" cmpd="sng" algn="ctr">
              <a:solidFill>
                <a:srgbClr val="A6A6A6"/>
              </a:solidFill>
              <a:prstDash val="solid"/>
            </a:ln>
            <a:effectLst/>
          </p:spPr>
        </p:cxnSp>
        <p:sp>
          <p:nvSpPr>
            <p:cNvPr id="163" name="Text Box 57">
              <a:extLst>
                <a:ext uri="{FF2B5EF4-FFF2-40B4-BE49-F238E27FC236}">
                  <a16:creationId xmlns:a16="http://schemas.microsoft.com/office/drawing/2014/main" id="{9E9BB20A-0DC1-470D-8F9A-89244AF8684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56555" y="2662150"/>
              <a:ext cx="15533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TODAY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4" name="Gleichschenkliges Dreieck 138">
              <a:extLst>
                <a:ext uri="{FF2B5EF4-FFF2-40B4-BE49-F238E27FC236}">
                  <a16:creationId xmlns:a16="http://schemas.microsoft.com/office/drawing/2014/main" id="{761DDE0A-3A15-4F96-800E-425654DA4E80}"/>
                </a:ext>
              </a:extLst>
            </p:cNvPr>
            <p:cNvSpPr/>
            <p:nvPr/>
          </p:nvSpPr>
          <p:spPr bwMode="gray">
            <a:xfrm rot="10800000">
              <a:off x="2086545" y="3131143"/>
              <a:ext cx="304800" cy="187728"/>
            </a:xfrm>
            <a:prstGeom prst="triangle">
              <a:avLst/>
            </a:prstGeom>
            <a:solidFill>
              <a:srgbClr val="9BBB59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cxnSp>
          <p:nvCxnSpPr>
            <p:cNvPr id="165" name="Gerade Verbindung 95">
              <a:extLst>
                <a:ext uri="{FF2B5EF4-FFF2-40B4-BE49-F238E27FC236}">
                  <a16:creationId xmlns:a16="http://schemas.microsoft.com/office/drawing/2014/main" id="{68C567D6-94A2-4E79-8AC2-048F5F67045E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243869" y="1430720"/>
              <a:ext cx="0" cy="1078367"/>
            </a:xfrm>
            <a:prstGeom prst="line">
              <a:avLst/>
            </a:prstGeom>
            <a:noFill/>
            <a:ln w="9525" cap="flat" cmpd="sng" algn="ctr">
              <a:solidFill>
                <a:srgbClr val="A6A6A6"/>
              </a:solidFill>
              <a:prstDash val="solid"/>
            </a:ln>
            <a:effectLst/>
          </p:spPr>
        </p:cxnSp>
        <p:sp>
          <p:nvSpPr>
            <p:cNvPr id="166" name="Text Box 57">
              <a:extLst>
                <a:ext uri="{FF2B5EF4-FFF2-40B4-BE49-F238E27FC236}">
                  <a16:creationId xmlns:a16="http://schemas.microsoft.com/office/drawing/2014/main" id="{D7E74843-FE83-4309-B389-62B816610F4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085775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DESCRIPTION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7" name="Gleichschenkliges Dreieck 141">
              <a:extLst>
                <a:ext uri="{FF2B5EF4-FFF2-40B4-BE49-F238E27FC236}">
                  <a16:creationId xmlns:a16="http://schemas.microsoft.com/office/drawing/2014/main" id="{46D54E95-4696-497B-B005-21C81872987B}"/>
                </a:ext>
              </a:extLst>
            </p:cNvPr>
            <p:cNvSpPr/>
            <p:nvPr/>
          </p:nvSpPr>
          <p:spPr bwMode="gray">
            <a:xfrm rot="10800000">
              <a:off x="7715765" y="3131143"/>
              <a:ext cx="304800" cy="202824"/>
            </a:xfrm>
            <a:prstGeom prst="triangle">
              <a:avLst/>
            </a:prstGeom>
            <a:solidFill>
              <a:srgbClr val="45B1CB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168" name="Text Box 57">
              <a:extLst>
                <a:ext uri="{FF2B5EF4-FFF2-40B4-BE49-F238E27FC236}">
                  <a16:creationId xmlns:a16="http://schemas.microsoft.com/office/drawing/2014/main" id="{04AF47FF-348D-4A56-AD86-5C6CA542561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37367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PROJECT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FINISH</a:t>
              </a:r>
              <a:b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9" name="Gleichschenkliges Dreieck 143">
              <a:extLst>
                <a:ext uri="{FF2B5EF4-FFF2-40B4-BE49-F238E27FC236}">
                  <a16:creationId xmlns:a16="http://schemas.microsoft.com/office/drawing/2014/main" id="{8C0256FB-B88B-4FA9-B63C-E89E9E8EF5A6}"/>
                </a:ext>
              </a:extLst>
            </p:cNvPr>
            <p:cNvSpPr/>
            <p:nvPr/>
          </p:nvSpPr>
          <p:spPr bwMode="gray">
            <a:xfrm rot="10800000">
              <a:off x="10461619" y="3131143"/>
              <a:ext cx="304800" cy="202824"/>
            </a:xfrm>
            <a:prstGeom prst="triangle">
              <a:avLst/>
            </a:prstGeom>
            <a:solidFill>
              <a:srgbClr val="9BBB59">
                <a:lumMod val="7500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170" name="Gruppieren 144">
              <a:extLst>
                <a:ext uri="{FF2B5EF4-FFF2-40B4-BE49-F238E27FC236}">
                  <a16:creationId xmlns:a16="http://schemas.microsoft.com/office/drawing/2014/main" id="{CBDFD496-13DE-4164-BB09-037938EF84F8}"/>
                </a:ext>
              </a:extLst>
            </p:cNvPr>
            <p:cNvGrpSpPr/>
            <p:nvPr/>
          </p:nvGrpSpPr>
          <p:grpSpPr bwMode="gray">
            <a:xfrm>
              <a:off x="693739" y="3852167"/>
              <a:ext cx="3690696" cy="269692"/>
              <a:chOff x="161078" y="1108075"/>
              <a:chExt cx="3690696" cy="292708"/>
            </a:xfrm>
          </p:grpSpPr>
          <p:sp>
            <p:nvSpPr>
              <p:cNvPr id="171" name="Abgerundetes Rechteck 145">
                <a:extLst>
                  <a:ext uri="{FF2B5EF4-FFF2-40B4-BE49-F238E27FC236}">
                    <a16:creationId xmlns:a16="http://schemas.microsoft.com/office/drawing/2014/main" id="{72AA9F39-0CFC-4E06-AF2E-3FE2A00F81B4}"/>
                  </a:ext>
                </a:extLst>
              </p:cNvPr>
              <p:cNvSpPr/>
              <p:nvPr/>
            </p:nvSpPr>
            <p:spPr bwMode="gray">
              <a:xfrm>
                <a:off x="2859367" y="1108075"/>
                <a:ext cx="992407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172" name="Rechteck 146">
                <a:extLst>
                  <a:ext uri="{FF2B5EF4-FFF2-40B4-BE49-F238E27FC236}">
                    <a16:creationId xmlns:a16="http://schemas.microsoft.com/office/drawing/2014/main" id="{76F47EB0-7433-4467-A682-594ADF881050}"/>
                  </a:ext>
                </a:extLst>
              </p:cNvPr>
              <p:cNvSpPr/>
              <p:nvPr/>
            </p:nvSpPr>
            <p:spPr bwMode="gray">
              <a:xfrm>
                <a:off x="161078" y="1108075"/>
                <a:ext cx="2581676" cy="292708"/>
              </a:xfrm>
              <a:prstGeom prst="rect">
                <a:avLst/>
              </a:prstGeom>
              <a:solidFill>
                <a:srgbClr val="3498D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 DESCRIPTION 1</a:t>
                </a:r>
              </a:p>
            </p:txBody>
          </p:sp>
        </p:grpSp>
      </p:grpSp>
      <p:grpSp>
        <p:nvGrpSpPr>
          <p:cNvPr id="274" name="Gruppieren 135">
            <a:extLst>
              <a:ext uri="{FF2B5EF4-FFF2-40B4-BE49-F238E27FC236}">
                <a16:creationId xmlns:a16="http://schemas.microsoft.com/office/drawing/2014/main" id="{0A2DF339-960A-43B9-B4CE-51BD0E32085B}"/>
              </a:ext>
            </a:extLst>
          </p:cNvPr>
          <p:cNvGrpSpPr/>
          <p:nvPr/>
        </p:nvGrpSpPr>
        <p:grpSpPr>
          <a:xfrm>
            <a:off x="9050719" y="1640836"/>
            <a:ext cx="2117271" cy="1714923"/>
            <a:chOff x="4947734" y="2013497"/>
            <a:chExt cx="2117271" cy="1714923"/>
          </a:xfrm>
        </p:grpSpPr>
        <p:grpSp>
          <p:nvGrpSpPr>
            <p:cNvPr id="275" name="Gruppieren 147">
              <a:extLst>
                <a:ext uri="{FF2B5EF4-FFF2-40B4-BE49-F238E27FC236}">
                  <a16:creationId xmlns:a16="http://schemas.microsoft.com/office/drawing/2014/main" id="{79B01897-7577-4AE8-A7DF-E3ADD3C9D6D9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278" name="Gerader Verbinder 150">
                <a:extLst>
                  <a:ext uri="{FF2B5EF4-FFF2-40B4-BE49-F238E27FC236}">
                    <a16:creationId xmlns:a16="http://schemas.microsoft.com/office/drawing/2014/main" id="{48DCCEE4-3F12-4708-96D9-DC6D45D4FA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279" name="Raute 151">
                <a:extLst>
                  <a:ext uri="{FF2B5EF4-FFF2-40B4-BE49-F238E27FC236}">
                    <a16:creationId xmlns:a16="http://schemas.microsoft.com/office/drawing/2014/main" id="{1771B02E-4F07-4AA9-8A66-14103DCEEEAE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276" name="Text Box 57">
              <a:extLst>
                <a:ext uri="{FF2B5EF4-FFF2-40B4-BE49-F238E27FC236}">
                  <a16:creationId xmlns:a16="http://schemas.microsoft.com/office/drawing/2014/main" id="{6C1C5446-8B70-4F0C-9E1A-826BA76748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19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2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277" name="Rechteck 149">
              <a:extLst>
                <a:ext uri="{FF2B5EF4-FFF2-40B4-BE49-F238E27FC236}">
                  <a16:creationId xmlns:a16="http://schemas.microsoft.com/office/drawing/2014/main" id="{1438AC64-F1D4-43CE-A592-496C5670DCA3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280" name="Gruppieren 152">
            <a:extLst>
              <a:ext uri="{FF2B5EF4-FFF2-40B4-BE49-F238E27FC236}">
                <a16:creationId xmlns:a16="http://schemas.microsoft.com/office/drawing/2014/main" id="{93449AF4-1DAA-4B23-B029-6AF515206ACA}"/>
              </a:ext>
            </a:extLst>
          </p:cNvPr>
          <p:cNvGrpSpPr/>
          <p:nvPr/>
        </p:nvGrpSpPr>
        <p:grpSpPr>
          <a:xfrm>
            <a:off x="3154415" y="1640836"/>
            <a:ext cx="2117271" cy="1714923"/>
            <a:chOff x="4947734" y="2013497"/>
            <a:chExt cx="2117271" cy="1714923"/>
          </a:xfrm>
        </p:grpSpPr>
        <p:grpSp>
          <p:nvGrpSpPr>
            <p:cNvPr id="281" name="Gruppieren 153">
              <a:extLst>
                <a:ext uri="{FF2B5EF4-FFF2-40B4-BE49-F238E27FC236}">
                  <a16:creationId xmlns:a16="http://schemas.microsoft.com/office/drawing/2014/main" id="{907E3C70-3AAF-47D3-B8BF-2B5FA356BAEB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284" name="Gerader Verbinder 156">
                <a:extLst>
                  <a:ext uri="{FF2B5EF4-FFF2-40B4-BE49-F238E27FC236}">
                    <a16:creationId xmlns:a16="http://schemas.microsoft.com/office/drawing/2014/main" id="{45037361-806A-4098-A166-A868FFFB00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285" name="Raute 157">
                <a:extLst>
                  <a:ext uri="{FF2B5EF4-FFF2-40B4-BE49-F238E27FC236}">
                    <a16:creationId xmlns:a16="http://schemas.microsoft.com/office/drawing/2014/main" id="{1BEF9280-720B-47DC-BC89-D5755CC1F56F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282" name="Text Box 57">
              <a:extLst>
                <a:ext uri="{FF2B5EF4-FFF2-40B4-BE49-F238E27FC236}">
                  <a16:creationId xmlns:a16="http://schemas.microsoft.com/office/drawing/2014/main" id="{4BE50C86-FDD8-4F11-8D1E-402779630C4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19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283" name="Rechteck 155">
              <a:extLst>
                <a:ext uri="{FF2B5EF4-FFF2-40B4-BE49-F238E27FC236}">
                  <a16:creationId xmlns:a16="http://schemas.microsoft.com/office/drawing/2014/main" id="{76B7C835-B197-47DC-9083-1CEAA457C359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4163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481B8C9E7DB747BFB4C0D78B606131" ma:contentTypeVersion="8" ma:contentTypeDescription="Create a new document." ma:contentTypeScope="" ma:versionID="08ca3226d6cfe5a7771227905164c3df">
  <xsd:schema xmlns:xsd="http://www.w3.org/2001/XMLSchema" xmlns:xs="http://www.w3.org/2001/XMLSchema" xmlns:p="http://schemas.microsoft.com/office/2006/metadata/properties" xmlns:ns2="f97ff1ac-894a-45a2-8b48-6309a27cd334" xmlns:ns3="9046c589-78aa-4615-8a78-c6d7cbc86a15" targetNamespace="http://schemas.microsoft.com/office/2006/metadata/properties" ma:root="true" ma:fieldsID="429a1a0e15b33ac0b6d931e810b3e2bb" ns2:_="" ns3:_="">
    <xsd:import namespace="f97ff1ac-894a-45a2-8b48-6309a27cd334"/>
    <xsd:import namespace="9046c589-78aa-4615-8a78-c6d7cbc86a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7ff1ac-894a-45a2-8b48-6309a27cd3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46c589-78aa-4615-8a78-c6d7cbc86a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97ff1ac-894a-45a2-8b48-6309a27cd334">FJQ3RZUUXK2M-1545715999-417</_dlc_DocId>
    <_dlc_DocIdUrl xmlns="f97ff1ac-894a-45a2-8b48-6309a27cd334">
      <Url>https://netorg872092.sharepoint.com/sites/LMS/_layouts/15/DocIdRedir.aspx?ID=FJQ3RZUUXK2M-1545715999-417</Url>
      <Description>FJQ3RZUUXK2M-1545715999-417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4E28D55-7348-4B23-AF65-7E440FAC6F24}"/>
</file>

<file path=customXml/itemProps2.xml><?xml version="1.0" encoding="utf-8"?>
<ds:datastoreItem xmlns:ds="http://schemas.openxmlformats.org/officeDocument/2006/customXml" ds:itemID="{5C3DDB16-FE73-4BE5-AF03-22A6F9716B22}"/>
</file>

<file path=customXml/itemProps3.xml><?xml version="1.0" encoding="utf-8"?>
<ds:datastoreItem xmlns:ds="http://schemas.openxmlformats.org/officeDocument/2006/customXml" ds:itemID="{31B8776D-87B8-4A1B-B675-B49EC4A1B82D}"/>
</file>

<file path=customXml/itemProps4.xml><?xml version="1.0" encoding="utf-8"?>
<ds:datastoreItem xmlns:ds="http://schemas.openxmlformats.org/officeDocument/2006/customXml" ds:itemID="{AB4A79C7-45AF-4987-A5FC-354C0F93DD12}"/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465</Words>
  <Application>Microsoft Office PowerPoint</Application>
  <PresentationFormat>Widescreen</PresentationFormat>
  <Paragraphs>841</Paragraphs>
  <Slides>2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Bebas Neue</vt:lpstr>
      <vt:lpstr>Calibri</vt:lpstr>
      <vt:lpstr>Calibri Light</vt:lpstr>
      <vt:lpstr>Wingdings</vt:lpstr>
      <vt:lpstr>Office Theme</vt:lpstr>
      <vt:lpstr>Graphic Templates</vt:lpstr>
      <vt:lpstr>PROJECT PLAN GANT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phic Templates</dc:title>
  <dc:creator>Olessia Smotrova</dc:creator>
  <cp:lastModifiedBy>Olessia Smotrova</cp:lastModifiedBy>
  <cp:revision>2</cp:revision>
  <dcterms:created xsi:type="dcterms:W3CDTF">2020-04-23T12:00:51Z</dcterms:created>
  <dcterms:modified xsi:type="dcterms:W3CDTF">2020-04-23T12:0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481B8C9E7DB747BFB4C0D78B606131</vt:lpwstr>
  </property>
  <property fmtid="{D5CDD505-2E9C-101B-9397-08002B2CF9AE}" pid="3" name="_dlc_DocIdItemGuid">
    <vt:lpwstr>2ccf0f3c-6e30-405d-8385-89cecda02e9d</vt:lpwstr>
  </property>
</Properties>
</file>